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rels" ContentType="application/vnd.openxmlformats-package.relationships+xml"/>
  <Default Extension="jpeg" ContentType="image/jpeg"/>
  <Default Extension="emf" ContentType="image/x-emf"/>
  <Default Extension="xml" ContentType="application/xml"/>
  <Default Extension="vml" ContentType="application/vnd.openxmlformats-officedocument.vmlDrawing"/>
  <Default Extension="gif" ContentType="image/gif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655" r:id="rId4"/>
  </p:sldMasterIdLst>
  <p:notesMasterIdLst>
    <p:notesMasterId r:id="rId25"/>
  </p:notesMasterIdLst>
  <p:handoutMasterIdLst>
    <p:handoutMasterId r:id="rId26"/>
  </p:handoutMasterIdLst>
  <p:sldIdLst>
    <p:sldId id="260" r:id="rId5"/>
    <p:sldId id="267" r:id="rId6"/>
    <p:sldId id="279" r:id="rId7"/>
    <p:sldId id="281" r:id="rId8"/>
    <p:sldId id="325" r:id="rId9"/>
    <p:sldId id="345" r:id="rId10"/>
    <p:sldId id="282" r:id="rId11"/>
    <p:sldId id="346" r:id="rId12"/>
    <p:sldId id="324" r:id="rId13"/>
    <p:sldId id="284" r:id="rId14"/>
    <p:sldId id="341" r:id="rId15"/>
    <p:sldId id="342" r:id="rId16"/>
    <p:sldId id="343" r:id="rId17"/>
    <p:sldId id="348" r:id="rId18"/>
    <p:sldId id="350" r:id="rId19"/>
    <p:sldId id="347" r:id="rId20"/>
    <p:sldId id="334" r:id="rId21"/>
    <p:sldId id="351" r:id="rId22"/>
    <p:sldId id="352" r:id="rId23"/>
    <p:sldId id="266" r:id="rId24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343B"/>
    <a:srgbClr val="103378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04" autoAdjust="0"/>
    <p:restoredTop sz="87276" autoAdjust="0"/>
  </p:normalViewPr>
  <p:slideViewPr>
    <p:cSldViewPr>
      <p:cViewPr varScale="1">
        <p:scale>
          <a:sx n="85" d="100"/>
          <a:sy n="85" d="100"/>
        </p:scale>
        <p:origin x="-852" y="-7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360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33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ustomXml" Target="../customXml/item2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&#24037;&#20316;&#20869;&#23481;\&#20225;&#19994;&#32593;\MO\2015\2015%20&#33829;&#38144;&#36164;&#26009;&#20889;&#20316;\&#26696;&#20363;&#32032;&#26448;&#25628;&#38598;\eLTE%20User%20List%202015Q1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6"/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75"/>
      <c:perspective val="30"/>
    </c:view3D>
    <c:plotArea>
      <c:layout/>
      <c:pie3DChart>
        <c:varyColors val="1"/>
        <c:ser>
          <c:idx val="0"/>
          <c:order val="0"/>
          <c:tx>
            <c:strRef>
              <c:f>Sheet2!$B$1</c:f>
              <c:strCache>
                <c:ptCount val="1"/>
                <c:pt idx="0">
                  <c:v>number</c:v>
                </c:pt>
              </c:strCache>
            </c:strRef>
          </c:tx>
          <c:dPt>
            <c:idx val="0"/>
            <c:spPr>
              <a:solidFill>
                <a:srgbClr val="C00000"/>
              </a:solidFill>
            </c:spPr>
          </c:dPt>
          <c:dPt>
            <c:idx val="1"/>
            <c:spPr>
              <a:solidFill>
                <a:srgbClr val="0070C0"/>
              </a:solidFill>
            </c:spPr>
          </c:dPt>
          <c:dPt>
            <c:idx val="4"/>
            <c:spPr>
              <a:solidFill>
                <a:srgbClr val="E7B98A">
                  <a:lumMod val="75000"/>
                </a:srgbClr>
              </a:solidFill>
            </c:spPr>
          </c:dPt>
          <c:dLbls>
            <c:delete val="1"/>
          </c:dLbls>
          <c:cat>
            <c:strRef>
              <c:f>Sheet2!$A$2:$A$6</c:f>
              <c:strCache>
                <c:ptCount val="5"/>
                <c:pt idx="0">
                  <c:v>Government</c:v>
                </c:pt>
                <c:pt idx="1">
                  <c:v>WISP</c:v>
                </c:pt>
                <c:pt idx="2">
                  <c:v>Transportation</c:v>
                </c:pt>
                <c:pt idx="3">
                  <c:v>Oil &amp; Gas</c:v>
                </c:pt>
                <c:pt idx="4">
                  <c:v>Grid</c:v>
                </c:pt>
              </c:strCache>
            </c:strRef>
          </c:cat>
          <c:val>
            <c:numRef>
              <c:f>Sheet2!$B$2:$B$6</c:f>
              <c:numCache>
                <c:formatCode>General</c:formatCode>
                <c:ptCount val="5"/>
                <c:pt idx="0">
                  <c:v>69</c:v>
                </c:pt>
                <c:pt idx="1">
                  <c:v>33</c:v>
                </c:pt>
                <c:pt idx="2">
                  <c:v>21</c:v>
                </c:pt>
                <c:pt idx="3">
                  <c:v>10</c:v>
                </c:pt>
                <c:pt idx="4">
                  <c:v>9</c:v>
                </c:pt>
              </c:numCache>
            </c:numRef>
          </c:val>
        </c:ser>
        <c:dLbls>
          <c:showVal val="1"/>
          <c:showCatName val="1"/>
        </c:dLbls>
      </c:pie3DChart>
    </c:plotArea>
    <c:plotVisOnly val="1"/>
  </c:chart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B562468-33BB-4DF2-A509-F046762086A8}" type="datetimeFigureOut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EF15CE-2FCD-4C29-A727-D24FC4C9452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D9AB9D-AAF7-4724-8779-8A724A7EF474}" type="datetimeFigureOut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4B0A74-439A-4E65-81A1-57BF2FBBE40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>
              <a:buClr>
                <a:srgbClr val="C00000"/>
              </a:buClr>
            </a:pPr>
            <a:r>
              <a:rPr lang="en-US" altLang="zh-CN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5 Shanghai New Year's Eve stampede</a:t>
            </a:r>
            <a:endParaRPr lang="en-US" altLang="zh-CN" dirty="0" smtClean="0">
              <a:ea typeface="微软雅黑" pitchFamily="34" charset="-122"/>
              <a:cs typeface="Arial" pitchFamily="34" charset="0"/>
            </a:endParaRPr>
          </a:p>
          <a:p>
            <a:pPr>
              <a:buClr>
                <a:srgbClr val="C00000"/>
              </a:buClr>
              <a:buFontTx/>
              <a:buChar char="•"/>
            </a:pPr>
            <a:r>
              <a:rPr lang="en-US" altLang="zh-CN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36 dead, 47 injured</a:t>
            </a:r>
          </a:p>
          <a:p>
            <a:pPr>
              <a:buClr>
                <a:srgbClr val="C00000"/>
              </a:buClr>
              <a:buFontTx/>
              <a:buChar char="•"/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Unable to detect security risks and generate warnings promptly</a:t>
            </a:r>
          </a:p>
          <a:p>
            <a:pPr>
              <a:buClr>
                <a:srgbClr val="C00000"/>
              </a:buClr>
              <a:buFontTx/>
              <a:buChar char="•"/>
            </a:pPr>
            <a:endParaRPr kumimoji="1" lang="en-US" altLang="en-US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r>
              <a:rPr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2014</a:t>
            </a:r>
            <a:r>
              <a:rPr lang="en-US" altLang="en-US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 </a:t>
            </a:r>
            <a:r>
              <a:rPr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New Year’s Eve Seoul, South Korea</a:t>
            </a:r>
          </a:p>
          <a:p>
            <a:pPr>
              <a:buClr>
                <a:srgbClr val="C00000"/>
              </a:buClr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Public mobile network congestion resulting in police service unavailable</a:t>
            </a:r>
            <a:endParaRPr kumimoji="1" lang="en-US" altLang="en-US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endParaRPr lang="en-US" altLang="zh-CN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r>
              <a:rPr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2013.11 Fire in Bao’an, Shenzhen</a:t>
            </a:r>
          </a:p>
          <a:p>
            <a:pPr>
              <a:buClr>
                <a:srgbClr val="C00000"/>
              </a:buClr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Command at the scene efficiency was bad due to voice only communication  </a:t>
            </a:r>
            <a:endParaRPr kumimoji="1" lang="en-US" altLang="en-US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endParaRPr lang="en-US" altLang="zh-CN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r>
              <a:rPr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2015.1 Charlie hebdo Attack</a:t>
            </a:r>
            <a:endParaRPr lang="en-US" altLang="en-US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  <a:buFontTx/>
              <a:buChar char="•"/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5 killed and 11 wounded</a:t>
            </a:r>
          </a:p>
          <a:p>
            <a:pPr>
              <a:buClr>
                <a:srgbClr val="C00000"/>
              </a:buClr>
              <a:buFontTx/>
              <a:buChar char="•"/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Unsmooth corss-agency collabration inefficent response</a:t>
            </a:r>
          </a:p>
          <a:p>
            <a:pPr>
              <a:buClr>
                <a:srgbClr val="C00000"/>
              </a:buClr>
              <a:buFontTx/>
              <a:buChar char="•"/>
            </a:pPr>
            <a:r>
              <a:rPr kumimoji="1" lang="en-US" altLang="zh-CN" noProof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No onsite coordination, chaotic scene</a:t>
            </a:r>
          </a:p>
          <a:p>
            <a:pPr>
              <a:buClr>
                <a:srgbClr val="C00000"/>
              </a:buClr>
            </a:pPr>
            <a:endParaRPr lang="en-US" altLang="zh-CN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pPr>
              <a:buClr>
                <a:srgbClr val="C00000"/>
              </a:buClr>
            </a:pPr>
            <a:endParaRPr kumimoji="1" lang="en-US" altLang="en-US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  <a:p>
            <a:endParaRPr kumimoji="1" lang="en-US" altLang="zh-CN" b="1" noProof="1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7475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1B389F3-315D-4D68-9339-259E4C868271}" type="slidenum">
              <a:rPr lang="zh-CN" altLang="en-US"/>
              <a:pPr/>
              <a:t>3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Base</a:t>
            </a:r>
            <a:r>
              <a:rPr lang="en-US" altLang="zh-CN" baseline="0" dirty="0" smtClean="0"/>
              <a:t> on Huawei and Saudi MOI’s NDA agreement, we can’t tell the specific details about this project to other country or governments.</a:t>
            </a:r>
          </a:p>
          <a:p>
            <a:r>
              <a:rPr lang="en-US" altLang="zh-CN" baseline="0" dirty="0" smtClean="0"/>
              <a:t>But we can provide what kinds of capabilities and features already be used to enhance our customer’s next generation safe city solution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D1208B-ABB5-48F0-93EC-79B837E3F925}" type="slidenum">
              <a:rPr lang="zh-CN" altLang="en-US" smtClean="0"/>
              <a:pPr/>
              <a:t>1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xmlns="" val="25240942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zh-CN" smtClean="0"/>
              <a:t>yufuyong</a:t>
            </a:r>
            <a:endParaRPr lang="zh-CN" altLang="en-US" smtClean="0"/>
          </a:p>
        </p:txBody>
      </p:sp>
      <p:sp>
        <p:nvSpPr>
          <p:cNvPr id="98308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36B3D6AB-9098-470C-8B1C-C979BE6FB648}" type="slidenum">
              <a:rPr lang="zh-CN" altLang="en-US"/>
              <a:pPr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r>
              <a:rPr lang="en-US" altLang="zh-CN" sz="1200" b="0" kern="1200" baseline="0" dirty="0" smtClean="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rPr>
              <a:t>The convergent command center is the core of the entire safe city. It converges multi-source information into a common operating picture and maximizes the operational efficiency of the ECC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endParaRPr lang="en-US" altLang="zh-CN" sz="1200" b="0" kern="1200" baseline="0" dirty="0" smtClean="0">
              <a:solidFill>
                <a:schemeClr val="tx1"/>
              </a:solidFill>
              <a:latin typeface="Calibri" pitchFamily="34" charset="0"/>
              <a:ea typeface="宋体" pitchFamily="2" charset="-122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r>
              <a:rPr lang="en-US" altLang="zh-CN" sz="1200" b="0" kern="1200" baseline="0" dirty="0" smtClean="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rPr>
              <a:t>We also bring you our Intelligent </a:t>
            </a:r>
            <a:r>
              <a:rPr lang="en-US" altLang="zh-CN" sz="1200" b="0" kern="1200" baseline="0" dirty="0" err="1" smtClean="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rPr>
              <a:t>SenseAlert</a:t>
            </a:r>
            <a:r>
              <a:rPr lang="en-US" altLang="zh-CN" sz="1200" b="0" kern="1200" baseline="0" dirty="0" smtClean="0">
                <a:solidFill>
                  <a:schemeClr val="tx1"/>
                </a:solidFill>
                <a:latin typeface="Calibri" pitchFamily="34" charset="0"/>
                <a:ea typeface="宋体" pitchFamily="2" charset="-122"/>
                <a:cs typeface="+mn-cs"/>
              </a:rPr>
              <a:t> solution. It works like the “eye and ear” of the safe city. This sub solution integrates video surveillance, physical security, sensors and other data sources into 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one control center under the banner of data fusion. Intelligent </a:t>
            </a:r>
            <a:r>
              <a:rPr lang="en-US" altLang="zh-CN" sz="1200" b="0" i="0" kern="1200" dirty="0" err="1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Sense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Alter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solution will </a:t>
            </a: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allow law enforcement to quickly retrieve intelligence to support live operations, daily operations, or investigative work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endParaRPr lang="en-US" altLang="zh-CN" sz="1200" b="0" kern="1200" baseline="0" dirty="0" smtClean="0">
              <a:solidFill>
                <a:schemeClr val="tx1"/>
              </a:solidFill>
              <a:latin typeface="Calibri" pitchFamily="34" charset="0"/>
              <a:ea typeface="宋体" pitchFamily="2" charset="-122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r>
              <a:rPr lang="en-US" altLang="zh-CN" sz="1200" b="0" i="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For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first responders, we also provide Mobile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MediaShar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solution. First responders are the executive units on site, are the “arms and legs” of safe city. Our Mobile </a:t>
            </a:r>
            <a:r>
              <a:rPr lang="en-US" altLang="zh-CN" sz="1200" b="0" i="0" kern="1200" baseline="0" dirty="0" err="1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MediaShare</a:t>
            </a:r>
            <a:r>
              <a:rPr lang="en-US" altLang="zh-CN" sz="1200" b="0" i="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solution provides first responders a mission-critical wireless broadband network. First responders can a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Bold" panose="020B0803040504020204" pitchFamily="34" charset="0"/>
                <a:ea typeface="微软雅黑" pitchFamily="34" charset="-122"/>
              </a:rPr>
              <a:t>ccess actionable intelligence through this network anywhere, any time. This</a:t>
            </a:r>
            <a:r>
              <a:rPr lang="en-US" altLang="zh-CN" sz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Bold" panose="020B0803040504020204" pitchFamily="34" charset="0"/>
                <a:ea typeface="微软雅黑" pitchFamily="34" charset="-122"/>
              </a:rPr>
              <a:t> would </a:t>
            </a:r>
            <a:r>
              <a:rPr lang="en-US" altLang="zh-CN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Bold" panose="020B0803040504020204" pitchFamily="34" charset="0"/>
                <a:ea typeface="微软雅黑" pitchFamily="34" charset="-122"/>
              </a:rPr>
              <a:t>empower the front-line and make them more productive</a:t>
            </a:r>
            <a:r>
              <a:rPr lang="en-US" altLang="zh-CN" sz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FrutigerNext LT Bold" panose="020B0803040504020204" pitchFamily="34" charset="0"/>
                <a:ea typeface="微软雅黑" pitchFamily="34" charset="-122"/>
              </a:rPr>
              <a:t> and more safe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endParaRPr lang="en-US" altLang="zh-CN" sz="1200" kern="1200" baseline="0" dirty="0" smtClean="0">
              <a:solidFill>
                <a:schemeClr val="tx1">
                  <a:lumMod val="75000"/>
                  <a:lumOff val="25000"/>
                </a:schemeClr>
              </a:solidFill>
              <a:effectLst/>
              <a:latin typeface="FrutigerNext LT Bold" panose="020B0803040504020204" pitchFamily="34" charset="0"/>
              <a:ea typeface="微软雅黑" pitchFamily="34" charset="-122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The smart </a:t>
            </a:r>
            <a:r>
              <a:rPr lang="en-US" altLang="zh-CN" sz="1200" kern="1200" dirty="0" err="1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RoadSafety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can capture illegal</a:t>
            </a:r>
            <a:r>
              <a:rPr lang="gsw-FR" altLang="zh-CN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 activies and protect 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traffic safety, secure the main artery of safe city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endParaRPr lang="en-US" altLang="zh-CN" sz="1200" kern="1200" dirty="0" smtClean="0">
              <a:solidFill>
                <a:schemeClr val="tx1"/>
              </a:solidFill>
              <a:effectLst/>
              <a:latin typeface="Calibri" pitchFamily="34" charset="0"/>
              <a:ea typeface="宋体" pitchFamily="2" charset="-122"/>
              <a:cs typeface="+mn-cs"/>
            </a:endParaRP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arenBoth"/>
              <a:tabLst/>
              <a:defRPr/>
            </a:pP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Secure clou</a:t>
            </a:r>
            <a:r>
              <a:rPr lang="en-US" altLang="zh-CN" sz="1200" kern="1200" baseline="0" dirty="0" smtClean="0">
                <a:solidFill>
                  <a:schemeClr val="tx1"/>
                </a:solidFill>
                <a:effectLst/>
                <a:latin typeface="Calibri" pitchFamily="34" charset="0"/>
                <a:ea typeface="宋体" pitchFamily="2" charset="-122"/>
                <a:cs typeface="+mn-cs"/>
              </a:rPr>
              <a:t>d center and agile net connect provide the cutting edge ICT infrastructures to support the daily operation of the entire safe city.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Calibri" pitchFamily="34" charset="0"/>
              <a:ea typeface="宋体" pitchFamily="2" charset="-122"/>
              <a:cs typeface="+mn-cs"/>
            </a:endParaRPr>
          </a:p>
          <a:p>
            <a:pPr marL="236380" indent="-236380" defTabSz="945523">
              <a:defRPr/>
            </a:pPr>
            <a:endParaRPr kumimoji="1" lang="en-US" altLang="zh-CN" noProof="1" smtClean="0">
              <a:ea typeface="微软雅黑" pitchFamily="34" charset="-122"/>
              <a:cs typeface="Arial"/>
              <a:sym typeface="微软雅黑" pitchFamily="34" charset="-122"/>
            </a:endParaRPr>
          </a:p>
          <a:p>
            <a:pPr marL="236380" indent="-236380" defTabSz="945523">
              <a:defRPr/>
            </a:pPr>
            <a:endParaRPr kumimoji="1" lang="en-US" altLang="zh-CN" noProof="1" smtClean="0">
              <a:ea typeface="微软雅黑" pitchFamily="34" charset="-122"/>
              <a:cs typeface="Arial"/>
              <a:sym typeface="微软雅黑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D1208B-ABB5-48F0-93EC-79B837E3F925}" type="slidenum">
              <a:rPr lang="zh-CN" altLang="en-US" smtClean="0"/>
              <a:pPr/>
              <a:t>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xmlns="" val="6123459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zh-CN" altLang="en-US" smtClean="0"/>
          </a:p>
        </p:txBody>
      </p:sp>
      <p:sp>
        <p:nvSpPr>
          <p:cNvPr id="97284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2739B8E-3D7C-44C0-8194-03085AE0F0F6}" type="slidenum">
              <a:rPr lang="zh-CN" altLang="en-US"/>
              <a:pPr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3427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zh-CN" altLang="en-US" smtClean="0"/>
              <a:t>特性</a:t>
            </a:r>
          </a:p>
        </p:txBody>
      </p:sp>
      <p:sp>
        <p:nvSpPr>
          <p:cNvPr id="103428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A04FB7C-132D-4FC3-AD2F-D46F946DB735}" type="slidenum">
              <a:rPr lang="zh-CN" altLang="en-US"/>
              <a:pPr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5475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zh-CN" altLang="en-US" smtClean="0"/>
              <a:t>添加恶劣环境，典型的</a:t>
            </a:r>
            <a:r>
              <a:rPr lang="en-US" altLang="zh-CN" smtClean="0"/>
              <a:t>IP67</a:t>
            </a:r>
            <a:r>
              <a:rPr lang="zh-CN" altLang="en-US" smtClean="0"/>
              <a:t>终端放上去，其他的产品干掉</a:t>
            </a:r>
          </a:p>
          <a:p>
            <a:endParaRPr lang="zh-CN" altLang="en-US" smtClean="0"/>
          </a:p>
        </p:txBody>
      </p:sp>
      <p:sp>
        <p:nvSpPr>
          <p:cNvPr id="105476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0A8AFAB-17DC-4ACD-BDC1-72FB0D4BF333}" type="slidenum">
              <a:rPr lang="zh-CN" altLang="en-US"/>
              <a:pPr/>
              <a:t>14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4451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zh-CN" altLang="en-US" smtClean="0"/>
              <a:t>主控板单板热备</a:t>
            </a:r>
          </a:p>
        </p:txBody>
      </p:sp>
      <p:sp>
        <p:nvSpPr>
          <p:cNvPr id="104452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B98BA52B-1279-46E3-AEE7-1172CA898294}" type="slidenum">
              <a:rPr lang="zh-CN" altLang="en-US"/>
              <a:pPr/>
              <a:t>1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备注占位符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zh-CN" altLang="en-US" smtClean="0"/>
              <a:t>宽带接入重点项目：</a:t>
            </a:r>
            <a:r>
              <a:rPr lang="en-US" altLang="zh-CN" smtClean="0"/>
              <a:t>spain, Russian, Poland, USA, Norway</a:t>
            </a:r>
          </a:p>
          <a:p>
            <a:pPr eaLnBrk="1" hangingPunct="1">
              <a:spcBef>
                <a:spcPct val="0"/>
              </a:spcBef>
            </a:pPr>
            <a:r>
              <a:rPr lang="zh-CN" altLang="en-US" smtClean="0"/>
              <a:t>宽集大项目</a:t>
            </a:r>
            <a:r>
              <a:rPr lang="en-US" altLang="zh-CN" smtClean="0"/>
              <a:t>: </a:t>
            </a:r>
            <a:r>
              <a:rPr lang="en-US" altLang="zh-CN" smtClean="0">
                <a:solidFill>
                  <a:srgbClr val="C00000"/>
                </a:solidFill>
                <a:ea typeface="Arial Unicode MS" pitchFamily="34" charset="-128"/>
                <a:cs typeface="Arial" pitchFamily="34" charset="0"/>
              </a:rPr>
              <a:t>Kenya, Ghana</a:t>
            </a:r>
            <a:r>
              <a:rPr lang="zh-CN" altLang="en-US" smtClean="0">
                <a:solidFill>
                  <a:srgbClr val="C00000"/>
                </a:solidFill>
                <a:ea typeface="Arial Unicode MS" pitchFamily="34" charset="-128"/>
                <a:cs typeface="Arial" pitchFamily="34" charset="0"/>
              </a:rPr>
              <a:t>，</a:t>
            </a:r>
            <a:r>
              <a:rPr lang="en-US" altLang="zh-CN" smtClean="0">
                <a:solidFill>
                  <a:srgbClr val="C00000"/>
                </a:solidFill>
                <a:ea typeface="Arial Unicode MS" pitchFamily="34" charset="-128"/>
                <a:cs typeface="Arial" pitchFamily="34" charset="0"/>
              </a:rPr>
              <a:t>UK</a:t>
            </a:r>
            <a:r>
              <a:rPr lang="zh-CN" altLang="en-US" smtClean="0">
                <a:solidFill>
                  <a:srgbClr val="C00000"/>
                </a:solidFill>
                <a:ea typeface="Arial Unicode MS" pitchFamily="34" charset="-128"/>
                <a:cs typeface="Arial" pitchFamily="34" charset="0"/>
              </a:rPr>
              <a:t>，</a:t>
            </a:r>
            <a:r>
              <a:rPr lang="en-US" altLang="zh-CN" smtClean="0">
                <a:solidFill>
                  <a:srgbClr val="C00000"/>
                </a:solidFill>
                <a:ea typeface="Arial Unicode MS" pitchFamily="34" charset="-128"/>
                <a:cs typeface="Arial" pitchFamily="34" charset="0"/>
              </a:rPr>
              <a:t>Egypt</a:t>
            </a:r>
            <a:endParaRPr lang="zh-CN" altLang="en-US" smtClean="0">
              <a:solidFill>
                <a:srgbClr val="C00000"/>
              </a:solidFill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86020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1776C57F-F421-4963-9567-AFACD18913DC}" type="slidenum">
              <a:rPr lang="zh-CN" altLang="en-US">
                <a:solidFill>
                  <a:srgbClr val="000000"/>
                </a:solidFill>
              </a:rPr>
              <a:pPr/>
              <a:t>17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9A52CF-2747-471D-87A1-BA72622A93D7}" type="slidenum">
              <a:rPr lang="zh-CN" altLang="en-US" smtClean="0"/>
              <a:pPr/>
              <a:t>18</a:t>
            </a:fld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ctrTitle" hasCustomPrompt="1"/>
          </p:nvPr>
        </p:nvSpPr>
        <p:spPr>
          <a:xfrm>
            <a:off x="428596" y="1785932"/>
            <a:ext cx="6480000" cy="42862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400" b="1" baseline="0">
                <a:solidFill>
                  <a:srgbClr val="FFC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line in Arial bold</a:t>
            </a:r>
            <a:br>
              <a:rPr lang="en-US" altLang="zh-CN" dirty="0" smtClean="0"/>
            </a:br>
            <a:endParaRPr lang="en-US" altLang="zh-CN" dirty="0" smtClean="0"/>
          </a:p>
        </p:txBody>
      </p:sp>
      <p:sp>
        <p:nvSpPr>
          <p:cNvPr id="4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428596" y="2357436"/>
            <a:ext cx="4320000" cy="5715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rgbClr val="FFC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marL="60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9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8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80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7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Department name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276776"/>
            <a:ext cx="7632700" cy="55933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82354150"/>
      </p:ext>
    </p:extLst>
  </p:cSld>
  <p:clrMapOvr>
    <a:masterClrMapping/>
  </p:clrMapOvr>
  <p:transition advClick="0" advTm="8000">
    <p:fade thruBlk="1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276776"/>
            <a:ext cx="7632700" cy="55933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55650" y="972764"/>
            <a:ext cx="7596000" cy="36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 advClick="0" advTm="8000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650" y="276776"/>
            <a:ext cx="7632700" cy="55933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755650" y="972764"/>
            <a:ext cx="7596000" cy="3600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  <p:transition advClick="0" advTm="8000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9ACA0-DE5F-47F7-BA91-774AF71E9F0D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0A8AE-30B1-4A9F-A8FD-26111B74F3E5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>
            <p:ph type="title" hasCustomPrompt="1"/>
          </p:nvPr>
        </p:nvSpPr>
        <p:spPr>
          <a:xfrm>
            <a:off x="428596" y="349251"/>
            <a:ext cx="8229600" cy="722301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rgbClr val="FFC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Title in here</a:t>
            </a:r>
            <a:endParaRPr lang="zh-CN" altLang="en-US" dirty="0"/>
          </a:p>
        </p:txBody>
      </p:sp>
      <p:sp>
        <p:nvSpPr>
          <p:cNvPr id="8" name="内容占位符 2"/>
          <p:cNvSpPr>
            <a:spLocks noGrp="1"/>
          </p:cNvSpPr>
          <p:nvPr>
            <p:ph idx="1" hasCustomPrompt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dirty="0" smtClean="0"/>
              <a:t>Text in here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1E1B4-1674-4EDC-93C8-6DE78CB8CF91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0A8AE-30B1-4A9F-A8FD-26111B74F3E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D0A3B9-E396-4C75-A062-49D721B8F07C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70A8AE-30B1-4A9F-A8FD-26111B74F3E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AEBE8E92-5497-4981-80F0-9C8F27367FCD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10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11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6A410474-6D87-408A-AE14-84F4A46D4884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97A070-EA11-4BBF-A92D-36639FE7E2D7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99B7B0-4363-4F60-9F13-83DDD0084D89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7" name="标题 1"/>
          <p:cNvSpPr>
            <a:spLocks noGrp="1"/>
          </p:cNvSpPr>
          <p:nvPr>
            <p:ph type="ctrTitle" hasCustomPrompt="1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>
            <a:lvl1pPr>
              <a:defRPr sz="4000" b="1" u="none" strike="noStrike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line in Arial bold</a:t>
            </a:r>
            <a:endParaRPr lang="zh-CN" altLang="en-US" dirty="0"/>
          </a:p>
        </p:txBody>
      </p:sp>
      <p:sp>
        <p:nvSpPr>
          <p:cNvPr id="8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914650"/>
            <a:ext cx="6400800" cy="6572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Headline in Arial bold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sp>
        <p:nvSpPr>
          <p:cNvPr id="10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fld id="{2D4C3CDB-16CF-4202-BAE8-92C93B4BE547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11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685800" y="1598613"/>
            <a:ext cx="7772400" cy="1101725"/>
          </a:xfrm>
          <a:prstGeom prst="rect">
            <a:avLst/>
          </a:prstGeom>
        </p:spPr>
        <p:txBody>
          <a:bodyPr/>
          <a:lstStyle>
            <a:lvl1pPr>
              <a:defRPr sz="4000" b="1" u="none" strike="noStrike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Headline in Arial bold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914650"/>
            <a:ext cx="6400800" cy="6572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 dirty="0" smtClean="0"/>
              <a:t>Headline in Arial bold</a:t>
            </a:r>
            <a:endParaRPr lang="zh-CN" altLang="en-US" dirty="0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428596" y="349251"/>
            <a:ext cx="8229600" cy="722301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rgbClr val="FFC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Title in here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dirty="0" smtClean="0"/>
              <a:t>Text in here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42910" y="5929336"/>
            <a:ext cx="2133600" cy="274637"/>
          </a:xfrm>
          <a:prstGeom prst="rect">
            <a:avLst/>
          </a:prstGeom>
        </p:spPr>
        <p:txBody>
          <a:bodyPr/>
          <a:lstStyle/>
          <a:p>
            <a:fld id="{BDB2A14E-9286-4EA1-BDAB-8ADEB46A49D4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42910" y="5929336"/>
            <a:ext cx="2133600" cy="274637"/>
          </a:xfrm>
          <a:prstGeom prst="rect">
            <a:avLst/>
          </a:prstGeom>
        </p:spPr>
        <p:txBody>
          <a:bodyPr/>
          <a:lstStyle/>
          <a:p>
            <a:fld id="{25B08074-2848-4B69-A8F9-C2C315E4FFB0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10" name="标题 1"/>
          <p:cNvSpPr>
            <a:spLocks noGrp="1"/>
          </p:cNvSpPr>
          <p:nvPr userDrawn="1">
            <p:ph type="title" idx="4294967295"/>
          </p:nvPr>
        </p:nvSpPr>
        <p:spPr>
          <a:xfrm>
            <a:off x="500034" y="642924"/>
            <a:ext cx="3143272" cy="857250"/>
          </a:xfrm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n-US" altLang="zh-CN" b="1" dirty="0" smtClean="0">
                <a:solidFill>
                  <a:srgbClr val="FFC000"/>
                </a:solidFill>
                <a:latin typeface="Arial" pitchFamily="34" charset="0"/>
                <a:ea typeface="Arial Unicode MS" pitchFamily="34" charset="-122"/>
                <a:cs typeface="Arial" pitchFamily="34" charset="0"/>
              </a:rPr>
              <a:t>CONTENTS</a:t>
            </a:r>
            <a:endParaRPr lang="zh-CN" altLang="en-US" b="1" dirty="0">
              <a:solidFill>
                <a:srgbClr val="FFC000"/>
              </a:solidFill>
              <a:latin typeface="Arial" pitchFamily="34" charset="0"/>
              <a:ea typeface="Arial Unicode MS" pitchFamily="34" charset="-122"/>
              <a:cs typeface="Arial" pitchFamily="34" charset="0"/>
            </a:endParaRPr>
          </a:p>
        </p:txBody>
      </p:sp>
      <p:sp>
        <p:nvSpPr>
          <p:cNvPr id="11" name="文本占位符 4"/>
          <p:cNvSpPr txBox="1">
            <a:spLocks/>
          </p:cNvSpPr>
          <p:nvPr userDrawn="1"/>
        </p:nvSpPr>
        <p:spPr>
          <a:xfrm>
            <a:off x="1214414" y="1785932"/>
            <a:ext cx="7014755" cy="175432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>
              <a:spcBef>
                <a:spcPts val="1800"/>
              </a:spcBef>
            </a:pPr>
            <a:r>
              <a:rPr lang="en-US" altLang="zh-CN" sz="26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itle in here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itle in here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itle in here</a:t>
            </a:r>
          </a:p>
        </p:txBody>
      </p:sp>
      <p:sp>
        <p:nvSpPr>
          <p:cNvPr id="12" name="Freeform 57"/>
          <p:cNvSpPr>
            <a:spLocks noChangeAspect="1" noEditPoints="1"/>
          </p:cNvSpPr>
          <p:nvPr userDrawn="1"/>
        </p:nvSpPr>
        <p:spPr bwMode="auto">
          <a:xfrm>
            <a:off x="615129" y="3132111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13" name="Freeform 57"/>
          <p:cNvSpPr>
            <a:spLocks noChangeAspect="1" noEditPoints="1"/>
          </p:cNvSpPr>
          <p:nvPr userDrawn="1"/>
        </p:nvSpPr>
        <p:spPr bwMode="auto">
          <a:xfrm>
            <a:off x="642910" y="182187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4" name="Freeform 57"/>
          <p:cNvSpPr>
            <a:spLocks noChangeAspect="1" noEditPoints="1"/>
          </p:cNvSpPr>
          <p:nvPr userDrawn="1"/>
        </p:nvSpPr>
        <p:spPr bwMode="auto">
          <a:xfrm>
            <a:off x="615129" y="248916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42910" y="5929336"/>
            <a:ext cx="2133600" cy="274637"/>
          </a:xfrm>
          <a:prstGeom prst="rect">
            <a:avLst/>
          </a:prstGeom>
        </p:spPr>
        <p:txBody>
          <a:bodyPr/>
          <a:lstStyle/>
          <a:p>
            <a:fld id="{3C566F18-BF71-4754-9CBA-122DBFE9B3D4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5" name="标题 1"/>
          <p:cNvSpPr>
            <a:spLocks noGrp="1"/>
          </p:cNvSpPr>
          <p:nvPr>
            <p:ph type="title" hasCustomPrompt="1"/>
          </p:nvPr>
        </p:nvSpPr>
        <p:spPr>
          <a:xfrm>
            <a:off x="428596" y="349251"/>
            <a:ext cx="8229600" cy="722301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rgbClr val="FFC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zh-CN" dirty="0" smtClean="0"/>
              <a:t>Title in here</a:t>
            </a:r>
            <a:endParaRPr lang="zh-CN" altLang="en-US" dirty="0"/>
          </a:p>
        </p:txBody>
      </p:sp>
      <p:sp>
        <p:nvSpPr>
          <p:cNvPr id="8" name="内容占位符 2"/>
          <p:cNvSpPr>
            <a:spLocks noGrp="1"/>
          </p:cNvSpPr>
          <p:nvPr>
            <p:ph idx="1" hasCustomPrompt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zh-CN" dirty="0" smtClean="0"/>
              <a:t>Text in here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825" y="474113"/>
            <a:ext cx="810101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>
                <a:solidFill>
                  <a:srgbClr val="C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advClick="0" advTm="8000"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image" Target="../media/image5.jpe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E:\华为项目\华为资料\LOGO.png"/>
          <p:cNvPicPr>
            <a:picLocks noChangeAspect="1" noChangeArrowheads="1"/>
          </p:cNvPicPr>
          <p:nvPr userDrawn="1"/>
        </p:nvPicPr>
        <p:blipFill>
          <a:blip r:embed="rId5" cstate="print"/>
          <a:stretch>
            <a:fillRect/>
          </a:stretch>
        </p:blipFill>
        <p:spPr bwMode="auto">
          <a:xfrm>
            <a:off x="8233308" y="214296"/>
            <a:ext cx="553534" cy="571504"/>
          </a:xfrm>
          <a:prstGeom prst="rect">
            <a:avLst/>
          </a:prstGeom>
          <a:noFill/>
        </p:spPr>
      </p:pic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4FE199-9EEC-42CE-8D34-C5832FE03A63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99B7B0-4363-4F60-9F13-83DDD0084D89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Picture 2" descr="H:\华为项目\2015\12月\D-201512234-郑俊超\文件\PPT模版\D-201512234-PPT模版-20160106-01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-71456"/>
            <a:ext cx="9145400" cy="521495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1" r:id="rId2"/>
    <p:sldLayoutId id="2147483657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H:\华为项目\2015\12月\D-201512234-郑俊超\文件\PPT模版\D-201512234-PPT模版-20160106-02.jp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0"/>
            <a:ext cx="9145400" cy="5143500"/>
          </a:xfrm>
          <a:prstGeom prst="rect">
            <a:avLst/>
          </a:prstGeom>
          <a:noFill/>
        </p:spPr>
      </p:pic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214282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193BEC-2EA3-4415-A192-112BE42B330C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  <p:pic>
        <p:nvPicPr>
          <p:cNvPr id="10" name="Picture 2" descr="H:\华为项目\2015\12月\D-201512234-郑俊超\文件\PPT模版\D-201512234-PPT模版-20160106-08.png"/>
          <p:cNvPicPr>
            <a:picLocks noChangeAspect="1" noChangeArrowheads="1"/>
          </p:cNvPicPr>
          <p:nvPr userDrawn="1"/>
        </p:nvPicPr>
        <p:blipFill>
          <a:blip r:embed="rId15" cstate="print"/>
          <a:srcRect l="11744" t="20594" r="6040" b="22770"/>
          <a:stretch>
            <a:fillRect/>
          </a:stretch>
        </p:blipFill>
        <p:spPr bwMode="auto">
          <a:xfrm>
            <a:off x="7020456" y="4643470"/>
            <a:ext cx="1909262" cy="42861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74" r:id="rId2"/>
    <p:sldLayoutId id="2147483675" r:id="rId3"/>
    <p:sldLayoutId id="2147483678" r:id="rId4"/>
    <p:sldLayoutId id="2147483680" r:id="rId5"/>
    <p:sldLayoutId id="2147483697" r:id="rId6"/>
    <p:sldLayoutId id="2147483698" r:id="rId7"/>
    <p:sldLayoutId id="2147483700" r:id="rId8"/>
    <p:sldLayoutId id="2147483701" r:id="rId9"/>
    <p:sldLayoutId id="2147483704" r:id="rId10"/>
    <p:sldLayoutId id="2147483705" r:id="rId11"/>
    <p:sldLayoutId id="2147483707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Windows 7\Desktop\PPT背景-02.jp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400" y="0"/>
            <a:ext cx="9145400" cy="5143500"/>
          </a:xfrm>
          <a:prstGeom prst="rect">
            <a:avLst/>
          </a:prstGeom>
          <a:noFill/>
        </p:spPr>
      </p:pic>
      <p:pic>
        <p:nvPicPr>
          <p:cNvPr id="9" name="Picture 4" descr="E:\华为项目\华为资料\LOGO.png"/>
          <p:cNvPicPr>
            <a:picLocks noChangeAspect="1" noChangeArrowheads="1"/>
          </p:cNvPicPr>
          <p:nvPr userDrawn="1"/>
        </p:nvPicPr>
        <p:blipFill>
          <a:blip r:embed="rId6" cstate="print"/>
          <a:stretch>
            <a:fillRect/>
          </a:stretch>
        </p:blipFill>
        <p:spPr bwMode="auto">
          <a:xfrm>
            <a:off x="8233308" y="214296"/>
            <a:ext cx="553534" cy="571504"/>
          </a:xfrm>
          <a:prstGeom prst="rect">
            <a:avLst/>
          </a:prstGeom>
          <a:noFill/>
        </p:spPr>
      </p:pic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C5EA12-A043-447E-BA62-919D17A83A6E}" type="datetime1">
              <a:rPr lang="zh-CN" altLang="en-US" smtClean="0"/>
              <a:pPr/>
              <a:t>2016/1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70A8AE-30B1-4A9F-A8FD-26111B74F3E5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3" r:id="rId2"/>
    <p:sldLayoutId id="2147483695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微软雅黑" pitchFamily="34" charset="-122"/>
          <a:ea typeface="微软雅黑" pitchFamily="34" charset="-122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:\华为项目\2015\12月\D-201512234-郑俊超\文件\PPT模版\D-201512234-PPT模版-20160106-03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142894"/>
            <a:ext cx="9145400" cy="52863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9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image" Target="../media/image58.png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2.jpeg"/><Relationship Id="rId11" Type="http://schemas.openxmlformats.org/officeDocument/2006/relationships/image" Target="../media/image67.jpe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4" Type="http://schemas.openxmlformats.org/officeDocument/2006/relationships/image" Target="../media/image60.jpeg"/><Relationship Id="rId9" Type="http://schemas.openxmlformats.org/officeDocument/2006/relationships/image" Target="../media/image65.jpeg"/><Relationship Id="rId14" Type="http://schemas.openxmlformats.org/officeDocument/2006/relationships/image" Target="../media/image7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78.jpeg"/><Relationship Id="rId18" Type="http://schemas.openxmlformats.org/officeDocument/2006/relationships/image" Target="../media/image83.png"/><Relationship Id="rId26" Type="http://schemas.openxmlformats.org/officeDocument/2006/relationships/image" Target="../media/image91.png"/><Relationship Id="rId3" Type="http://schemas.openxmlformats.org/officeDocument/2006/relationships/tags" Target="../tags/tag10.xml"/><Relationship Id="rId21" Type="http://schemas.openxmlformats.org/officeDocument/2006/relationships/image" Target="../media/image86.png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5" Type="http://schemas.openxmlformats.org/officeDocument/2006/relationships/image" Target="../media/image90.png"/><Relationship Id="rId2" Type="http://schemas.openxmlformats.org/officeDocument/2006/relationships/tags" Target="../tags/tag9.xml"/><Relationship Id="rId16" Type="http://schemas.openxmlformats.org/officeDocument/2006/relationships/image" Target="../media/image81.jpeg"/><Relationship Id="rId20" Type="http://schemas.openxmlformats.org/officeDocument/2006/relationships/image" Target="../media/image85.jpeg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76.png"/><Relationship Id="rId24" Type="http://schemas.openxmlformats.org/officeDocument/2006/relationships/image" Target="../media/image89.png"/><Relationship Id="rId5" Type="http://schemas.openxmlformats.org/officeDocument/2006/relationships/tags" Target="../tags/tag12.xml"/><Relationship Id="rId15" Type="http://schemas.openxmlformats.org/officeDocument/2006/relationships/image" Target="../media/image80.jpeg"/><Relationship Id="rId23" Type="http://schemas.openxmlformats.org/officeDocument/2006/relationships/image" Target="../media/image88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tags" Target="../tags/tag11.xml"/><Relationship Id="rId9" Type="http://schemas.openxmlformats.org/officeDocument/2006/relationships/image" Target="../media/image74.png"/><Relationship Id="rId14" Type="http://schemas.openxmlformats.org/officeDocument/2006/relationships/image" Target="../media/image79.jpeg"/><Relationship Id="rId22" Type="http://schemas.openxmlformats.org/officeDocument/2006/relationships/image" Target="../media/image8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5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4.jpeg"/><Relationship Id="rId11" Type="http://schemas.openxmlformats.org/officeDocument/2006/relationships/image" Target="../media/image99.jpeg"/><Relationship Id="rId5" Type="http://schemas.openxmlformats.org/officeDocument/2006/relationships/image" Target="../media/image93.jpeg"/><Relationship Id="rId10" Type="http://schemas.openxmlformats.org/officeDocument/2006/relationships/image" Target="../media/image98.png"/><Relationship Id="rId4" Type="http://schemas.openxmlformats.org/officeDocument/2006/relationships/image" Target="../media/image92.jpeg"/><Relationship Id="rId9" Type="http://schemas.openxmlformats.org/officeDocument/2006/relationships/image" Target="../media/image9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01.wmf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0.wmf"/><Relationship Id="rId11" Type="http://schemas.openxmlformats.org/officeDocument/2006/relationships/image" Target="../media/image104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3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8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10.jpeg"/><Relationship Id="rId18" Type="http://schemas.openxmlformats.org/officeDocument/2006/relationships/image" Target="../media/image115.jpeg"/><Relationship Id="rId3" Type="http://schemas.openxmlformats.org/officeDocument/2006/relationships/tags" Target="../tags/tag18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109.jpeg"/><Relationship Id="rId17" Type="http://schemas.openxmlformats.org/officeDocument/2006/relationships/image" Target="../media/image114.jpeg"/><Relationship Id="rId2" Type="http://schemas.openxmlformats.org/officeDocument/2006/relationships/tags" Target="../tags/tag17.xml"/><Relationship Id="rId16" Type="http://schemas.openxmlformats.org/officeDocument/2006/relationships/image" Target="../media/image113.jpeg"/><Relationship Id="rId1" Type="http://schemas.openxmlformats.org/officeDocument/2006/relationships/tags" Target="../tags/tag16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08.jpeg"/><Relationship Id="rId5" Type="http://schemas.openxmlformats.org/officeDocument/2006/relationships/tags" Target="../tags/tag20.xml"/><Relationship Id="rId15" Type="http://schemas.openxmlformats.org/officeDocument/2006/relationships/image" Target="../media/image112.jpeg"/><Relationship Id="rId10" Type="http://schemas.openxmlformats.org/officeDocument/2006/relationships/image" Target="../media/image107.png"/><Relationship Id="rId19" Type="http://schemas.openxmlformats.org/officeDocument/2006/relationships/image" Target="../media/image116.jpeg"/><Relationship Id="rId4" Type="http://schemas.openxmlformats.org/officeDocument/2006/relationships/tags" Target="../tags/tag19.xml"/><Relationship Id="rId9" Type="http://schemas.openxmlformats.org/officeDocument/2006/relationships/image" Target="../media/image106.png"/><Relationship Id="rId14" Type="http://schemas.openxmlformats.org/officeDocument/2006/relationships/image" Target="../media/image11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image" Target="../media/image117.png"/><Relationship Id="rId7" Type="http://schemas.openxmlformats.org/officeDocument/2006/relationships/image" Target="../media/image1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5" Type="http://schemas.openxmlformats.org/officeDocument/2006/relationships/chart" Target="../charts/chart1.xml"/><Relationship Id="rId4" Type="http://schemas.openxmlformats.org/officeDocument/2006/relationships/image" Target="../media/image1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2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6" Type="http://schemas.openxmlformats.org/officeDocument/2006/relationships/image" Target="../media/image126.png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4" Type="http://schemas.openxmlformats.org/officeDocument/2006/relationships/image" Target="../media/image12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tags" Target="../tags/tag3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3.jpe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25.pn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24.png"/><Relationship Id="rId2" Type="http://schemas.openxmlformats.org/officeDocument/2006/relationships/tags" Target="../tags/tag4.xml"/><Relationship Id="rId16" Type="http://schemas.openxmlformats.org/officeDocument/2006/relationships/image" Target="../media/image28.jpeg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image" Target="../media/image23.jpeg"/><Relationship Id="rId5" Type="http://schemas.openxmlformats.org/officeDocument/2006/relationships/tags" Target="../tags/tag7.xml"/><Relationship Id="rId15" Type="http://schemas.openxmlformats.org/officeDocument/2006/relationships/image" Target="../media/image27.jpeg"/><Relationship Id="rId10" Type="http://schemas.openxmlformats.org/officeDocument/2006/relationships/oleObject" Target="../embeddings/oleObject1.bin"/><Relationship Id="rId4" Type="http://schemas.openxmlformats.org/officeDocument/2006/relationships/tags" Target="../tags/tag6.xml"/><Relationship Id="rId9" Type="http://schemas.openxmlformats.org/officeDocument/2006/relationships/image" Target="../media/image22.png"/><Relationship Id="rId1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jpeg"/><Relationship Id="rId18" Type="http://schemas.openxmlformats.org/officeDocument/2006/relationships/image" Target="../media/image48.jpeg"/><Relationship Id="rId26" Type="http://schemas.openxmlformats.org/officeDocument/2006/relationships/image" Target="../media/image56.png"/><Relationship Id="rId3" Type="http://schemas.openxmlformats.org/officeDocument/2006/relationships/image" Target="../media/image33.png"/><Relationship Id="rId21" Type="http://schemas.openxmlformats.org/officeDocument/2006/relationships/image" Target="../media/image51.wmf"/><Relationship Id="rId7" Type="http://schemas.openxmlformats.org/officeDocument/2006/relationships/image" Target="../media/image37.jpeg"/><Relationship Id="rId12" Type="http://schemas.openxmlformats.org/officeDocument/2006/relationships/image" Target="../media/image42.jpeg"/><Relationship Id="rId17" Type="http://schemas.openxmlformats.org/officeDocument/2006/relationships/image" Target="../media/image47.jpeg"/><Relationship Id="rId25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24" Type="http://schemas.openxmlformats.org/officeDocument/2006/relationships/image" Target="../media/image54.gif"/><Relationship Id="rId5" Type="http://schemas.openxmlformats.org/officeDocument/2006/relationships/image" Target="../media/image35.png"/><Relationship Id="rId15" Type="http://schemas.openxmlformats.org/officeDocument/2006/relationships/image" Target="../media/image45.jpeg"/><Relationship Id="rId23" Type="http://schemas.openxmlformats.org/officeDocument/2006/relationships/image" Target="../media/image53.jpeg"/><Relationship Id="rId10" Type="http://schemas.openxmlformats.org/officeDocument/2006/relationships/image" Target="../media/image40.jpeg"/><Relationship Id="rId19" Type="http://schemas.openxmlformats.org/officeDocument/2006/relationships/image" Target="../media/image49.png"/><Relationship Id="rId4" Type="http://schemas.openxmlformats.org/officeDocument/2006/relationships/image" Target="../media/image34.jpeg"/><Relationship Id="rId9" Type="http://schemas.openxmlformats.org/officeDocument/2006/relationships/image" Target="../media/image39.jpeg"/><Relationship Id="rId14" Type="http://schemas.openxmlformats.org/officeDocument/2006/relationships/image" Target="../media/image44.jpeg"/><Relationship Id="rId22" Type="http://schemas.openxmlformats.org/officeDocument/2006/relationships/image" Target="../media/image52.jpeg"/><Relationship Id="rId27" Type="http://schemas.openxmlformats.org/officeDocument/2006/relationships/image" Target="../media/image5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28596" y="2859782"/>
            <a:ext cx="4320000" cy="931544"/>
          </a:xfrm>
        </p:spPr>
        <p:txBody>
          <a:bodyPr/>
          <a:lstStyle/>
          <a:p>
            <a:r>
              <a:rPr lang="en-US" altLang="zh-CN" dirty="0" smtClean="0">
                <a:solidFill>
                  <a:srgbClr val="FFC000"/>
                </a:solidFill>
              </a:rPr>
              <a:t>Mohammad Allataifeh</a:t>
            </a:r>
          </a:p>
          <a:p>
            <a:r>
              <a:rPr lang="en-US" altLang="zh-CN" dirty="0" smtClean="0"/>
              <a:t>Public Safety &amp; Safe City</a:t>
            </a:r>
            <a:endParaRPr lang="zh-CN" altLang="en-US" dirty="0">
              <a:solidFill>
                <a:srgbClr val="FFC000"/>
              </a:solidFill>
            </a:endParaRPr>
          </a:p>
        </p:txBody>
      </p:sp>
      <p:pic>
        <p:nvPicPr>
          <p:cNvPr id="4098" name="Picture 2" descr="H:\华为项目\2015\12月\D-201512234-郑俊超\文件\PPT模版\D-201512234-PPT模版-20160106-08.png"/>
          <p:cNvPicPr>
            <a:picLocks noChangeAspect="1" noChangeArrowheads="1"/>
          </p:cNvPicPr>
          <p:nvPr/>
        </p:nvPicPr>
        <p:blipFill>
          <a:blip r:embed="rId2" cstate="print"/>
          <a:srcRect l="11744" t="20594" r="6040" b="22770"/>
          <a:stretch>
            <a:fillRect/>
          </a:stretch>
        </p:blipFill>
        <p:spPr bwMode="auto">
          <a:xfrm>
            <a:off x="285720" y="285734"/>
            <a:ext cx="3500462" cy="785818"/>
          </a:xfrm>
          <a:prstGeom prst="rect">
            <a:avLst/>
          </a:prstGeom>
          <a:noFill/>
        </p:spPr>
      </p:pic>
      <p:sp>
        <p:nvSpPr>
          <p:cNvPr id="5" name="标题 1"/>
          <p:cNvSpPr txBox="1">
            <a:spLocks noGrp="1"/>
          </p:cNvSpPr>
          <p:nvPr>
            <p:ph type="ctrTitle"/>
          </p:nvPr>
        </p:nvSpPr>
        <p:spPr bwMode="auto">
          <a:xfrm>
            <a:off x="323528" y="1197536"/>
            <a:ext cx="8895932" cy="1386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3200" dirty="0" smtClean="0">
                <a:ea typeface="黑体" pitchFamily="49" charset="-122"/>
              </a:rPr>
              <a:t>Challenges in Deploying Telecommunication ICT for Disaster Response </a:t>
            </a:r>
            <a:endParaRPr lang="zh-CN" altLang="en-US" sz="3200" b="1" dirty="0">
              <a:latin typeface="Arial" pitchFamily="34" charset="0"/>
              <a:ea typeface="黑体" pitchFamily="49" charset="-122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35ee038a-3e4c-417d-b313-a9e3c465796f"/>
          <p:cNvSpPr/>
          <p:nvPr/>
        </p:nvSpPr>
        <p:spPr bwMode="auto">
          <a:xfrm>
            <a:off x="6115049" y="866775"/>
            <a:ext cx="2047876" cy="1276350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3" name="35ee038a-3e4c-417d-b313-a9e3c465796f"/>
          <p:cNvSpPr/>
          <p:nvPr/>
        </p:nvSpPr>
        <p:spPr bwMode="auto">
          <a:xfrm>
            <a:off x="3228975" y="857250"/>
            <a:ext cx="2486025" cy="1276350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2" name="35ee038a-3e4c-417d-b313-a9e3c465796f"/>
          <p:cNvSpPr/>
          <p:nvPr/>
        </p:nvSpPr>
        <p:spPr bwMode="auto">
          <a:xfrm>
            <a:off x="590549" y="1514475"/>
            <a:ext cx="1990725" cy="619126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1" name="35ee038a-3e4c-417d-b313-a9e3c465796f"/>
          <p:cNvSpPr/>
          <p:nvPr/>
        </p:nvSpPr>
        <p:spPr bwMode="auto">
          <a:xfrm>
            <a:off x="590549" y="876300"/>
            <a:ext cx="1990725" cy="619126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6334" name="Picture 8" descr="C:\Users\dh\Desktop\0507png\2\未标题-12.png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3443288"/>
            <a:ext cx="8904288" cy="122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35" name="图片 25" descr="E05-b-接线员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72075" y="1479550"/>
            <a:ext cx="485775" cy="50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36" name="Picture 2" descr="D:\3. 品牌宣传\2. 展厅展会\2. 2012Cebit展\展会发言，技术交流\分会场发言\Img201108100015_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19850" y="1135063"/>
            <a:ext cx="1447800" cy="854075"/>
          </a:xfrm>
          <a:prstGeom prst="rect">
            <a:avLst/>
          </a:prstGeom>
          <a:solidFill>
            <a:srgbClr val="EDEDED"/>
          </a:solidFill>
          <a:ln w="9525">
            <a:noFill/>
            <a:prstDash val="dash"/>
            <a:miter lim="800000"/>
            <a:headEnd/>
            <a:tailEnd/>
          </a:ln>
        </p:spPr>
      </p:pic>
      <p:pic>
        <p:nvPicPr>
          <p:cNvPr id="56337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64350" y="1247775"/>
            <a:ext cx="30480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6338" name="直接箭头连接符 92"/>
          <p:cNvCxnSpPr>
            <a:cxnSpLocks noChangeShapeType="1"/>
          </p:cNvCxnSpPr>
          <p:nvPr/>
        </p:nvCxnSpPr>
        <p:spPr bwMode="auto">
          <a:xfrm>
            <a:off x="5721350" y="1420813"/>
            <a:ext cx="376238" cy="1587"/>
          </a:xfrm>
          <a:prstGeom prst="straightConnector1">
            <a:avLst/>
          </a:prstGeom>
          <a:noFill/>
          <a:ln w="12700">
            <a:solidFill>
              <a:srgbClr val="C00000"/>
            </a:solidFill>
            <a:prstDash val="dash"/>
            <a:round/>
            <a:headEnd type="triangle" w="med" len="med"/>
            <a:tailEnd type="triangle" w="med" len="med"/>
          </a:ln>
        </p:spPr>
      </p:cxnSp>
      <p:sp>
        <p:nvSpPr>
          <p:cNvPr id="56339" name="TextBox 60"/>
          <p:cNvSpPr txBox="1">
            <a:spLocks noChangeArrowheads="1"/>
          </p:cNvSpPr>
          <p:nvPr/>
        </p:nvSpPr>
        <p:spPr bwMode="auto">
          <a:xfrm>
            <a:off x="6423025" y="850900"/>
            <a:ext cx="15144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6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elepresence</a:t>
            </a:r>
            <a:endParaRPr lang="zh-CN" altLang="en-US" sz="16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2" name="组合 79"/>
          <p:cNvGrpSpPr>
            <a:grpSpLocks/>
          </p:cNvGrpSpPr>
          <p:nvPr/>
        </p:nvGrpSpPr>
        <p:grpSpPr bwMode="auto">
          <a:xfrm>
            <a:off x="3146425" y="2489200"/>
            <a:ext cx="2578100" cy="654050"/>
            <a:chOff x="2963863" y="2327275"/>
            <a:chExt cx="2578100" cy="758825"/>
          </a:xfrm>
        </p:grpSpPr>
        <p:sp>
          <p:nvSpPr>
            <p:cNvPr id="12" name="圆柱形 11"/>
            <p:cNvSpPr/>
            <p:nvPr/>
          </p:nvSpPr>
          <p:spPr bwMode="auto">
            <a:xfrm>
              <a:off x="2963863" y="2327275"/>
              <a:ext cx="2578100" cy="758825"/>
            </a:xfrm>
            <a:prstGeom prst="can">
              <a:avLst>
                <a:gd name="adj" fmla="val 35717"/>
              </a:avLst>
            </a:prstGeom>
            <a:solidFill>
              <a:schemeClr val="tx1">
                <a:lumMod val="85000"/>
                <a:lumOff val="15000"/>
              </a:schemeClr>
            </a:solidFill>
            <a:ln w="19050" cap="flat" cmpd="sng" algn="ctr">
              <a:solidFill>
                <a:schemeClr val="bg1">
                  <a:lumMod val="95000"/>
                </a:schemeClr>
              </a:solidFill>
              <a:prstDash val="solid"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  <a:extLst/>
          </p:spPr>
          <p:txBody>
            <a:bodyPr lIns="68550" tIns="34275" rIns="68550" bIns="34275"/>
            <a:lstStyle/>
            <a:p>
              <a:pPr defTabSz="657225" eaLnBrk="0" hangingPunct="0">
                <a:buClr>
                  <a:srgbClr val="CC9900"/>
                </a:buClr>
              </a:pPr>
              <a:endParaRPr lang="zh-CN" altLang="en-US" sz="700">
                <a:solidFill>
                  <a:srgbClr val="00B0F0"/>
                </a:solidFill>
                <a:latin typeface="Arial" pitchFamily="34" charset="0"/>
                <a:ea typeface="华文细黑" pitchFamily="2" charset="-122"/>
                <a:cs typeface="Arial" pitchFamily="34" charset="0"/>
              </a:endParaRPr>
            </a:p>
          </p:txBody>
        </p:sp>
        <p:sp>
          <p:nvSpPr>
            <p:cNvPr id="13" name="TextBox 60"/>
            <p:cNvSpPr txBox="1">
              <a:spLocks noChangeArrowheads="1"/>
            </p:cNvSpPr>
            <p:nvPr/>
          </p:nvSpPr>
          <p:spPr bwMode="auto">
            <a:xfrm>
              <a:off x="3201988" y="2647750"/>
              <a:ext cx="2101850" cy="2946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/>
              <a:ext uri="{91240B29-F687-4F45-9708-019B960494DF}"/>
            </a:extLst>
          </p:spPr>
          <p:txBody>
            <a:bodyPr lIns="68562" tIns="34281" rIns="68562" bIns="34281">
              <a:spAutoFit/>
            </a:bodyPr>
            <a:lstStyle/>
            <a:p>
              <a:pPr algn="ctr">
                <a:buClr>
                  <a:srgbClr val="CC9900"/>
                </a:buClr>
              </a:pPr>
              <a:r>
                <a:rPr kumimoji="1" lang="en-US" altLang="zh-CN" sz="2100">
                  <a:solidFill>
                    <a:srgbClr val="FF000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pitchFamily="34" charset="0"/>
                  <a:ea typeface="微软雅黑" pitchFamily="34" charset="-122"/>
                  <a:cs typeface="Arial" pitchFamily="34" charset="0"/>
                </a:rPr>
                <a:t>eLTE</a:t>
              </a:r>
              <a:endParaRPr kumimoji="1" lang="zh-CN" altLang="en-US" sz="210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grpSp>
          <p:nvGrpSpPr>
            <p:cNvPr id="3" name="组合 245"/>
            <p:cNvGrpSpPr/>
            <p:nvPr/>
          </p:nvGrpSpPr>
          <p:grpSpPr bwMode="auto">
            <a:xfrm>
              <a:off x="3115306" y="2587398"/>
              <a:ext cx="395808" cy="385216"/>
              <a:chOff x="15730538" y="3268663"/>
              <a:chExt cx="765175" cy="1123950"/>
            </a:xfrm>
            <a:solidFill>
              <a:schemeClr val="bg1"/>
            </a:solidFill>
          </p:grpSpPr>
          <p:sp>
            <p:nvSpPr>
              <p:cNvPr id="21" name="Freeform 57"/>
              <p:cNvSpPr>
                <a:spLocks/>
              </p:cNvSpPr>
              <p:nvPr/>
            </p:nvSpPr>
            <p:spPr bwMode="auto">
              <a:xfrm>
                <a:off x="15786100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74" y="105"/>
                  </a:cxn>
                  <a:cxn ang="0">
                    <a:pos x="42" y="152"/>
                  </a:cxn>
                  <a:cxn ang="0">
                    <a:pos x="19" y="202"/>
                  </a:cxn>
                  <a:cxn ang="0">
                    <a:pos x="4" y="256"/>
                  </a:cxn>
                  <a:cxn ang="0">
                    <a:pos x="0" y="312"/>
                  </a:cxn>
                  <a:cxn ang="0">
                    <a:pos x="2" y="319"/>
                  </a:cxn>
                  <a:cxn ang="0">
                    <a:pos x="10" y="327"/>
                  </a:cxn>
                  <a:cxn ang="0">
                    <a:pos x="57" y="327"/>
                  </a:cxn>
                  <a:cxn ang="0">
                    <a:pos x="64" y="326"/>
                  </a:cxn>
                  <a:cxn ang="0">
                    <a:pos x="69" y="322"/>
                  </a:cxn>
                  <a:cxn ang="0">
                    <a:pos x="73" y="312"/>
                  </a:cxn>
                  <a:cxn ang="0">
                    <a:pos x="74" y="290"/>
                  </a:cxn>
                  <a:cxn ang="0">
                    <a:pos x="81" y="248"/>
                  </a:cxn>
                  <a:cxn ang="0">
                    <a:pos x="95" y="208"/>
                  </a:cxn>
                  <a:cxn ang="0">
                    <a:pos x="117" y="170"/>
                  </a:cxn>
                  <a:cxn ang="0">
                    <a:pos x="130" y="154"/>
                  </a:cxn>
                  <a:cxn ang="0">
                    <a:pos x="140" y="143"/>
                  </a:cxn>
                  <a:cxn ang="0">
                    <a:pos x="174" y="113"/>
                  </a:cxn>
                  <a:cxn ang="0">
                    <a:pos x="214" y="91"/>
                  </a:cxn>
                  <a:cxn ang="0">
                    <a:pos x="258" y="78"/>
                  </a:cxn>
                  <a:cxn ang="0">
                    <a:pos x="304" y="73"/>
                  </a:cxn>
                  <a:cxn ang="0">
                    <a:pos x="311" y="73"/>
                  </a:cxn>
                  <a:cxn ang="0">
                    <a:pos x="316" y="68"/>
                  </a:cxn>
                  <a:cxn ang="0">
                    <a:pos x="319" y="57"/>
                  </a:cxn>
                  <a:cxn ang="0">
                    <a:pos x="319" y="17"/>
                  </a:cxn>
                  <a:cxn ang="0">
                    <a:pos x="314" y="5"/>
                  </a:cxn>
                  <a:cxn ang="0">
                    <a:pos x="309" y="2"/>
                  </a:cxn>
                  <a:cxn ang="0">
                    <a:pos x="304" y="0"/>
                  </a:cxn>
                  <a:cxn ang="0">
                    <a:pos x="243" y="7"/>
                  </a:cxn>
                  <a:cxn ang="0">
                    <a:pos x="186" y="25"/>
                  </a:cxn>
                  <a:cxn ang="0">
                    <a:pos x="133" y="54"/>
                  </a:cxn>
                  <a:cxn ang="0">
                    <a:pos x="88" y="91"/>
                  </a:cxn>
                  <a:cxn ang="0">
                    <a:pos x="74" y="105"/>
                  </a:cxn>
                </a:cxnLst>
                <a:rect l="0" t="0" r="r" b="b"/>
                <a:pathLst>
                  <a:path w="319" h="329">
                    <a:moveTo>
                      <a:pt x="74" y="105"/>
                    </a:moveTo>
                    <a:lnTo>
                      <a:pt x="74" y="105"/>
                    </a:lnTo>
                    <a:lnTo>
                      <a:pt x="57" y="128"/>
                    </a:lnTo>
                    <a:lnTo>
                      <a:pt x="42" y="152"/>
                    </a:lnTo>
                    <a:lnTo>
                      <a:pt x="29" y="175"/>
                    </a:lnTo>
                    <a:lnTo>
                      <a:pt x="19" y="202"/>
                    </a:lnTo>
                    <a:lnTo>
                      <a:pt x="10" y="229"/>
                    </a:lnTo>
                    <a:lnTo>
                      <a:pt x="4" y="256"/>
                    </a:lnTo>
                    <a:lnTo>
                      <a:pt x="2" y="285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2" y="319"/>
                    </a:lnTo>
                    <a:lnTo>
                      <a:pt x="5" y="324"/>
                    </a:lnTo>
                    <a:lnTo>
                      <a:pt x="10" y="327"/>
                    </a:lnTo>
                    <a:lnTo>
                      <a:pt x="17" y="329"/>
                    </a:lnTo>
                    <a:lnTo>
                      <a:pt x="57" y="327"/>
                    </a:lnTo>
                    <a:lnTo>
                      <a:pt x="57" y="327"/>
                    </a:lnTo>
                    <a:lnTo>
                      <a:pt x="64" y="326"/>
                    </a:lnTo>
                    <a:lnTo>
                      <a:pt x="69" y="322"/>
                    </a:lnTo>
                    <a:lnTo>
                      <a:pt x="69" y="322"/>
                    </a:lnTo>
                    <a:lnTo>
                      <a:pt x="73" y="317"/>
                    </a:lnTo>
                    <a:lnTo>
                      <a:pt x="73" y="312"/>
                    </a:lnTo>
                    <a:lnTo>
                      <a:pt x="73" y="312"/>
                    </a:lnTo>
                    <a:lnTo>
                      <a:pt x="74" y="290"/>
                    </a:lnTo>
                    <a:lnTo>
                      <a:pt x="76" y="268"/>
                    </a:lnTo>
                    <a:lnTo>
                      <a:pt x="81" y="248"/>
                    </a:lnTo>
                    <a:lnTo>
                      <a:pt x="86" y="226"/>
                    </a:lnTo>
                    <a:lnTo>
                      <a:pt x="95" y="208"/>
                    </a:lnTo>
                    <a:lnTo>
                      <a:pt x="105" y="189"/>
                    </a:lnTo>
                    <a:lnTo>
                      <a:pt x="117" y="170"/>
                    </a:lnTo>
                    <a:lnTo>
                      <a:pt x="130" y="154"/>
                    </a:lnTo>
                    <a:lnTo>
                      <a:pt x="130" y="154"/>
                    </a:lnTo>
                    <a:lnTo>
                      <a:pt x="140" y="143"/>
                    </a:lnTo>
                    <a:lnTo>
                      <a:pt x="140" y="143"/>
                    </a:lnTo>
                    <a:lnTo>
                      <a:pt x="157" y="127"/>
                    </a:lnTo>
                    <a:lnTo>
                      <a:pt x="174" y="113"/>
                    </a:lnTo>
                    <a:lnTo>
                      <a:pt x="194" y="101"/>
                    </a:lnTo>
                    <a:lnTo>
                      <a:pt x="214" y="91"/>
                    </a:lnTo>
                    <a:lnTo>
                      <a:pt x="236" y="84"/>
                    </a:lnTo>
                    <a:lnTo>
                      <a:pt x="258" y="78"/>
                    </a:lnTo>
                    <a:lnTo>
                      <a:pt x="280" y="74"/>
                    </a:lnTo>
                    <a:lnTo>
                      <a:pt x="304" y="73"/>
                    </a:lnTo>
                    <a:lnTo>
                      <a:pt x="304" y="73"/>
                    </a:lnTo>
                    <a:lnTo>
                      <a:pt x="311" y="73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7" y="62"/>
                    </a:lnTo>
                    <a:lnTo>
                      <a:pt x="319" y="57"/>
                    </a:lnTo>
                    <a:lnTo>
                      <a:pt x="319" y="17"/>
                    </a:lnTo>
                    <a:lnTo>
                      <a:pt x="319" y="17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14" y="5"/>
                    </a:lnTo>
                    <a:lnTo>
                      <a:pt x="309" y="2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273" y="2"/>
                    </a:lnTo>
                    <a:lnTo>
                      <a:pt x="243" y="7"/>
                    </a:lnTo>
                    <a:lnTo>
                      <a:pt x="214" y="15"/>
                    </a:lnTo>
                    <a:lnTo>
                      <a:pt x="186" y="25"/>
                    </a:lnTo>
                    <a:lnTo>
                      <a:pt x="159" y="37"/>
                    </a:lnTo>
                    <a:lnTo>
                      <a:pt x="133" y="54"/>
                    </a:lnTo>
                    <a:lnTo>
                      <a:pt x="110" y="71"/>
                    </a:lnTo>
                    <a:lnTo>
                      <a:pt x="88" y="91"/>
                    </a:lnTo>
                    <a:lnTo>
                      <a:pt x="88" y="91"/>
                    </a:lnTo>
                    <a:lnTo>
                      <a:pt x="74" y="105"/>
                    </a:lnTo>
                    <a:lnTo>
                      <a:pt x="74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22" name="Freeform 58"/>
              <p:cNvSpPr>
                <a:spLocks/>
              </p:cNvSpPr>
              <p:nvPr/>
            </p:nvSpPr>
            <p:spPr bwMode="auto">
              <a:xfrm>
                <a:off x="15886113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47" y="50"/>
                  </a:cxn>
                  <a:cxn ang="0">
                    <a:pos x="47" y="50"/>
                  </a:cxn>
                  <a:cxn ang="0">
                    <a:pos x="40" y="57"/>
                  </a:cxn>
                  <a:cxn ang="0">
                    <a:pos x="40" y="57"/>
                  </a:cxn>
                  <a:cxn ang="0">
                    <a:pos x="30" y="69"/>
                  </a:cxn>
                  <a:cxn ang="0">
                    <a:pos x="22" y="82"/>
                  </a:cxn>
                  <a:cxn ang="0">
                    <a:pos x="15" y="96"/>
                  </a:cxn>
                  <a:cxn ang="0">
                    <a:pos x="8" y="111"/>
                  </a:cxn>
                  <a:cxn ang="0">
                    <a:pos x="5" y="126"/>
                  </a:cxn>
                  <a:cxn ang="0">
                    <a:pos x="1" y="141"/>
                  </a:cxn>
                  <a:cxn ang="0">
                    <a:pos x="0" y="156"/>
                  </a:cxn>
                  <a:cxn ang="0">
                    <a:pos x="0" y="173"/>
                  </a:cxn>
                  <a:cxn ang="0">
                    <a:pos x="0" y="173"/>
                  </a:cxn>
                  <a:cxn ang="0">
                    <a:pos x="0" y="178"/>
                  </a:cxn>
                  <a:cxn ang="0">
                    <a:pos x="3" y="183"/>
                  </a:cxn>
                  <a:cxn ang="0">
                    <a:pos x="8" y="187"/>
                  </a:cxn>
                  <a:cxn ang="0">
                    <a:pos x="15" y="189"/>
                  </a:cxn>
                  <a:cxn ang="0">
                    <a:pos x="57" y="187"/>
                  </a:cxn>
                  <a:cxn ang="0">
                    <a:pos x="57" y="187"/>
                  </a:cxn>
                  <a:cxn ang="0">
                    <a:pos x="62" y="185"/>
                  </a:cxn>
                  <a:cxn ang="0">
                    <a:pos x="67" y="182"/>
                  </a:cxn>
                  <a:cxn ang="0">
                    <a:pos x="67" y="182"/>
                  </a:cxn>
                  <a:cxn ang="0">
                    <a:pos x="71" y="177"/>
                  </a:cxn>
                  <a:cxn ang="0">
                    <a:pos x="72" y="170"/>
                  </a:cxn>
                  <a:cxn ang="0">
                    <a:pos x="72" y="170"/>
                  </a:cxn>
                  <a:cxn ang="0">
                    <a:pos x="72" y="153"/>
                  </a:cxn>
                  <a:cxn ang="0">
                    <a:pos x="77" y="136"/>
                  </a:cxn>
                  <a:cxn ang="0">
                    <a:pos x="86" y="119"/>
                  </a:cxn>
                  <a:cxn ang="0">
                    <a:pos x="96" y="104"/>
                  </a:cxn>
                  <a:cxn ang="0">
                    <a:pos x="96" y="104"/>
                  </a:cxn>
                  <a:cxn ang="0">
                    <a:pos x="99" y="101"/>
                  </a:cxn>
                  <a:cxn ang="0">
                    <a:pos x="99" y="101"/>
                  </a:cxn>
                  <a:cxn ang="0">
                    <a:pos x="113" y="89"/>
                  </a:cxn>
                  <a:cxn ang="0">
                    <a:pos x="130" y="81"/>
                  </a:cxn>
                  <a:cxn ang="0">
                    <a:pos x="146" y="74"/>
                  </a:cxn>
                  <a:cxn ang="0">
                    <a:pos x="165" y="72"/>
                  </a:cxn>
                  <a:cxn ang="0">
                    <a:pos x="165" y="72"/>
                  </a:cxn>
                  <a:cxn ang="0">
                    <a:pos x="172" y="70"/>
                  </a:cxn>
                  <a:cxn ang="0">
                    <a:pos x="177" y="67"/>
                  </a:cxn>
                  <a:cxn ang="0">
                    <a:pos x="177" y="67"/>
                  </a:cxn>
                  <a:cxn ang="0">
                    <a:pos x="180" y="62"/>
                  </a:cxn>
                  <a:cxn ang="0">
                    <a:pos x="182" y="55"/>
                  </a:cxn>
                  <a:cxn ang="0">
                    <a:pos x="182" y="15"/>
                  </a:cxn>
                  <a:cxn ang="0">
                    <a:pos x="182" y="15"/>
                  </a:cxn>
                  <a:cxn ang="0">
                    <a:pos x="180" y="8"/>
                  </a:cxn>
                  <a:cxn ang="0">
                    <a:pos x="177" y="3"/>
                  </a:cxn>
                  <a:cxn ang="0">
                    <a:pos x="177" y="3"/>
                  </a:cxn>
                  <a:cxn ang="0">
                    <a:pos x="172" y="0"/>
                  </a:cxn>
                  <a:cxn ang="0">
                    <a:pos x="165" y="0"/>
                  </a:cxn>
                  <a:cxn ang="0">
                    <a:pos x="165" y="0"/>
                  </a:cxn>
                  <a:cxn ang="0">
                    <a:pos x="148" y="0"/>
                  </a:cxn>
                  <a:cxn ang="0">
                    <a:pos x="133" y="3"/>
                  </a:cxn>
                  <a:cxn ang="0">
                    <a:pos x="116" y="6"/>
                  </a:cxn>
                  <a:cxn ang="0">
                    <a:pos x="101" y="13"/>
                  </a:cxn>
                  <a:cxn ang="0">
                    <a:pos x="87" y="20"/>
                  </a:cxn>
                  <a:cxn ang="0">
                    <a:pos x="72" y="28"/>
                  </a:cxn>
                  <a:cxn ang="0">
                    <a:pos x="59" y="38"/>
                  </a:cxn>
                  <a:cxn ang="0">
                    <a:pos x="47" y="50"/>
                  </a:cxn>
                  <a:cxn ang="0">
                    <a:pos x="47" y="50"/>
                  </a:cxn>
                </a:cxnLst>
                <a:rect l="0" t="0" r="r" b="b"/>
                <a:pathLst>
                  <a:path w="182" h="189">
                    <a:moveTo>
                      <a:pt x="47" y="50"/>
                    </a:moveTo>
                    <a:lnTo>
                      <a:pt x="47" y="50"/>
                    </a:lnTo>
                    <a:lnTo>
                      <a:pt x="40" y="57"/>
                    </a:lnTo>
                    <a:lnTo>
                      <a:pt x="40" y="57"/>
                    </a:lnTo>
                    <a:lnTo>
                      <a:pt x="30" y="69"/>
                    </a:lnTo>
                    <a:lnTo>
                      <a:pt x="22" y="82"/>
                    </a:lnTo>
                    <a:lnTo>
                      <a:pt x="15" y="96"/>
                    </a:lnTo>
                    <a:lnTo>
                      <a:pt x="8" y="111"/>
                    </a:lnTo>
                    <a:lnTo>
                      <a:pt x="5" y="126"/>
                    </a:lnTo>
                    <a:lnTo>
                      <a:pt x="1" y="141"/>
                    </a:lnTo>
                    <a:lnTo>
                      <a:pt x="0" y="156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0" y="178"/>
                    </a:lnTo>
                    <a:lnTo>
                      <a:pt x="3" y="183"/>
                    </a:lnTo>
                    <a:lnTo>
                      <a:pt x="8" y="187"/>
                    </a:lnTo>
                    <a:lnTo>
                      <a:pt x="15" y="189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2" y="185"/>
                    </a:lnTo>
                    <a:lnTo>
                      <a:pt x="67" y="182"/>
                    </a:lnTo>
                    <a:lnTo>
                      <a:pt x="67" y="182"/>
                    </a:lnTo>
                    <a:lnTo>
                      <a:pt x="71" y="177"/>
                    </a:lnTo>
                    <a:lnTo>
                      <a:pt x="72" y="170"/>
                    </a:lnTo>
                    <a:lnTo>
                      <a:pt x="72" y="170"/>
                    </a:lnTo>
                    <a:lnTo>
                      <a:pt x="72" y="153"/>
                    </a:lnTo>
                    <a:lnTo>
                      <a:pt x="77" y="136"/>
                    </a:lnTo>
                    <a:lnTo>
                      <a:pt x="86" y="119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9" y="101"/>
                    </a:lnTo>
                    <a:lnTo>
                      <a:pt x="99" y="101"/>
                    </a:lnTo>
                    <a:lnTo>
                      <a:pt x="113" y="89"/>
                    </a:lnTo>
                    <a:lnTo>
                      <a:pt x="130" y="81"/>
                    </a:lnTo>
                    <a:lnTo>
                      <a:pt x="146" y="74"/>
                    </a:lnTo>
                    <a:lnTo>
                      <a:pt x="165" y="72"/>
                    </a:lnTo>
                    <a:lnTo>
                      <a:pt x="165" y="72"/>
                    </a:lnTo>
                    <a:lnTo>
                      <a:pt x="172" y="70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80" y="62"/>
                    </a:lnTo>
                    <a:lnTo>
                      <a:pt x="182" y="55"/>
                    </a:lnTo>
                    <a:lnTo>
                      <a:pt x="182" y="15"/>
                    </a:lnTo>
                    <a:lnTo>
                      <a:pt x="182" y="15"/>
                    </a:lnTo>
                    <a:lnTo>
                      <a:pt x="180" y="8"/>
                    </a:lnTo>
                    <a:lnTo>
                      <a:pt x="177" y="3"/>
                    </a:lnTo>
                    <a:lnTo>
                      <a:pt x="177" y="3"/>
                    </a:lnTo>
                    <a:lnTo>
                      <a:pt x="172" y="0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148" y="0"/>
                    </a:lnTo>
                    <a:lnTo>
                      <a:pt x="133" y="3"/>
                    </a:lnTo>
                    <a:lnTo>
                      <a:pt x="116" y="6"/>
                    </a:lnTo>
                    <a:lnTo>
                      <a:pt x="101" y="13"/>
                    </a:lnTo>
                    <a:lnTo>
                      <a:pt x="87" y="20"/>
                    </a:lnTo>
                    <a:lnTo>
                      <a:pt x="72" y="28"/>
                    </a:lnTo>
                    <a:lnTo>
                      <a:pt x="59" y="38"/>
                    </a:lnTo>
                    <a:lnTo>
                      <a:pt x="47" y="50"/>
                    </a:lnTo>
                    <a:lnTo>
                      <a:pt x="47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23" name="Freeform 59"/>
              <p:cNvSpPr>
                <a:spLocks/>
              </p:cNvSpPr>
              <p:nvPr/>
            </p:nvSpPr>
            <p:spPr bwMode="auto">
              <a:xfrm>
                <a:off x="16213138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302" y="329"/>
                  </a:cxn>
                  <a:cxn ang="0">
                    <a:pos x="309" y="327"/>
                  </a:cxn>
                  <a:cxn ang="0">
                    <a:pos x="317" y="319"/>
                  </a:cxn>
                  <a:cxn ang="0">
                    <a:pos x="319" y="312"/>
                  </a:cxn>
                  <a:cxn ang="0">
                    <a:pos x="314" y="256"/>
                  </a:cxn>
                  <a:cxn ang="0">
                    <a:pos x="300" y="202"/>
                  </a:cxn>
                  <a:cxn ang="0">
                    <a:pos x="277" y="152"/>
                  </a:cxn>
                  <a:cxn ang="0">
                    <a:pos x="243" y="105"/>
                  </a:cxn>
                  <a:cxn ang="0">
                    <a:pos x="231" y="91"/>
                  </a:cxn>
                  <a:cxn ang="0">
                    <a:pos x="209" y="71"/>
                  </a:cxn>
                  <a:cxn ang="0">
                    <a:pos x="159" y="37"/>
                  </a:cxn>
                  <a:cxn ang="0">
                    <a:pos x="105" y="15"/>
                  </a:cxn>
                  <a:cxn ang="0">
                    <a:pos x="46" y="2"/>
                  </a:cxn>
                  <a:cxn ang="0">
                    <a:pos x="15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0" y="57"/>
                  </a:cxn>
                  <a:cxn ang="0">
                    <a:pos x="0" y="62"/>
                  </a:cxn>
                  <a:cxn ang="0">
                    <a:pos x="4" y="68"/>
                  </a:cxn>
                  <a:cxn ang="0">
                    <a:pos x="15" y="73"/>
                  </a:cxn>
                  <a:cxn ang="0">
                    <a:pos x="39" y="74"/>
                  </a:cxn>
                  <a:cxn ang="0">
                    <a:pos x="83" y="84"/>
                  </a:cxn>
                  <a:cxn ang="0">
                    <a:pos x="125" y="101"/>
                  </a:cxn>
                  <a:cxn ang="0">
                    <a:pos x="162" y="127"/>
                  </a:cxn>
                  <a:cxn ang="0">
                    <a:pos x="179" y="143"/>
                  </a:cxn>
                  <a:cxn ang="0">
                    <a:pos x="189" y="154"/>
                  </a:cxn>
                  <a:cxn ang="0">
                    <a:pos x="214" y="189"/>
                  </a:cxn>
                  <a:cxn ang="0">
                    <a:pos x="231" y="226"/>
                  </a:cxn>
                  <a:cxn ang="0">
                    <a:pos x="243" y="268"/>
                  </a:cxn>
                  <a:cxn ang="0">
                    <a:pos x="245" y="312"/>
                  </a:cxn>
                  <a:cxn ang="0">
                    <a:pos x="247" y="317"/>
                  </a:cxn>
                  <a:cxn ang="0">
                    <a:pos x="250" y="322"/>
                  </a:cxn>
                  <a:cxn ang="0">
                    <a:pos x="262" y="327"/>
                  </a:cxn>
                </a:cxnLst>
                <a:rect l="0" t="0" r="r" b="b"/>
                <a:pathLst>
                  <a:path w="319" h="329">
                    <a:moveTo>
                      <a:pt x="262" y="327"/>
                    </a:moveTo>
                    <a:lnTo>
                      <a:pt x="302" y="329"/>
                    </a:lnTo>
                    <a:lnTo>
                      <a:pt x="302" y="329"/>
                    </a:lnTo>
                    <a:lnTo>
                      <a:pt x="309" y="327"/>
                    </a:lnTo>
                    <a:lnTo>
                      <a:pt x="314" y="324"/>
                    </a:lnTo>
                    <a:lnTo>
                      <a:pt x="317" y="319"/>
                    </a:lnTo>
                    <a:lnTo>
                      <a:pt x="319" y="312"/>
                    </a:lnTo>
                    <a:lnTo>
                      <a:pt x="319" y="312"/>
                    </a:lnTo>
                    <a:lnTo>
                      <a:pt x="317" y="285"/>
                    </a:lnTo>
                    <a:lnTo>
                      <a:pt x="314" y="256"/>
                    </a:lnTo>
                    <a:lnTo>
                      <a:pt x="309" y="229"/>
                    </a:lnTo>
                    <a:lnTo>
                      <a:pt x="300" y="202"/>
                    </a:lnTo>
                    <a:lnTo>
                      <a:pt x="290" y="175"/>
                    </a:lnTo>
                    <a:lnTo>
                      <a:pt x="277" y="152"/>
                    </a:lnTo>
                    <a:lnTo>
                      <a:pt x="262" y="128"/>
                    </a:lnTo>
                    <a:lnTo>
                      <a:pt x="243" y="105"/>
                    </a:lnTo>
                    <a:lnTo>
                      <a:pt x="243" y="105"/>
                    </a:lnTo>
                    <a:lnTo>
                      <a:pt x="231" y="91"/>
                    </a:lnTo>
                    <a:lnTo>
                      <a:pt x="231" y="91"/>
                    </a:lnTo>
                    <a:lnTo>
                      <a:pt x="209" y="71"/>
                    </a:lnTo>
                    <a:lnTo>
                      <a:pt x="186" y="54"/>
                    </a:lnTo>
                    <a:lnTo>
                      <a:pt x="159" y="37"/>
                    </a:lnTo>
                    <a:lnTo>
                      <a:pt x="133" y="25"/>
                    </a:lnTo>
                    <a:lnTo>
                      <a:pt x="105" y="15"/>
                    </a:lnTo>
                    <a:lnTo>
                      <a:pt x="76" y="7"/>
                    </a:lnTo>
                    <a:lnTo>
                      <a:pt x="46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9" y="73"/>
                    </a:lnTo>
                    <a:lnTo>
                      <a:pt x="15" y="73"/>
                    </a:lnTo>
                    <a:lnTo>
                      <a:pt x="15" y="73"/>
                    </a:lnTo>
                    <a:lnTo>
                      <a:pt x="39" y="74"/>
                    </a:lnTo>
                    <a:lnTo>
                      <a:pt x="61" y="78"/>
                    </a:lnTo>
                    <a:lnTo>
                      <a:pt x="83" y="84"/>
                    </a:lnTo>
                    <a:lnTo>
                      <a:pt x="105" y="91"/>
                    </a:lnTo>
                    <a:lnTo>
                      <a:pt x="125" y="101"/>
                    </a:lnTo>
                    <a:lnTo>
                      <a:pt x="144" y="113"/>
                    </a:lnTo>
                    <a:lnTo>
                      <a:pt x="162" y="127"/>
                    </a:lnTo>
                    <a:lnTo>
                      <a:pt x="179" y="143"/>
                    </a:lnTo>
                    <a:lnTo>
                      <a:pt x="179" y="143"/>
                    </a:lnTo>
                    <a:lnTo>
                      <a:pt x="189" y="154"/>
                    </a:lnTo>
                    <a:lnTo>
                      <a:pt x="189" y="154"/>
                    </a:lnTo>
                    <a:lnTo>
                      <a:pt x="203" y="170"/>
                    </a:lnTo>
                    <a:lnTo>
                      <a:pt x="214" y="189"/>
                    </a:lnTo>
                    <a:lnTo>
                      <a:pt x="225" y="208"/>
                    </a:lnTo>
                    <a:lnTo>
                      <a:pt x="231" y="226"/>
                    </a:lnTo>
                    <a:lnTo>
                      <a:pt x="238" y="248"/>
                    </a:lnTo>
                    <a:lnTo>
                      <a:pt x="243" y="268"/>
                    </a:lnTo>
                    <a:lnTo>
                      <a:pt x="245" y="290"/>
                    </a:lnTo>
                    <a:lnTo>
                      <a:pt x="245" y="312"/>
                    </a:lnTo>
                    <a:lnTo>
                      <a:pt x="245" y="312"/>
                    </a:lnTo>
                    <a:lnTo>
                      <a:pt x="247" y="317"/>
                    </a:lnTo>
                    <a:lnTo>
                      <a:pt x="250" y="322"/>
                    </a:lnTo>
                    <a:lnTo>
                      <a:pt x="250" y="322"/>
                    </a:lnTo>
                    <a:lnTo>
                      <a:pt x="255" y="326"/>
                    </a:lnTo>
                    <a:lnTo>
                      <a:pt x="262" y="327"/>
                    </a:lnTo>
                    <a:lnTo>
                      <a:pt x="262" y="3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24" name="Freeform 60"/>
              <p:cNvSpPr>
                <a:spLocks/>
              </p:cNvSpPr>
              <p:nvPr/>
            </p:nvSpPr>
            <p:spPr bwMode="auto">
              <a:xfrm>
                <a:off x="16221075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135" y="50"/>
                  </a:cxn>
                  <a:cxn ang="0">
                    <a:pos x="135" y="50"/>
                  </a:cxn>
                  <a:cxn ang="0">
                    <a:pos x="122" y="38"/>
                  </a:cxn>
                  <a:cxn ang="0">
                    <a:pos x="110" y="28"/>
                  </a:cxn>
                  <a:cxn ang="0">
                    <a:pos x="95" y="20"/>
                  </a:cxn>
                  <a:cxn ang="0">
                    <a:pos x="81" y="13"/>
                  </a:cxn>
                  <a:cxn ang="0">
                    <a:pos x="64" y="6"/>
                  </a:cxn>
                  <a:cxn ang="0">
                    <a:pos x="49" y="3"/>
                  </a:cxn>
                  <a:cxn ang="0">
                    <a:pos x="3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8"/>
                  </a:cxn>
                  <a:cxn ang="0">
                    <a:pos x="0" y="15"/>
                  </a:cxn>
                  <a:cxn ang="0">
                    <a:pos x="0" y="55"/>
                  </a:cxn>
                  <a:cxn ang="0">
                    <a:pos x="0" y="55"/>
                  </a:cxn>
                  <a:cxn ang="0">
                    <a:pos x="2" y="62"/>
                  </a:cxn>
                  <a:cxn ang="0">
                    <a:pos x="5" y="67"/>
                  </a:cxn>
                  <a:cxn ang="0">
                    <a:pos x="5" y="67"/>
                  </a:cxn>
                  <a:cxn ang="0">
                    <a:pos x="10" y="70"/>
                  </a:cxn>
                  <a:cxn ang="0">
                    <a:pos x="16" y="72"/>
                  </a:cxn>
                  <a:cxn ang="0">
                    <a:pos x="16" y="72"/>
                  </a:cxn>
                  <a:cxn ang="0">
                    <a:pos x="34" y="74"/>
                  </a:cxn>
                  <a:cxn ang="0">
                    <a:pos x="53" y="81"/>
                  </a:cxn>
                  <a:cxn ang="0">
                    <a:pos x="68" y="89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6" y="104"/>
                  </a:cxn>
                  <a:cxn ang="0">
                    <a:pos x="86" y="104"/>
                  </a:cxn>
                  <a:cxn ang="0">
                    <a:pos x="97" y="119"/>
                  </a:cxn>
                  <a:cxn ang="0">
                    <a:pos x="105" y="136"/>
                  </a:cxn>
                  <a:cxn ang="0">
                    <a:pos x="108" y="153"/>
                  </a:cxn>
                  <a:cxn ang="0">
                    <a:pos x="110" y="170"/>
                  </a:cxn>
                  <a:cxn ang="0">
                    <a:pos x="110" y="170"/>
                  </a:cxn>
                  <a:cxn ang="0">
                    <a:pos x="112" y="177"/>
                  </a:cxn>
                  <a:cxn ang="0">
                    <a:pos x="113" y="182"/>
                  </a:cxn>
                  <a:cxn ang="0">
                    <a:pos x="113" y="182"/>
                  </a:cxn>
                  <a:cxn ang="0">
                    <a:pos x="118" y="185"/>
                  </a:cxn>
                  <a:cxn ang="0">
                    <a:pos x="125" y="187"/>
                  </a:cxn>
                  <a:cxn ang="0">
                    <a:pos x="167" y="189"/>
                  </a:cxn>
                  <a:cxn ang="0">
                    <a:pos x="167" y="189"/>
                  </a:cxn>
                  <a:cxn ang="0">
                    <a:pos x="172" y="187"/>
                  </a:cxn>
                  <a:cxn ang="0">
                    <a:pos x="177" y="183"/>
                  </a:cxn>
                  <a:cxn ang="0">
                    <a:pos x="181" y="178"/>
                  </a:cxn>
                  <a:cxn ang="0">
                    <a:pos x="183" y="173"/>
                  </a:cxn>
                  <a:cxn ang="0">
                    <a:pos x="183" y="173"/>
                  </a:cxn>
                  <a:cxn ang="0">
                    <a:pos x="183" y="156"/>
                  </a:cxn>
                  <a:cxn ang="0">
                    <a:pos x="181" y="141"/>
                  </a:cxn>
                  <a:cxn ang="0">
                    <a:pos x="177" y="126"/>
                  </a:cxn>
                  <a:cxn ang="0">
                    <a:pos x="172" y="111"/>
                  </a:cxn>
                  <a:cxn ang="0">
                    <a:pos x="167" y="96"/>
                  </a:cxn>
                  <a:cxn ang="0">
                    <a:pos x="161" y="82"/>
                  </a:cxn>
                  <a:cxn ang="0">
                    <a:pos x="152" y="69"/>
                  </a:cxn>
                  <a:cxn ang="0">
                    <a:pos x="142" y="57"/>
                  </a:cxn>
                  <a:cxn ang="0">
                    <a:pos x="142" y="57"/>
                  </a:cxn>
                  <a:cxn ang="0">
                    <a:pos x="135" y="50"/>
                  </a:cxn>
                  <a:cxn ang="0">
                    <a:pos x="135" y="50"/>
                  </a:cxn>
                </a:cxnLst>
                <a:rect l="0" t="0" r="r" b="b"/>
                <a:pathLst>
                  <a:path w="183" h="189">
                    <a:moveTo>
                      <a:pt x="135" y="50"/>
                    </a:moveTo>
                    <a:lnTo>
                      <a:pt x="135" y="50"/>
                    </a:lnTo>
                    <a:lnTo>
                      <a:pt x="122" y="38"/>
                    </a:lnTo>
                    <a:lnTo>
                      <a:pt x="110" y="28"/>
                    </a:lnTo>
                    <a:lnTo>
                      <a:pt x="95" y="20"/>
                    </a:lnTo>
                    <a:lnTo>
                      <a:pt x="81" y="13"/>
                    </a:lnTo>
                    <a:lnTo>
                      <a:pt x="64" y="6"/>
                    </a:lnTo>
                    <a:lnTo>
                      <a:pt x="49" y="3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2"/>
                    </a:lnTo>
                    <a:lnTo>
                      <a:pt x="5" y="67"/>
                    </a:lnTo>
                    <a:lnTo>
                      <a:pt x="5" y="67"/>
                    </a:lnTo>
                    <a:lnTo>
                      <a:pt x="10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34" y="74"/>
                    </a:lnTo>
                    <a:lnTo>
                      <a:pt x="53" y="81"/>
                    </a:lnTo>
                    <a:lnTo>
                      <a:pt x="68" y="89"/>
                    </a:lnTo>
                    <a:lnTo>
                      <a:pt x="83" y="101"/>
                    </a:lnTo>
                    <a:lnTo>
                      <a:pt x="83" y="101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97" y="119"/>
                    </a:lnTo>
                    <a:lnTo>
                      <a:pt x="105" y="136"/>
                    </a:lnTo>
                    <a:lnTo>
                      <a:pt x="108" y="153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2" y="177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8" y="185"/>
                    </a:lnTo>
                    <a:lnTo>
                      <a:pt x="125" y="187"/>
                    </a:lnTo>
                    <a:lnTo>
                      <a:pt x="167" y="189"/>
                    </a:lnTo>
                    <a:lnTo>
                      <a:pt x="167" y="189"/>
                    </a:lnTo>
                    <a:lnTo>
                      <a:pt x="172" y="187"/>
                    </a:lnTo>
                    <a:lnTo>
                      <a:pt x="177" y="183"/>
                    </a:lnTo>
                    <a:lnTo>
                      <a:pt x="181" y="178"/>
                    </a:lnTo>
                    <a:lnTo>
                      <a:pt x="183" y="173"/>
                    </a:lnTo>
                    <a:lnTo>
                      <a:pt x="183" y="173"/>
                    </a:lnTo>
                    <a:lnTo>
                      <a:pt x="183" y="156"/>
                    </a:lnTo>
                    <a:lnTo>
                      <a:pt x="181" y="141"/>
                    </a:lnTo>
                    <a:lnTo>
                      <a:pt x="177" y="126"/>
                    </a:lnTo>
                    <a:lnTo>
                      <a:pt x="172" y="111"/>
                    </a:lnTo>
                    <a:lnTo>
                      <a:pt x="167" y="96"/>
                    </a:lnTo>
                    <a:lnTo>
                      <a:pt x="161" y="82"/>
                    </a:lnTo>
                    <a:lnTo>
                      <a:pt x="152" y="69"/>
                    </a:lnTo>
                    <a:lnTo>
                      <a:pt x="142" y="57"/>
                    </a:lnTo>
                    <a:lnTo>
                      <a:pt x="142" y="57"/>
                    </a:lnTo>
                    <a:lnTo>
                      <a:pt x="135" y="50"/>
                    </a:lnTo>
                    <a:lnTo>
                      <a:pt x="135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25" name="Freeform 61"/>
              <p:cNvSpPr>
                <a:spLocks noEditPoints="1"/>
              </p:cNvSpPr>
              <p:nvPr/>
            </p:nvSpPr>
            <p:spPr bwMode="auto">
              <a:xfrm>
                <a:off x="15730538" y="3460749"/>
                <a:ext cx="765175" cy="931864"/>
              </a:xfrm>
              <a:custGeom>
                <a:avLst/>
                <a:gdLst/>
                <a:ahLst/>
                <a:cxnLst>
                  <a:cxn ang="0">
                    <a:pos x="157" y="1174"/>
                  </a:cxn>
                  <a:cxn ang="0">
                    <a:pos x="963" y="1174"/>
                  </a:cxn>
                  <a:cxn ang="0">
                    <a:pos x="842" y="1026"/>
                  </a:cxn>
                  <a:cxn ang="0">
                    <a:pos x="579" y="248"/>
                  </a:cxn>
                  <a:cxn ang="0">
                    <a:pos x="590" y="238"/>
                  </a:cxn>
                  <a:cxn ang="0">
                    <a:pos x="611" y="215"/>
                  </a:cxn>
                  <a:cxn ang="0">
                    <a:pos x="626" y="186"/>
                  </a:cxn>
                  <a:cxn ang="0">
                    <a:pos x="634" y="154"/>
                  </a:cxn>
                  <a:cxn ang="0">
                    <a:pos x="634" y="137"/>
                  </a:cxn>
                  <a:cxn ang="0">
                    <a:pos x="633" y="110"/>
                  </a:cxn>
                  <a:cxn ang="0">
                    <a:pos x="624" y="85"/>
                  </a:cxn>
                  <a:cxn ang="0">
                    <a:pos x="611" y="61"/>
                  </a:cxn>
                  <a:cxn ang="0">
                    <a:pos x="594" y="41"/>
                  </a:cxn>
                  <a:cxn ang="0">
                    <a:pos x="573" y="24"/>
                  </a:cxn>
                  <a:cxn ang="0">
                    <a:pos x="552" y="10"/>
                  </a:cxn>
                  <a:cxn ang="0">
                    <a:pos x="525" y="4"/>
                  </a:cxn>
                  <a:cxn ang="0">
                    <a:pos x="498" y="0"/>
                  </a:cxn>
                  <a:cxn ang="0">
                    <a:pos x="484" y="0"/>
                  </a:cxn>
                  <a:cxn ang="0">
                    <a:pos x="457" y="7"/>
                  </a:cxn>
                  <a:cxn ang="0">
                    <a:pos x="432" y="17"/>
                  </a:cxn>
                  <a:cxn ang="0">
                    <a:pos x="410" y="31"/>
                  </a:cxn>
                  <a:cxn ang="0">
                    <a:pos x="391" y="49"/>
                  </a:cxn>
                  <a:cxn ang="0">
                    <a:pos x="376" y="71"/>
                  </a:cxn>
                  <a:cxn ang="0">
                    <a:pos x="366" y="96"/>
                  </a:cxn>
                  <a:cxn ang="0">
                    <a:pos x="361" y="123"/>
                  </a:cxn>
                  <a:cxn ang="0">
                    <a:pos x="359" y="137"/>
                  </a:cxn>
                  <a:cxn ang="0">
                    <a:pos x="364" y="169"/>
                  </a:cxn>
                  <a:cxn ang="0">
                    <a:pos x="374" y="198"/>
                  </a:cxn>
                  <a:cxn ang="0">
                    <a:pos x="391" y="223"/>
                  </a:cxn>
                  <a:cxn ang="0">
                    <a:pos x="412" y="245"/>
                  </a:cxn>
                  <a:cxn ang="0">
                    <a:pos x="121" y="1026"/>
                  </a:cxn>
                  <a:cxn ang="0">
                    <a:pos x="0" y="1174"/>
                  </a:cxn>
                  <a:cxn ang="0">
                    <a:pos x="415" y="977"/>
                  </a:cxn>
                  <a:cxn ang="0">
                    <a:pos x="698" y="1026"/>
                  </a:cxn>
                  <a:cxn ang="0">
                    <a:pos x="442" y="478"/>
                  </a:cxn>
                  <a:cxn ang="0">
                    <a:pos x="410" y="597"/>
                  </a:cxn>
                  <a:cxn ang="0">
                    <a:pos x="467" y="387"/>
                  </a:cxn>
                  <a:cxn ang="0">
                    <a:pos x="533" y="429"/>
                  </a:cxn>
                  <a:cxn ang="0">
                    <a:pos x="582" y="604"/>
                  </a:cxn>
                  <a:cxn ang="0">
                    <a:pos x="450" y="678"/>
                  </a:cxn>
                  <a:cxn ang="0">
                    <a:pos x="369" y="743"/>
                  </a:cxn>
                  <a:cxn ang="0">
                    <a:pos x="324" y="910"/>
                  </a:cxn>
                </a:cxnLst>
                <a:rect l="0" t="0" r="r" b="b"/>
                <a:pathLst>
                  <a:path w="963" h="1174">
                    <a:moveTo>
                      <a:pt x="0" y="1174"/>
                    </a:moveTo>
                    <a:lnTo>
                      <a:pt x="157" y="1174"/>
                    </a:lnTo>
                    <a:lnTo>
                      <a:pt x="833" y="1174"/>
                    </a:lnTo>
                    <a:lnTo>
                      <a:pt x="963" y="1174"/>
                    </a:lnTo>
                    <a:lnTo>
                      <a:pt x="918" y="1120"/>
                    </a:lnTo>
                    <a:lnTo>
                      <a:pt x="842" y="1026"/>
                    </a:lnTo>
                    <a:lnTo>
                      <a:pt x="793" y="1026"/>
                    </a:lnTo>
                    <a:lnTo>
                      <a:pt x="579" y="248"/>
                    </a:lnTo>
                    <a:lnTo>
                      <a:pt x="579" y="248"/>
                    </a:lnTo>
                    <a:lnTo>
                      <a:pt x="590" y="238"/>
                    </a:lnTo>
                    <a:lnTo>
                      <a:pt x="602" y="226"/>
                    </a:lnTo>
                    <a:lnTo>
                      <a:pt x="611" y="215"/>
                    </a:lnTo>
                    <a:lnTo>
                      <a:pt x="619" y="201"/>
                    </a:lnTo>
                    <a:lnTo>
                      <a:pt x="626" y="186"/>
                    </a:lnTo>
                    <a:lnTo>
                      <a:pt x="631" y="171"/>
                    </a:lnTo>
                    <a:lnTo>
                      <a:pt x="634" y="154"/>
                    </a:lnTo>
                    <a:lnTo>
                      <a:pt x="634" y="137"/>
                    </a:lnTo>
                    <a:lnTo>
                      <a:pt x="634" y="137"/>
                    </a:lnTo>
                    <a:lnTo>
                      <a:pt x="634" y="123"/>
                    </a:lnTo>
                    <a:lnTo>
                      <a:pt x="633" y="110"/>
                    </a:lnTo>
                    <a:lnTo>
                      <a:pt x="629" y="96"/>
                    </a:lnTo>
                    <a:lnTo>
                      <a:pt x="624" y="85"/>
                    </a:lnTo>
                    <a:lnTo>
                      <a:pt x="617" y="71"/>
                    </a:lnTo>
                    <a:lnTo>
                      <a:pt x="611" y="61"/>
                    </a:lnTo>
                    <a:lnTo>
                      <a:pt x="604" y="49"/>
                    </a:lnTo>
                    <a:lnTo>
                      <a:pt x="594" y="41"/>
                    </a:lnTo>
                    <a:lnTo>
                      <a:pt x="585" y="31"/>
                    </a:lnTo>
                    <a:lnTo>
                      <a:pt x="573" y="24"/>
                    </a:lnTo>
                    <a:lnTo>
                      <a:pt x="563" y="17"/>
                    </a:lnTo>
                    <a:lnTo>
                      <a:pt x="552" y="10"/>
                    </a:lnTo>
                    <a:lnTo>
                      <a:pt x="538" y="7"/>
                    </a:lnTo>
                    <a:lnTo>
                      <a:pt x="525" y="4"/>
                    </a:lnTo>
                    <a:lnTo>
                      <a:pt x="511" y="0"/>
                    </a:lnTo>
                    <a:lnTo>
                      <a:pt x="498" y="0"/>
                    </a:lnTo>
                    <a:lnTo>
                      <a:pt x="498" y="0"/>
                    </a:lnTo>
                    <a:lnTo>
                      <a:pt x="484" y="0"/>
                    </a:lnTo>
                    <a:lnTo>
                      <a:pt x="469" y="4"/>
                    </a:lnTo>
                    <a:lnTo>
                      <a:pt x="457" y="7"/>
                    </a:lnTo>
                    <a:lnTo>
                      <a:pt x="444" y="10"/>
                    </a:lnTo>
                    <a:lnTo>
                      <a:pt x="432" y="17"/>
                    </a:lnTo>
                    <a:lnTo>
                      <a:pt x="420" y="24"/>
                    </a:lnTo>
                    <a:lnTo>
                      <a:pt x="410" y="31"/>
                    </a:lnTo>
                    <a:lnTo>
                      <a:pt x="400" y="41"/>
                    </a:lnTo>
                    <a:lnTo>
                      <a:pt x="391" y="49"/>
                    </a:lnTo>
                    <a:lnTo>
                      <a:pt x="383" y="61"/>
                    </a:lnTo>
                    <a:lnTo>
                      <a:pt x="376" y="71"/>
                    </a:lnTo>
                    <a:lnTo>
                      <a:pt x="371" y="85"/>
                    </a:lnTo>
                    <a:lnTo>
                      <a:pt x="366" y="96"/>
                    </a:lnTo>
                    <a:lnTo>
                      <a:pt x="363" y="110"/>
                    </a:lnTo>
                    <a:lnTo>
                      <a:pt x="361" y="123"/>
                    </a:lnTo>
                    <a:lnTo>
                      <a:pt x="359" y="137"/>
                    </a:lnTo>
                    <a:lnTo>
                      <a:pt x="359" y="137"/>
                    </a:lnTo>
                    <a:lnTo>
                      <a:pt x="361" y="154"/>
                    </a:lnTo>
                    <a:lnTo>
                      <a:pt x="364" y="169"/>
                    </a:lnTo>
                    <a:lnTo>
                      <a:pt x="368" y="184"/>
                    </a:lnTo>
                    <a:lnTo>
                      <a:pt x="374" y="198"/>
                    </a:lnTo>
                    <a:lnTo>
                      <a:pt x="381" y="211"/>
                    </a:lnTo>
                    <a:lnTo>
                      <a:pt x="391" y="223"/>
                    </a:lnTo>
                    <a:lnTo>
                      <a:pt x="400" y="235"/>
                    </a:lnTo>
                    <a:lnTo>
                      <a:pt x="412" y="245"/>
                    </a:lnTo>
                    <a:lnTo>
                      <a:pt x="197" y="1026"/>
                    </a:lnTo>
                    <a:lnTo>
                      <a:pt x="121" y="1026"/>
                    </a:lnTo>
                    <a:lnTo>
                      <a:pt x="46" y="1120"/>
                    </a:lnTo>
                    <a:lnTo>
                      <a:pt x="0" y="1174"/>
                    </a:lnTo>
                    <a:close/>
                    <a:moveTo>
                      <a:pt x="577" y="1026"/>
                    </a:moveTo>
                    <a:lnTo>
                      <a:pt x="415" y="977"/>
                    </a:lnTo>
                    <a:lnTo>
                      <a:pt x="663" y="898"/>
                    </a:lnTo>
                    <a:lnTo>
                      <a:pt x="698" y="1026"/>
                    </a:lnTo>
                    <a:lnTo>
                      <a:pt x="577" y="1026"/>
                    </a:lnTo>
                    <a:close/>
                    <a:moveTo>
                      <a:pt x="442" y="478"/>
                    </a:moveTo>
                    <a:lnTo>
                      <a:pt x="526" y="532"/>
                    </a:lnTo>
                    <a:lnTo>
                      <a:pt x="410" y="597"/>
                    </a:lnTo>
                    <a:lnTo>
                      <a:pt x="442" y="478"/>
                    </a:lnTo>
                    <a:close/>
                    <a:moveTo>
                      <a:pt x="467" y="387"/>
                    </a:moveTo>
                    <a:lnTo>
                      <a:pt x="494" y="287"/>
                    </a:lnTo>
                    <a:lnTo>
                      <a:pt x="533" y="429"/>
                    </a:lnTo>
                    <a:lnTo>
                      <a:pt x="467" y="387"/>
                    </a:lnTo>
                    <a:close/>
                    <a:moveTo>
                      <a:pt x="582" y="604"/>
                    </a:moveTo>
                    <a:lnTo>
                      <a:pt x="622" y="753"/>
                    </a:lnTo>
                    <a:lnTo>
                      <a:pt x="450" y="678"/>
                    </a:lnTo>
                    <a:lnTo>
                      <a:pt x="582" y="604"/>
                    </a:lnTo>
                    <a:close/>
                    <a:moveTo>
                      <a:pt x="369" y="743"/>
                    </a:moveTo>
                    <a:lnTo>
                      <a:pt x="573" y="830"/>
                    </a:lnTo>
                    <a:lnTo>
                      <a:pt x="324" y="910"/>
                    </a:lnTo>
                    <a:lnTo>
                      <a:pt x="369" y="7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</p:grpSp>
        <p:grpSp>
          <p:nvGrpSpPr>
            <p:cNvPr id="4" name="组合 245"/>
            <p:cNvGrpSpPr/>
            <p:nvPr/>
          </p:nvGrpSpPr>
          <p:grpSpPr bwMode="auto">
            <a:xfrm>
              <a:off x="4994713" y="2587398"/>
              <a:ext cx="395808" cy="385216"/>
              <a:chOff x="15730538" y="3268663"/>
              <a:chExt cx="765175" cy="1123950"/>
            </a:xfrm>
            <a:solidFill>
              <a:schemeClr val="bg1"/>
            </a:solidFill>
          </p:grpSpPr>
          <p:sp>
            <p:nvSpPr>
              <p:cNvPr id="16" name="Freeform 57"/>
              <p:cNvSpPr>
                <a:spLocks/>
              </p:cNvSpPr>
              <p:nvPr/>
            </p:nvSpPr>
            <p:spPr bwMode="auto">
              <a:xfrm>
                <a:off x="15786100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74" y="105"/>
                  </a:cxn>
                  <a:cxn ang="0">
                    <a:pos x="42" y="152"/>
                  </a:cxn>
                  <a:cxn ang="0">
                    <a:pos x="19" y="202"/>
                  </a:cxn>
                  <a:cxn ang="0">
                    <a:pos x="4" y="256"/>
                  </a:cxn>
                  <a:cxn ang="0">
                    <a:pos x="0" y="312"/>
                  </a:cxn>
                  <a:cxn ang="0">
                    <a:pos x="2" y="319"/>
                  </a:cxn>
                  <a:cxn ang="0">
                    <a:pos x="10" y="327"/>
                  </a:cxn>
                  <a:cxn ang="0">
                    <a:pos x="57" y="327"/>
                  </a:cxn>
                  <a:cxn ang="0">
                    <a:pos x="64" y="326"/>
                  </a:cxn>
                  <a:cxn ang="0">
                    <a:pos x="69" y="322"/>
                  </a:cxn>
                  <a:cxn ang="0">
                    <a:pos x="73" y="312"/>
                  </a:cxn>
                  <a:cxn ang="0">
                    <a:pos x="74" y="290"/>
                  </a:cxn>
                  <a:cxn ang="0">
                    <a:pos x="81" y="248"/>
                  </a:cxn>
                  <a:cxn ang="0">
                    <a:pos x="95" y="208"/>
                  </a:cxn>
                  <a:cxn ang="0">
                    <a:pos x="117" y="170"/>
                  </a:cxn>
                  <a:cxn ang="0">
                    <a:pos x="130" y="154"/>
                  </a:cxn>
                  <a:cxn ang="0">
                    <a:pos x="140" y="143"/>
                  </a:cxn>
                  <a:cxn ang="0">
                    <a:pos x="174" y="113"/>
                  </a:cxn>
                  <a:cxn ang="0">
                    <a:pos x="214" y="91"/>
                  </a:cxn>
                  <a:cxn ang="0">
                    <a:pos x="258" y="78"/>
                  </a:cxn>
                  <a:cxn ang="0">
                    <a:pos x="304" y="73"/>
                  </a:cxn>
                  <a:cxn ang="0">
                    <a:pos x="311" y="73"/>
                  </a:cxn>
                  <a:cxn ang="0">
                    <a:pos x="316" y="68"/>
                  </a:cxn>
                  <a:cxn ang="0">
                    <a:pos x="319" y="57"/>
                  </a:cxn>
                  <a:cxn ang="0">
                    <a:pos x="319" y="17"/>
                  </a:cxn>
                  <a:cxn ang="0">
                    <a:pos x="314" y="5"/>
                  </a:cxn>
                  <a:cxn ang="0">
                    <a:pos x="309" y="2"/>
                  </a:cxn>
                  <a:cxn ang="0">
                    <a:pos x="304" y="0"/>
                  </a:cxn>
                  <a:cxn ang="0">
                    <a:pos x="243" y="7"/>
                  </a:cxn>
                  <a:cxn ang="0">
                    <a:pos x="186" y="25"/>
                  </a:cxn>
                  <a:cxn ang="0">
                    <a:pos x="133" y="54"/>
                  </a:cxn>
                  <a:cxn ang="0">
                    <a:pos x="88" y="91"/>
                  </a:cxn>
                  <a:cxn ang="0">
                    <a:pos x="74" y="105"/>
                  </a:cxn>
                </a:cxnLst>
                <a:rect l="0" t="0" r="r" b="b"/>
                <a:pathLst>
                  <a:path w="319" h="329">
                    <a:moveTo>
                      <a:pt x="74" y="105"/>
                    </a:moveTo>
                    <a:lnTo>
                      <a:pt x="74" y="105"/>
                    </a:lnTo>
                    <a:lnTo>
                      <a:pt x="57" y="128"/>
                    </a:lnTo>
                    <a:lnTo>
                      <a:pt x="42" y="152"/>
                    </a:lnTo>
                    <a:lnTo>
                      <a:pt x="29" y="175"/>
                    </a:lnTo>
                    <a:lnTo>
                      <a:pt x="19" y="202"/>
                    </a:lnTo>
                    <a:lnTo>
                      <a:pt x="10" y="229"/>
                    </a:lnTo>
                    <a:lnTo>
                      <a:pt x="4" y="256"/>
                    </a:lnTo>
                    <a:lnTo>
                      <a:pt x="2" y="285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2" y="319"/>
                    </a:lnTo>
                    <a:lnTo>
                      <a:pt x="5" y="324"/>
                    </a:lnTo>
                    <a:lnTo>
                      <a:pt x="10" y="327"/>
                    </a:lnTo>
                    <a:lnTo>
                      <a:pt x="17" y="329"/>
                    </a:lnTo>
                    <a:lnTo>
                      <a:pt x="57" y="327"/>
                    </a:lnTo>
                    <a:lnTo>
                      <a:pt x="57" y="327"/>
                    </a:lnTo>
                    <a:lnTo>
                      <a:pt x="64" y="326"/>
                    </a:lnTo>
                    <a:lnTo>
                      <a:pt x="69" y="322"/>
                    </a:lnTo>
                    <a:lnTo>
                      <a:pt x="69" y="322"/>
                    </a:lnTo>
                    <a:lnTo>
                      <a:pt x="73" y="317"/>
                    </a:lnTo>
                    <a:lnTo>
                      <a:pt x="73" y="312"/>
                    </a:lnTo>
                    <a:lnTo>
                      <a:pt x="73" y="312"/>
                    </a:lnTo>
                    <a:lnTo>
                      <a:pt x="74" y="290"/>
                    </a:lnTo>
                    <a:lnTo>
                      <a:pt x="76" y="268"/>
                    </a:lnTo>
                    <a:lnTo>
                      <a:pt x="81" y="248"/>
                    </a:lnTo>
                    <a:lnTo>
                      <a:pt x="86" y="226"/>
                    </a:lnTo>
                    <a:lnTo>
                      <a:pt x="95" y="208"/>
                    </a:lnTo>
                    <a:lnTo>
                      <a:pt x="105" y="189"/>
                    </a:lnTo>
                    <a:lnTo>
                      <a:pt x="117" y="170"/>
                    </a:lnTo>
                    <a:lnTo>
                      <a:pt x="130" y="154"/>
                    </a:lnTo>
                    <a:lnTo>
                      <a:pt x="130" y="154"/>
                    </a:lnTo>
                    <a:lnTo>
                      <a:pt x="140" y="143"/>
                    </a:lnTo>
                    <a:lnTo>
                      <a:pt x="140" y="143"/>
                    </a:lnTo>
                    <a:lnTo>
                      <a:pt x="157" y="127"/>
                    </a:lnTo>
                    <a:lnTo>
                      <a:pt x="174" y="113"/>
                    </a:lnTo>
                    <a:lnTo>
                      <a:pt x="194" y="101"/>
                    </a:lnTo>
                    <a:lnTo>
                      <a:pt x="214" y="91"/>
                    </a:lnTo>
                    <a:lnTo>
                      <a:pt x="236" y="84"/>
                    </a:lnTo>
                    <a:lnTo>
                      <a:pt x="258" y="78"/>
                    </a:lnTo>
                    <a:lnTo>
                      <a:pt x="280" y="74"/>
                    </a:lnTo>
                    <a:lnTo>
                      <a:pt x="304" y="73"/>
                    </a:lnTo>
                    <a:lnTo>
                      <a:pt x="304" y="73"/>
                    </a:lnTo>
                    <a:lnTo>
                      <a:pt x="311" y="73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7" y="62"/>
                    </a:lnTo>
                    <a:lnTo>
                      <a:pt x="319" y="57"/>
                    </a:lnTo>
                    <a:lnTo>
                      <a:pt x="319" y="17"/>
                    </a:lnTo>
                    <a:lnTo>
                      <a:pt x="319" y="17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14" y="5"/>
                    </a:lnTo>
                    <a:lnTo>
                      <a:pt x="309" y="2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273" y="2"/>
                    </a:lnTo>
                    <a:lnTo>
                      <a:pt x="243" y="7"/>
                    </a:lnTo>
                    <a:lnTo>
                      <a:pt x="214" y="15"/>
                    </a:lnTo>
                    <a:lnTo>
                      <a:pt x="186" y="25"/>
                    </a:lnTo>
                    <a:lnTo>
                      <a:pt x="159" y="37"/>
                    </a:lnTo>
                    <a:lnTo>
                      <a:pt x="133" y="54"/>
                    </a:lnTo>
                    <a:lnTo>
                      <a:pt x="110" y="71"/>
                    </a:lnTo>
                    <a:lnTo>
                      <a:pt x="88" y="91"/>
                    </a:lnTo>
                    <a:lnTo>
                      <a:pt x="88" y="91"/>
                    </a:lnTo>
                    <a:lnTo>
                      <a:pt x="74" y="105"/>
                    </a:lnTo>
                    <a:lnTo>
                      <a:pt x="74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17" name="Freeform 58"/>
              <p:cNvSpPr>
                <a:spLocks/>
              </p:cNvSpPr>
              <p:nvPr/>
            </p:nvSpPr>
            <p:spPr bwMode="auto">
              <a:xfrm>
                <a:off x="15886113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47" y="50"/>
                  </a:cxn>
                  <a:cxn ang="0">
                    <a:pos x="47" y="50"/>
                  </a:cxn>
                  <a:cxn ang="0">
                    <a:pos x="40" y="57"/>
                  </a:cxn>
                  <a:cxn ang="0">
                    <a:pos x="40" y="57"/>
                  </a:cxn>
                  <a:cxn ang="0">
                    <a:pos x="30" y="69"/>
                  </a:cxn>
                  <a:cxn ang="0">
                    <a:pos x="22" y="82"/>
                  </a:cxn>
                  <a:cxn ang="0">
                    <a:pos x="15" y="96"/>
                  </a:cxn>
                  <a:cxn ang="0">
                    <a:pos x="8" y="111"/>
                  </a:cxn>
                  <a:cxn ang="0">
                    <a:pos x="5" y="126"/>
                  </a:cxn>
                  <a:cxn ang="0">
                    <a:pos x="1" y="141"/>
                  </a:cxn>
                  <a:cxn ang="0">
                    <a:pos x="0" y="156"/>
                  </a:cxn>
                  <a:cxn ang="0">
                    <a:pos x="0" y="173"/>
                  </a:cxn>
                  <a:cxn ang="0">
                    <a:pos x="0" y="173"/>
                  </a:cxn>
                  <a:cxn ang="0">
                    <a:pos x="0" y="178"/>
                  </a:cxn>
                  <a:cxn ang="0">
                    <a:pos x="3" y="183"/>
                  </a:cxn>
                  <a:cxn ang="0">
                    <a:pos x="8" y="187"/>
                  </a:cxn>
                  <a:cxn ang="0">
                    <a:pos x="15" y="189"/>
                  </a:cxn>
                  <a:cxn ang="0">
                    <a:pos x="57" y="187"/>
                  </a:cxn>
                  <a:cxn ang="0">
                    <a:pos x="57" y="187"/>
                  </a:cxn>
                  <a:cxn ang="0">
                    <a:pos x="62" y="185"/>
                  </a:cxn>
                  <a:cxn ang="0">
                    <a:pos x="67" y="182"/>
                  </a:cxn>
                  <a:cxn ang="0">
                    <a:pos x="67" y="182"/>
                  </a:cxn>
                  <a:cxn ang="0">
                    <a:pos x="71" y="177"/>
                  </a:cxn>
                  <a:cxn ang="0">
                    <a:pos x="72" y="170"/>
                  </a:cxn>
                  <a:cxn ang="0">
                    <a:pos x="72" y="170"/>
                  </a:cxn>
                  <a:cxn ang="0">
                    <a:pos x="72" y="153"/>
                  </a:cxn>
                  <a:cxn ang="0">
                    <a:pos x="77" y="136"/>
                  </a:cxn>
                  <a:cxn ang="0">
                    <a:pos x="86" y="119"/>
                  </a:cxn>
                  <a:cxn ang="0">
                    <a:pos x="96" y="104"/>
                  </a:cxn>
                  <a:cxn ang="0">
                    <a:pos x="96" y="104"/>
                  </a:cxn>
                  <a:cxn ang="0">
                    <a:pos x="99" y="101"/>
                  </a:cxn>
                  <a:cxn ang="0">
                    <a:pos x="99" y="101"/>
                  </a:cxn>
                  <a:cxn ang="0">
                    <a:pos x="113" y="89"/>
                  </a:cxn>
                  <a:cxn ang="0">
                    <a:pos x="130" y="81"/>
                  </a:cxn>
                  <a:cxn ang="0">
                    <a:pos x="146" y="74"/>
                  </a:cxn>
                  <a:cxn ang="0">
                    <a:pos x="165" y="72"/>
                  </a:cxn>
                  <a:cxn ang="0">
                    <a:pos x="165" y="72"/>
                  </a:cxn>
                  <a:cxn ang="0">
                    <a:pos x="172" y="70"/>
                  </a:cxn>
                  <a:cxn ang="0">
                    <a:pos x="177" y="67"/>
                  </a:cxn>
                  <a:cxn ang="0">
                    <a:pos x="177" y="67"/>
                  </a:cxn>
                  <a:cxn ang="0">
                    <a:pos x="180" y="62"/>
                  </a:cxn>
                  <a:cxn ang="0">
                    <a:pos x="182" y="55"/>
                  </a:cxn>
                  <a:cxn ang="0">
                    <a:pos x="182" y="15"/>
                  </a:cxn>
                  <a:cxn ang="0">
                    <a:pos x="182" y="15"/>
                  </a:cxn>
                  <a:cxn ang="0">
                    <a:pos x="180" y="8"/>
                  </a:cxn>
                  <a:cxn ang="0">
                    <a:pos x="177" y="3"/>
                  </a:cxn>
                  <a:cxn ang="0">
                    <a:pos x="177" y="3"/>
                  </a:cxn>
                  <a:cxn ang="0">
                    <a:pos x="172" y="0"/>
                  </a:cxn>
                  <a:cxn ang="0">
                    <a:pos x="165" y="0"/>
                  </a:cxn>
                  <a:cxn ang="0">
                    <a:pos x="165" y="0"/>
                  </a:cxn>
                  <a:cxn ang="0">
                    <a:pos x="148" y="0"/>
                  </a:cxn>
                  <a:cxn ang="0">
                    <a:pos x="133" y="3"/>
                  </a:cxn>
                  <a:cxn ang="0">
                    <a:pos x="116" y="6"/>
                  </a:cxn>
                  <a:cxn ang="0">
                    <a:pos x="101" y="13"/>
                  </a:cxn>
                  <a:cxn ang="0">
                    <a:pos x="87" y="20"/>
                  </a:cxn>
                  <a:cxn ang="0">
                    <a:pos x="72" y="28"/>
                  </a:cxn>
                  <a:cxn ang="0">
                    <a:pos x="59" y="38"/>
                  </a:cxn>
                  <a:cxn ang="0">
                    <a:pos x="47" y="50"/>
                  </a:cxn>
                  <a:cxn ang="0">
                    <a:pos x="47" y="50"/>
                  </a:cxn>
                </a:cxnLst>
                <a:rect l="0" t="0" r="r" b="b"/>
                <a:pathLst>
                  <a:path w="182" h="189">
                    <a:moveTo>
                      <a:pt x="47" y="50"/>
                    </a:moveTo>
                    <a:lnTo>
                      <a:pt x="47" y="50"/>
                    </a:lnTo>
                    <a:lnTo>
                      <a:pt x="40" y="57"/>
                    </a:lnTo>
                    <a:lnTo>
                      <a:pt x="40" y="57"/>
                    </a:lnTo>
                    <a:lnTo>
                      <a:pt x="30" y="69"/>
                    </a:lnTo>
                    <a:lnTo>
                      <a:pt x="22" y="82"/>
                    </a:lnTo>
                    <a:lnTo>
                      <a:pt x="15" y="96"/>
                    </a:lnTo>
                    <a:lnTo>
                      <a:pt x="8" y="111"/>
                    </a:lnTo>
                    <a:lnTo>
                      <a:pt x="5" y="126"/>
                    </a:lnTo>
                    <a:lnTo>
                      <a:pt x="1" y="141"/>
                    </a:lnTo>
                    <a:lnTo>
                      <a:pt x="0" y="156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0" y="178"/>
                    </a:lnTo>
                    <a:lnTo>
                      <a:pt x="3" y="183"/>
                    </a:lnTo>
                    <a:lnTo>
                      <a:pt x="8" y="187"/>
                    </a:lnTo>
                    <a:lnTo>
                      <a:pt x="15" y="189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2" y="185"/>
                    </a:lnTo>
                    <a:lnTo>
                      <a:pt x="67" y="182"/>
                    </a:lnTo>
                    <a:lnTo>
                      <a:pt x="67" y="182"/>
                    </a:lnTo>
                    <a:lnTo>
                      <a:pt x="71" y="177"/>
                    </a:lnTo>
                    <a:lnTo>
                      <a:pt x="72" y="170"/>
                    </a:lnTo>
                    <a:lnTo>
                      <a:pt x="72" y="170"/>
                    </a:lnTo>
                    <a:lnTo>
                      <a:pt x="72" y="153"/>
                    </a:lnTo>
                    <a:lnTo>
                      <a:pt x="77" y="136"/>
                    </a:lnTo>
                    <a:lnTo>
                      <a:pt x="86" y="119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9" y="101"/>
                    </a:lnTo>
                    <a:lnTo>
                      <a:pt x="99" y="101"/>
                    </a:lnTo>
                    <a:lnTo>
                      <a:pt x="113" y="89"/>
                    </a:lnTo>
                    <a:lnTo>
                      <a:pt x="130" y="81"/>
                    </a:lnTo>
                    <a:lnTo>
                      <a:pt x="146" y="74"/>
                    </a:lnTo>
                    <a:lnTo>
                      <a:pt x="165" y="72"/>
                    </a:lnTo>
                    <a:lnTo>
                      <a:pt x="165" y="72"/>
                    </a:lnTo>
                    <a:lnTo>
                      <a:pt x="172" y="70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80" y="62"/>
                    </a:lnTo>
                    <a:lnTo>
                      <a:pt x="182" y="55"/>
                    </a:lnTo>
                    <a:lnTo>
                      <a:pt x="182" y="15"/>
                    </a:lnTo>
                    <a:lnTo>
                      <a:pt x="182" y="15"/>
                    </a:lnTo>
                    <a:lnTo>
                      <a:pt x="180" y="8"/>
                    </a:lnTo>
                    <a:lnTo>
                      <a:pt x="177" y="3"/>
                    </a:lnTo>
                    <a:lnTo>
                      <a:pt x="177" y="3"/>
                    </a:lnTo>
                    <a:lnTo>
                      <a:pt x="172" y="0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148" y="0"/>
                    </a:lnTo>
                    <a:lnTo>
                      <a:pt x="133" y="3"/>
                    </a:lnTo>
                    <a:lnTo>
                      <a:pt x="116" y="6"/>
                    </a:lnTo>
                    <a:lnTo>
                      <a:pt x="101" y="13"/>
                    </a:lnTo>
                    <a:lnTo>
                      <a:pt x="87" y="20"/>
                    </a:lnTo>
                    <a:lnTo>
                      <a:pt x="72" y="28"/>
                    </a:lnTo>
                    <a:lnTo>
                      <a:pt x="59" y="38"/>
                    </a:lnTo>
                    <a:lnTo>
                      <a:pt x="47" y="50"/>
                    </a:lnTo>
                    <a:lnTo>
                      <a:pt x="47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18" name="Freeform 59"/>
              <p:cNvSpPr>
                <a:spLocks/>
              </p:cNvSpPr>
              <p:nvPr/>
            </p:nvSpPr>
            <p:spPr bwMode="auto">
              <a:xfrm>
                <a:off x="16213138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302" y="329"/>
                  </a:cxn>
                  <a:cxn ang="0">
                    <a:pos x="309" y="327"/>
                  </a:cxn>
                  <a:cxn ang="0">
                    <a:pos x="317" y="319"/>
                  </a:cxn>
                  <a:cxn ang="0">
                    <a:pos x="319" y="312"/>
                  </a:cxn>
                  <a:cxn ang="0">
                    <a:pos x="314" y="256"/>
                  </a:cxn>
                  <a:cxn ang="0">
                    <a:pos x="300" y="202"/>
                  </a:cxn>
                  <a:cxn ang="0">
                    <a:pos x="277" y="152"/>
                  </a:cxn>
                  <a:cxn ang="0">
                    <a:pos x="243" y="105"/>
                  </a:cxn>
                  <a:cxn ang="0">
                    <a:pos x="231" y="91"/>
                  </a:cxn>
                  <a:cxn ang="0">
                    <a:pos x="209" y="71"/>
                  </a:cxn>
                  <a:cxn ang="0">
                    <a:pos x="159" y="37"/>
                  </a:cxn>
                  <a:cxn ang="0">
                    <a:pos x="105" y="15"/>
                  </a:cxn>
                  <a:cxn ang="0">
                    <a:pos x="46" y="2"/>
                  </a:cxn>
                  <a:cxn ang="0">
                    <a:pos x="15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0" y="57"/>
                  </a:cxn>
                  <a:cxn ang="0">
                    <a:pos x="0" y="62"/>
                  </a:cxn>
                  <a:cxn ang="0">
                    <a:pos x="4" y="68"/>
                  </a:cxn>
                  <a:cxn ang="0">
                    <a:pos x="15" y="73"/>
                  </a:cxn>
                  <a:cxn ang="0">
                    <a:pos x="39" y="74"/>
                  </a:cxn>
                  <a:cxn ang="0">
                    <a:pos x="83" y="84"/>
                  </a:cxn>
                  <a:cxn ang="0">
                    <a:pos x="125" y="101"/>
                  </a:cxn>
                  <a:cxn ang="0">
                    <a:pos x="162" y="127"/>
                  </a:cxn>
                  <a:cxn ang="0">
                    <a:pos x="179" y="143"/>
                  </a:cxn>
                  <a:cxn ang="0">
                    <a:pos x="189" y="154"/>
                  </a:cxn>
                  <a:cxn ang="0">
                    <a:pos x="214" y="189"/>
                  </a:cxn>
                  <a:cxn ang="0">
                    <a:pos x="231" y="226"/>
                  </a:cxn>
                  <a:cxn ang="0">
                    <a:pos x="243" y="268"/>
                  </a:cxn>
                  <a:cxn ang="0">
                    <a:pos x="245" y="312"/>
                  </a:cxn>
                  <a:cxn ang="0">
                    <a:pos x="247" y="317"/>
                  </a:cxn>
                  <a:cxn ang="0">
                    <a:pos x="250" y="322"/>
                  </a:cxn>
                  <a:cxn ang="0">
                    <a:pos x="262" y="327"/>
                  </a:cxn>
                </a:cxnLst>
                <a:rect l="0" t="0" r="r" b="b"/>
                <a:pathLst>
                  <a:path w="319" h="329">
                    <a:moveTo>
                      <a:pt x="262" y="327"/>
                    </a:moveTo>
                    <a:lnTo>
                      <a:pt x="302" y="329"/>
                    </a:lnTo>
                    <a:lnTo>
                      <a:pt x="302" y="329"/>
                    </a:lnTo>
                    <a:lnTo>
                      <a:pt x="309" y="327"/>
                    </a:lnTo>
                    <a:lnTo>
                      <a:pt x="314" y="324"/>
                    </a:lnTo>
                    <a:lnTo>
                      <a:pt x="317" y="319"/>
                    </a:lnTo>
                    <a:lnTo>
                      <a:pt x="319" y="312"/>
                    </a:lnTo>
                    <a:lnTo>
                      <a:pt x="319" y="312"/>
                    </a:lnTo>
                    <a:lnTo>
                      <a:pt x="317" y="285"/>
                    </a:lnTo>
                    <a:lnTo>
                      <a:pt x="314" y="256"/>
                    </a:lnTo>
                    <a:lnTo>
                      <a:pt x="309" y="229"/>
                    </a:lnTo>
                    <a:lnTo>
                      <a:pt x="300" y="202"/>
                    </a:lnTo>
                    <a:lnTo>
                      <a:pt x="290" y="175"/>
                    </a:lnTo>
                    <a:lnTo>
                      <a:pt x="277" y="152"/>
                    </a:lnTo>
                    <a:lnTo>
                      <a:pt x="262" y="128"/>
                    </a:lnTo>
                    <a:lnTo>
                      <a:pt x="243" y="105"/>
                    </a:lnTo>
                    <a:lnTo>
                      <a:pt x="243" y="105"/>
                    </a:lnTo>
                    <a:lnTo>
                      <a:pt x="231" y="91"/>
                    </a:lnTo>
                    <a:lnTo>
                      <a:pt x="231" y="91"/>
                    </a:lnTo>
                    <a:lnTo>
                      <a:pt x="209" y="71"/>
                    </a:lnTo>
                    <a:lnTo>
                      <a:pt x="186" y="54"/>
                    </a:lnTo>
                    <a:lnTo>
                      <a:pt x="159" y="37"/>
                    </a:lnTo>
                    <a:lnTo>
                      <a:pt x="133" y="25"/>
                    </a:lnTo>
                    <a:lnTo>
                      <a:pt x="105" y="15"/>
                    </a:lnTo>
                    <a:lnTo>
                      <a:pt x="76" y="7"/>
                    </a:lnTo>
                    <a:lnTo>
                      <a:pt x="46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9" y="73"/>
                    </a:lnTo>
                    <a:lnTo>
                      <a:pt x="15" y="73"/>
                    </a:lnTo>
                    <a:lnTo>
                      <a:pt x="15" y="73"/>
                    </a:lnTo>
                    <a:lnTo>
                      <a:pt x="39" y="74"/>
                    </a:lnTo>
                    <a:lnTo>
                      <a:pt x="61" y="78"/>
                    </a:lnTo>
                    <a:lnTo>
                      <a:pt x="83" y="84"/>
                    </a:lnTo>
                    <a:lnTo>
                      <a:pt x="105" y="91"/>
                    </a:lnTo>
                    <a:lnTo>
                      <a:pt x="125" y="101"/>
                    </a:lnTo>
                    <a:lnTo>
                      <a:pt x="144" y="113"/>
                    </a:lnTo>
                    <a:lnTo>
                      <a:pt x="162" y="127"/>
                    </a:lnTo>
                    <a:lnTo>
                      <a:pt x="179" y="143"/>
                    </a:lnTo>
                    <a:lnTo>
                      <a:pt x="179" y="143"/>
                    </a:lnTo>
                    <a:lnTo>
                      <a:pt x="189" y="154"/>
                    </a:lnTo>
                    <a:lnTo>
                      <a:pt x="189" y="154"/>
                    </a:lnTo>
                    <a:lnTo>
                      <a:pt x="203" y="170"/>
                    </a:lnTo>
                    <a:lnTo>
                      <a:pt x="214" y="189"/>
                    </a:lnTo>
                    <a:lnTo>
                      <a:pt x="225" y="208"/>
                    </a:lnTo>
                    <a:lnTo>
                      <a:pt x="231" y="226"/>
                    </a:lnTo>
                    <a:lnTo>
                      <a:pt x="238" y="248"/>
                    </a:lnTo>
                    <a:lnTo>
                      <a:pt x="243" y="268"/>
                    </a:lnTo>
                    <a:lnTo>
                      <a:pt x="245" y="290"/>
                    </a:lnTo>
                    <a:lnTo>
                      <a:pt x="245" y="312"/>
                    </a:lnTo>
                    <a:lnTo>
                      <a:pt x="245" y="312"/>
                    </a:lnTo>
                    <a:lnTo>
                      <a:pt x="247" y="317"/>
                    </a:lnTo>
                    <a:lnTo>
                      <a:pt x="250" y="322"/>
                    </a:lnTo>
                    <a:lnTo>
                      <a:pt x="250" y="322"/>
                    </a:lnTo>
                    <a:lnTo>
                      <a:pt x="255" y="326"/>
                    </a:lnTo>
                    <a:lnTo>
                      <a:pt x="262" y="327"/>
                    </a:lnTo>
                    <a:lnTo>
                      <a:pt x="262" y="3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19" name="Freeform 60"/>
              <p:cNvSpPr>
                <a:spLocks/>
              </p:cNvSpPr>
              <p:nvPr/>
            </p:nvSpPr>
            <p:spPr bwMode="auto">
              <a:xfrm>
                <a:off x="16221075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135" y="50"/>
                  </a:cxn>
                  <a:cxn ang="0">
                    <a:pos x="135" y="50"/>
                  </a:cxn>
                  <a:cxn ang="0">
                    <a:pos x="122" y="38"/>
                  </a:cxn>
                  <a:cxn ang="0">
                    <a:pos x="110" y="28"/>
                  </a:cxn>
                  <a:cxn ang="0">
                    <a:pos x="95" y="20"/>
                  </a:cxn>
                  <a:cxn ang="0">
                    <a:pos x="81" y="13"/>
                  </a:cxn>
                  <a:cxn ang="0">
                    <a:pos x="64" y="6"/>
                  </a:cxn>
                  <a:cxn ang="0">
                    <a:pos x="49" y="3"/>
                  </a:cxn>
                  <a:cxn ang="0">
                    <a:pos x="3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8"/>
                  </a:cxn>
                  <a:cxn ang="0">
                    <a:pos x="0" y="15"/>
                  </a:cxn>
                  <a:cxn ang="0">
                    <a:pos x="0" y="55"/>
                  </a:cxn>
                  <a:cxn ang="0">
                    <a:pos x="0" y="55"/>
                  </a:cxn>
                  <a:cxn ang="0">
                    <a:pos x="2" y="62"/>
                  </a:cxn>
                  <a:cxn ang="0">
                    <a:pos x="5" y="67"/>
                  </a:cxn>
                  <a:cxn ang="0">
                    <a:pos x="5" y="67"/>
                  </a:cxn>
                  <a:cxn ang="0">
                    <a:pos x="10" y="70"/>
                  </a:cxn>
                  <a:cxn ang="0">
                    <a:pos x="16" y="72"/>
                  </a:cxn>
                  <a:cxn ang="0">
                    <a:pos x="16" y="72"/>
                  </a:cxn>
                  <a:cxn ang="0">
                    <a:pos x="34" y="74"/>
                  </a:cxn>
                  <a:cxn ang="0">
                    <a:pos x="53" y="81"/>
                  </a:cxn>
                  <a:cxn ang="0">
                    <a:pos x="68" y="89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6" y="104"/>
                  </a:cxn>
                  <a:cxn ang="0">
                    <a:pos x="86" y="104"/>
                  </a:cxn>
                  <a:cxn ang="0">
                    <a:pos x="97" y="119"/>
                  </a:cxn>
                  <a:cxn ang="0">
                    <a:pos x="105" y="136"/>
                  </a:cxn>
                  <a:cxn ang="0">
                    <a:pos x="108" y="153"/>
                  </a:cxn>
                  <a:cxn ang="0">
                    <a:pos x="110" y="170"/>
                  </a:cxn>
                  <a:cxn ang="0">
                    <a:pos x="110" y="170"/>
                  </a:cxn>
                  <a:cxn ang="0">
                    <a:pos x="112" y="177"/>
                  </a:cxn>
                  <a:cxn ang="0">
                    <a:pos x="113" y="182"/>
                  </a:cxn>
                  <a:cxn ang="0">
                    <a:pos x="113" y="182"/>
                  </a:cxn>
                  <a:cxn ang="0">
                    <a:pos x="118" y="185"/>
                  </a:cxn>
                  <a:cxn ang="0">
                    <a:pos x="125" y="187"/>
                  </a:cxn>
                  <a:cxn ang="0">
                    <a:pos x="167" y="189"/>
                  </a:cxn>
                  <a:cxn ang="0">
                    <a:pos x="167" y="189"/>
                  </a:cxn>
                  <a:cxn ang="0">
                    <a:pos x="172" y="187"/>
                  </a:cxn>
                  <a:cxn ang="0">
                    <a:pos x="177" y="183"/>
                  </a:cxn>
                  <a:cxn ang="0">
                    <a:pos x="181" y="178"/>
                  </a:cxn>
                  <a:cxn ang="0">
                    <a:pos x="183" y="173"/>
                  </a:cxn>
                  <a:cxn ang="0">
                    <a:pos x="183" y="173"/>
                  </a:cxn>
                  <a:cxn ang="0">
                    <a:pos x="183" y="156"/>
                  </a:cxn>
                  <a:cxn ang="0">
                    <a:pos x="181" y="141"/>
                  </a:cxn>
                  <a:cxn ang="0">
                    <a:pos x="177" y="126"/>
                  </a:cxn>
                  <a:cxn ang="0">
                    <a:pos x="172" y="111"/>
                  </a:cxn>
                  <a:cxn ang="0">
                    <a:pos x="167" y="96"/>
                  </a:cxn>
                  <a:cxn ang="0">
                    <a:pos x="161" y="82"/>
                  </a:cxn>
                  <a:cxn ang="0">
                    <a:pos x="152" y="69"/>
                  </a:cxn>
                  <a:cxn ang="0">
                    <a:pos x="142" y="57"/>
                  </a:cxn>
                  <a:cxn ang="0">
                    <a:pos x="142" y="57"/>
                  </a:cxn>
                  <a:cxn ang="0">
                    <a:pos x="135" y="50"/>
                  </a:cxn>
                  <a:cxn ang="0">
                    <a:pos x="135" y="50"/>
                  </a:cxn>
                </a:cxnLst>
                <a:rect l="0" t="0" r="r" b="b"/>
                <a:pathLst>
                  <a:path w="183" h="189">
                    <a:moveTo>
                      <a:pt x="135" y="50"/>
                    </a:moveTo>
                    <a:lnTo>
                      <a:pt x="135" y="50"/>
                    </a:lnTo>
                    <a:lnTo>
                      <a:pt x="122" y="38"/>
                    </a:lnTo>
                    <a:lnTo>
                      <a:pt x="110" y="28"/>
                    </a:lnTo>
                    <a:lnTo>
                      <a:pt x="95" y="20"/>
                    </a:lnTo>
                    <a:lnTo>
                      <a:pt x="81" y="13"/>
                    </a:lnTo>
                    <a:lnTo>
                      <a:pt x="64" y="6"/>
                    </a:lnTo>
                    <a:lnTo>
                      <a:pt x="49" y="3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2"/>
                    </a:lnTo>
                    <a:lnTo>
                      <a:pt x="5" y="67"/>
                    </a:lnTo>
                    <a:lnTo>
                      <a:pt x="5" y="67"/>
                    </a:lnTo>
                    <a:lnTo>
                      <a:pt x="10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34" y="74"/>
                    </a:lnTo>
                    <a:lnTo>
                      <a:pt x="53" y="81"/>
                    </a:lnTo>
                    <a:lnTo>
                      <a:pt x="68" y="89"/>
                    </a:lnTo>
                    <a:lnTo>
                      <a:pt x="83" y="101"/>
                    </a:lnTo>
                    <a:lnTo>
                      <a:pt x="83" y="101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97" y="119"/>
                    </a:lnTo>
                    <a:lnTo>
                      <a:pt x="105" y="136"/>
                    </a:lnTo>
                    <a:lnTo>
                      <a:pt x="108" y="153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2" y="177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8" y="185"/>
                    </a:lnTo>
                    <a:lnTo>
                      <a:pt x="125" y="187"/>
                    </a:lnTo>
                    <a:lnTo>
                      <a:pt x="167" y="189"/>
                    </a:lnTo>
                    <a:lnTo>
                      <a:pt x="167" y="189"/>
                    </a:lnTo>
                    <a:lnTo>
                      <a:pt x="172" y="187"/>
                    </a:lnTo>
                    <a:lnTo>
                      <a:pt x="177" y="183"/>
                    </a:lnTo>
                    <a:lnTo>
                      <a:pt x="181" y="178"/>
                    </a:lnTo>
                    <a:lnTo>
                      <a:pt x="183" y="173"/>
                    </a:lnTo>
                    <a:lnTo>
                      <a:pt x="183" y="173"/>
                    </a:lnTo>
                    <a:lnTo>
                      <a:pt x="183" y="156"/>
                    </a:lnTo>
                    <a:lnTo>
                      <a:pt x="181" y="141"/>
                    </a:lnTo>
                    <a:lnTo>
                      <a:pt x="177" y="126"/>
                    </a:lnTo>
                    <a:lnTo>
                      <a:pt x="172" y="111"/>
                    </a:lnTo>
                    <a:lnTo>
                      <a:pt x="167" y="96"/>
                    </a:lnTo>
                    <a:lnTo>
                      <a:pt x="161" y="82"/>
                    </a:lnTo>
                    <a:lnTo>
                      <a:pt x="152" y="69"/>
                    </a:lnTo>
                    <a:lnTo>
                      <a:pt x="142" y="57"/>
                    </a:lnTo>
                    <a:lnTo>
                      <a:pt x="142" y="57"/>
                    </a:lnTo>
                    <a:lnTo>
                      <a:pt x="135" y="50"/>
                    </a:lnTo>
                    <a:lnTo>
                      <a:pt x="135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20" name="Freeform 61"/>
              <p:cNvSpPr>
                <a:spLocks noEditPoints="1"/>
              </p:cNvSpPr>
              <p:nvPr/>
            </p:nvSpPr>
            <p:spPr bwMode="auto">
              <a:xfrm>
                <a:off x="15730538" y="3460749"/>
                <a:ext cx="765175" cy="931864"/>
              </a:xfrm>
              <a:custGeom>
                <a:avLst/>
                <a:gdLst/>
                <a:ahLst/>
                <a:cxnLst>
                  <a:cxn ang="0">
                    <a:pos x="157" y="1174"/>
                  </a:cxn>
                  <a:cxn ang="0">
                    <a:pos x="963" y="1174"/>
                  </a:cxn>
                  <a:cxn ang="0">
                    <a:pos x="842" y="1026"/>
                  </a:cxn>
                  <a:cxn ang="0">
                    <a:pos x="579" y="248"/>
                  </a:cxn>
                  <a:cxn ang="0">
                    <a:pos x="590" y="238"/>
                  </a:cxn>
                  <a:cxn ang="0">
                    <a:pos x="611" y="215"/>
                  </a:cxn>
                  <a:cxn ang="0">
                    <a:pos x="626" y="186"/>
                  </a:cxn>
                  <a:cxn ang="0">
                    <a:pos x="634" y="154"/>
                  </a:cxn>
                  <a:cxn ang="0">
                    <a:pos x="634" y="137"/>
                  </a:cxn>
                  <a:cxn ang="0">
                    <a:pos x="633" y="110"/>
                  </a:cxn>
                  <a:cxn ang="0">
                    <a:pos x="624" y="85"/>
                  </a:cxn>
                  <a:cxn ang="0">
                    <a:pos x="611" y="61"/>
                  </a:cxn>
                  <a:cxn ang="0">
                    <a:pos x="594" y="41"/>
                  </a:cxn>
                  <a:cxn ang="0">
                    <a:pos x="573" y="24"/>
                  </a:cxn>
                  <a:cxn ang="0">
                    <a:pos x="552" y="10"/>
                  </a:cxn>
                  <a:cxn ang="0">
                    <a:pos x="525" y="4"/>
                  </a:cxn>
                  <a:cxn ang="0">
                    <a:pos x="498" y="0"/>
                  </a:cxn>
                  <a:cxn ang="0">
                    <a:pos x="484" y="0"/>
                  </a:cxn>
                  <a:cxn ang="0">
                    <a:pos x="457" y="7"/>
                  </a:cxn>
                  <a:cxn ang="0">
                    <a:pos x="432" y="17"/>
                  </a:cxn>
                  <a:cxn ang="0">
                    <a:pos x="410" y="31"/>
                  </a:cxn>
                  <a:cxn ang="0">
                    <a:pos x="391" y="49"/>
                  </a:cxn>
                  <a:cxn ang="0">
                    <a:pos x="376" y="71"/>
                  </a:cxn>
                  <a:cxn ang="0">
                    <a:pos x="366" y="96"/>
                  </a:cxn>
                  <a:cxn ang="0">
                    <a:pos x="361" y="123"/>
                  </a:cxn>
                  <a:cxn ang="0">
                    <a:pos x="359" y="137"/>
                  </a:cxn>
                  <a:cxn ang="0">
                    <a:pos x="364" y="169"/>
                  </a:cxn>
                  <a:cxn ang="0">
                    <a:pos x="374" y="198"/>
                  </a:cxn>
                  <a:cxn ang="0">
                    <a:pos x="391" y="223"/>
                  </a:cxn>
                  <a:cxn ang="0">
                    <a:pos x="412" y="245"/>
                  </a:cxn>
                  <a:cxn ang="0">
                    <a:pos x="121" y="1026"/>
                  </a:cxn>
                  <a:cxn ang="0">
                    <a:pos x="0" y="1174"/>
                  </a:cxn>
                  <a:cxn ang="0">
                    <a:pos x="415" y="977"/>
                  </a:cxn>
                  <a:cxn ang="0">
                    <a:pos x="698" y="1026"/>
                  </a:cxn>
                  <a:cxn ang="0">
                    <a:pos x="442" y="478"/>
                  </a:cxn>
                  <a:cxn ang="0">
                    <a:pos x="410" y="597"/>
                  </a:cxn>
                  <a:cxn ang="0">
                    <a:pos x="467" y="387"/>
                  </a:cxn>
                  <a:cxn ang="0">
                    <a:pos x="533" y="429"/>
                  </a:cxn>
                  <a:cxn ang="0">
                    <a:pos x="582" y="604"/>
                  </a:cxn>
                  <a:cxn ang="0">
                    <a:pos x="450" y="678"/>
                  </a:cxn>
                  <a:cxn ang="0">
                    <a:pos x="369" y="743"/>
                  </a:cxn>
                  <a:cxn ang="0">
                    <a:pos x="324" y="910"/>
                  </a:cxn>
                </a:cxnLst>
                <a:rect l="0" t="0" r="r" b="b"/>
                <a:pathLst>
                  <a:path w="963" h="1174">
                    <a:moveTo>
                      <a:pt x="0" y="1174"/>
                    </a:moveTo>
                    <a:lnTo>
                      <a:pt x="157" y="1174"/>
                    </a:lnTo>
                    <a:lnTo>
                      <a:pt x="833" y="1174"/>
                    </a:lnTo>
                    <a:lnTo>
                      <a:pt x="963" y="1174"/>
                    </a:lnTo>
                    <a:lnTo>
                      <a:pt x="918" y="1120"/>
                    </a:lnTo>
                    <a:lnTo>
                      <a:pt x="842" y="1026"/>
                    </a:lnTo>
                    <a:lnTo>
                      <a:pt x="793" y="1026"/>
                    </a:lnTo>
                    <a:lnTo>
                      <a:pt x="579" y="248"/>
                    </a:lnTo>
                    <a:lnTo>
                      <a:pt x="579" y="248"/>
                    </a:lnTo>
                    <a:lnTo>
                      <a:pt x="590" y="238"/>
                    </a:lnTo>
                    <a:lnTo>
                      <a:pt x="602" y="226"/>
                    </a:lnTo>
                    <a:lnTo>
                      <a:pt x="611" y="215"/>
                    </a:lnTo>
                    <a:lnTo>
                      <a:pt x="619" y="201"/>
                    </a:lnTo>
                    <a:lnTo>
                      <a:pt x="626" y="186"/>
                    </a:lnTo>
                    <a:lnTo>
                      <a:pt x="631" y="171"/>
                    </a:lnTo>
                    <a:lnTo>
                      <a:pt x="634" y="154"/>
                    </a:lnTo>
                    <a:lnTo>
                      <a:pt x="634" y="137"/>
                    </a:lnTo>
                    <a:lnTo>
                      <a:pt x="634" y="137"/>
                    </a:lnTo>
                    <a:lnTo>
                      <a:pt x="634" y="123"/>
                    </a:lnTo>
                    <a:lnTo>
                      <a:pt x="633" y="110"/>
                    </a:lnTo>
                    <a:lnTo>
                      <a:pt x="629" y="96"/>
                    </a:lnTo>
                    <a:lnTo>
                      <a:pt x="624" y="85"/>
                    </a:lnTo>
                    <a:lnTo>
                      <a:pt x="617" y="71"/>
                    </a:lnTo>
                    <a:lnTo>
                      <a:pt x="611" y="61"/>
                    </a:lnTo>
                    <a:lnTo>
                      <a:pt x="604" y="49"/>
                    </a:lnTo>
                    <a:lnTo>
                      <a:pt x="594" y="41"/>
                    </a:lnTo>
                    <a:lnTo>
                      <a:pt x="585" y="31"/>
                    </a:lnTo>
                    <a:lnTo>
                      <a:pt x="573" y="24"/>
                    </a:lnTo>
                    <a:lnTo>
                      <a:pt x="563" y="17"/>
                    </a:lnTo>
                    <a:lnTo>
                      <a:pt x="552" y="10"/>
                    </a:lnTo>
                    <a:lnTo>
                      <a:pt x="538" y="7"/>
                    </a:lnTo>
                    <a:lnTo>
                      <a:pt x="525" y="4"/>
                    </a:lnTo>
                    <a:lnTo>
                      <a:pt x="511" y="0"/>
                    </a:lnTo>
                    <a:lnTo>
                      <a:pt x="498" y="0"/>
                    </a:lnTo>
                    <a:lnTo>
                      <a:pt x="498" y="0"/>
                    </a:lnTo>
                    <a:lnTo>
                      <a:pt x="484" y="0"/>
                    </a:lnTo>
                    <a:lnTo>
                      <a:pt x="469" y="4"/>
                    </a:lnTo>
                    <a:lnTo>
                      <a:pt x="457" y="7"/>
                    </a:lnTo>
                    <a:lnTo>
                      <a:pt x="444" y="10"/>
                    </a:lnTo>
                    <a:lnTo>
                      <a:pt x="432" y="17"/>
                    </a:lnTo>
                    <a:lnTo>
                      <a:pt x="420" y="24"/>
                    </a:lnTo>
                    <a:lnTo>
                      <a:pt x="410" y="31"/>
                    </a:lnTo>
                    <a:lnTo>
                      <a:pt x="400" y="41"/>
                    </a:lnTo>
                    <a:lnTo>
                      <a:pt x="391" y="49"/>
                    </a:lnTo>
                    <a:lnTo>
                      <a:pt x="383" y="61"/>
                    </a:lnTo>
                    <a:lnTo>
                      <a:pt x="376" y="71"/>
                    </a:lnTo>
                    <a:lnTo>
                      <a:pt x="371" y="85"/>
                    </a:lnTo>
                    <a:lnTo>
                      <a:pt x="366" y="96"/>
                    </a:lnTo>
                    <a:lnTo>
                      <a:pt x="363" y="110"/>
                    </a:lnTo>
                    <a:lnTo>
                      <a:pt x="361" y="123"/>
                    </a:lnTo>
                    <a:lnTo>
                      <a:pt x="359" y="137"/>
                    </a:lnTo>
                    <a:lnTo>
                      <a:pt x="359" y="137"/>
                    </a:lnTo>
                    <a:lnTo>
                      <a:pt x="361" y="154"/>
                    </a:lnTo>
                    <a:lnTo>
                      <a:pt x="364" y="169"/>
                    </a:lnTo>
                    <a:lnTo>
                      <a:pt x="368" y="184"/>
                    </a:lnTo>
                    <a:lnTo>
                      <a:pt x="374" y="198"/>
                    </a:lnTo>
                    <a:lnTo>
                      <a:pt x="381" y="211"/>
                    </a:lnTo>
                    <a:lnTo>
                      <a:pt x="391" y="223"/>
                    </a:lnTo>
                    <a:lnTo>
                      <a:pt x="400" y="235"/>
                    </a:lnTo>
                    <a:lnTo>
                      <a:pt x="412" y="245"/>
                    </a:lnTo>
                    <a:lnTo>
                      <a:pt x="197" y="1026"/>
                    </a:lnTo>
                    <a:lnTo>
                      <a:pt x="121" y="1026"/>
                    </a:lnTo>
                    <a:lnTo>
                      <a:pt x="46" y="1120"/>
                    </a:lnTo>
                    <a:lnTo>
                      <a:pt x="0" y="1174"/>
                    </a:lnTo>
                    <a:close/>
                    <a:moveTo>
                      <a:pt x="577" y="1026"/>
                    </a:moveTo>
                    <a:lnTo>
                      <a:pt x="415" y="977"/>
                    </a:lnTo>
                    <a:lnTo>
                      <a:pt x="663" y="898"/>
                    </a:lnTo>
                    <a:lnTo>
                      <a:pt x="698" y="1026"/>
                    </a:lnTo>
                    <a:lnTo>
                      <a:pt x="577" y="1026"/>
                    </a:lnTo>
                    <a:close/>
                    <a:moveTo>
                      <a:pt x="442" y="478"/>
                    </a:moveTo>
                    <a:lnTo>
                      <a:pt x="526" y="532"/>
                    </a:lnTo>
                    <a:lnTo>
                      <a:pt x="410" y="597"/>
                    </a:lnTo>
                    <a:lnTo>
                      <a:pt x="442" y="478"/>
                    </a:lnTo>
                    <a:close/>
                    <a:moveTo>
                      <a:pt x="467" y="387"/>
                    </a:moveTo>
                    <a:lnTo>
                      <a:pt x="494" y="287"/>
                    </a:lnTo>
                    <a:lnTo>
                      <a:pt x="533" y="429"/>
                    </a:lnTo>
                    <a:lnTo>
                      <a:pt x="467" y="387"/>
                    </a:lnTo>
                    <a:close/>
                    <a:moveTo>
                      <a:pt x="582" y="604"/>
                    </a:moveTo>
                    <a:lnTo>
                      <a:pt x="622" y="753"/>
                    </a:lnTo>
                    <a:lnTo>
                      <a:pt x="450" y="678"/>
                    </a:lnTo>
                    <a:lnTo>
                      <a:pt x="582" y="604"/>
                    </a:lnTo>
                    <a:close/>
                    <a:moveTo>
                      <a:pt x="369" y="743"/>
                    </a:moveTo>
                    <a:lnTo>
                      <a:pt x="573" y="830"/>
                    </a:lnTo>
                    <a:lnTo>
                      <a:pt x="324" y="910"/>
                    </a:lnTo>
                    <a:lnTo>
                      <a:pt x="369" y="7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CC9900"/>
                  </a:buClr>
                  <a:defRPr/>
                </a:pPr>
                <a:endParaRPr lang="zh-CN" altLang="en-US" sz="700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</p:grpSp>
      </p:grpSp>
      <p:pic>
        <p:nvPicPr>
          <p:cNvPr id="27" name="Picture 2"/>
          <p:cNvPicPr>
            <a:picLocks noChangeArrowheads="1"/>
          </p:cNvPicPr>
          <p:nvPr/>
        </p:nvPicPr>
        <p:blipFill>
          <a:blip r:embed="rId6" cstate="print">
            <a:clrChange>
              <a:clrFrom>
                <a:srgbClr val="91ACAD"/>
              </a:clrFrom>
              <a:clrTo>
                <a:srgbClr val="91ACA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16025" y="927100"/>
            <a:ext cx="1223963" cy="5064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56342" name="TextBox 60"/>
          <p:cNvSpPr txBox="1">
            <a:spLocks noChangeArrowheads="1"/>
          </p:cNvSpPr>
          <p:nvPr/>
        </p:nvSpPr>
        <p:spPr bwMode="auto">
          <a:xfrm>
            <a:off x="555625" y="885825"/>
            <a:ext cx="9445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</a:pPr>
            <a:r>
              <a:rPr lang="en-US" altLang="zh-CN" sz="14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PCC</a:t>
            </a:r>
            <a:endParaRPr lang="zh-CN" altLang="en-US" sz="14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6343" name="TextBox 60"/>
          <p:cNvSpPr txBox="1">
            <a:spLocks noChangeArrowheads="1"/>
          </p:cNvSpPr>
          <p:nvPr/>
        </p:nvSpPr>
        <p:spPr bwMode="auto">
          <a:xfrm>
            <a:off x="555625" y="1512888"/>
            <a:ext cx="9445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</a:pPr>
            <a:r>
              <a:rPr lang="en-US" altLang="zh-CN" sz="14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VS</a:t>
            </a:r>
            <a:endParaRPr lang="zh-CN" altLang="en-US" sz="14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56344" name="直接箭头连接符 92"/>
          <p:cNvCxnSpPr>
            <a:cxnSpLocks noChangeShapeType="1"/>
          </p:cNvCxnSpPr>
          <p:nvPr/>
        </p:nvCxnSpPr>
        <p:spPr bwMode="auto">
          <a:xfrm>
            <a:off x="2727325" y="1820863"/>
            <a:ext cx="431800" cy="0"/>
          </a:xfrm>
          <a:prstGeom prst="straightConnector1">
            <a:avLst/>
          </a:prstGeom>
          <a:noFill/>
          <a:ln w="12700">
            <a:solidFill>
              <a:srgbClr val="C00000"/>
            </a:solidFill>
            <a:prstDash val="dash"/>
            <a:round/>
            <a:headEnd type="triangle" w="med" len="med"/>
            <a:tailEnd type="triangle" w="med" len="med"/>
          </a:ln>
        </p:spPr>
      </p:cxnSp>
      <p:cxnSp>
        <p:nvCxnSpPr>
          <p:cNvPr id="56345" name="直接箭头连接符 92"/>
          <p:cNvCxnSpPr>
            <a:cxnSpLocks noChangeShapeType="1"/>
          </p:cNvCxnSpPr>
          <p:nvPr/>
        </p:nvCxnSpPr>
        <p:spPr bwMode="auto">
          <a:xfrm>
            <a:off x="2727325" y="1173163"/>
            <a:ext cx="431800" cy="0"/>
          </a:xfrm>
          <a:prstGeom prst="straightConnector1">
            <a:avLst/>
          </a:prstGeom>
          <a:noFill/>
          <a:ln w="12700">
            <a:solidFill>
              <a:srgbClr val="C00000"/>
            </a:solidFill>
            <a:prstDash val="dash"/>
            <a:round/>
            <a:headEnd type="triangle" w="med" len="med"/>
            <a:tailEnd type="triangle" w="med" len="med"/>
          </a:ln>
        </p:spPr>
      </p:cxnSp>
      <p:sp>
        <p:nvSpPr>
          <p:cNvPr id="56346" name="TextBox 60"/>
          <p:cNvSpPr txBox="1">
            <a:spLocks noChangeArrowheads="1"/>
          </p:cNvSpPr>
          <p:nvPr/>
        </p:nvSpPr>
        <p:spPr bwMode="auto">
          <a:xfrm>
            <a:off x="3635375" y="865188"/>
            <a:ext cx="16573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</a:pPr>
            <a:r>
              <a:rPr lang="en-US" altLang="zh-CN" sz="14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Command Center</a:t>
            </a:r>
            <a:endParaRPr lang="zh-CN" altLang="en-US" sz="14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33" name="直接连接符 32"/>
          <p:cNvCxnSpPr/>
          <p:nvPr/>
        </p:nvCxnSpPr>
        <p:spPr>
          <a:xfrm flipH="1">
            <a:off x="477838" y="2967038"/>
            <a:ext cx="2679700" cy="903287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5791200" y="2914650"/>
            <a:ext cx="2651125" cy="912813"/>
          </a:xfrm>
          <a:prstGeom prst="line">
            <a:avLst/>
          </a:prstGeom>
          <a:ln w="22225">
            <a:solidFill>
              <a:schemeClr val="bg1">
                <a:lumMod val="65000"/>
              </a:schemeClr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组合 71"/>
          <p:cNvGrpSpPr>
            <a:grpSpLocks/>
          </p:cNvGrpSpPr>
          <p:nvPr/>
        </p:nvGrpSpPr>
        <p:grpSpPr bwMode="auto">
          <a:xfrm>
            <a:off x="3390900" y="1127125"/>
            <a:ext cx="1638300" cy="887413"/>
            <a:chOff x="1044575" y="1311275"/>
            <a:chExt cx="1444625" cy="887413"/>
          </a:xfrm>
        </p:grpSpPr>
        <p:pic>
          <p:nvPicPr>
            <p:cNvPr id="56398" name="图片 24" descr="B31-b-电视墙.png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044575" y="1311275"/>
              <a:ext cx="1444625" cy="887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399" name="Picture 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785938" y="1790700"/>
              <a:ext cx="679450" cy="382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6400" name="Picture 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069975" y="1339850"/>
              <a:ext cx="661988" cy="403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" name="Freeform 27"/>
          <p:cNvSpPr>
            <a:spLocks noEditPoints="1"/>
          </p:cNvSpPr>
          <p:nvPr/>
        </p:nvSpPr>
        <p:spPr bwMode="auto">
          <a:xfrm>
            <a:off x="1390650" y="2649538"/>
            <a:ext cx="1012825" cy="434975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sz="1000">
              <a:latin typeface="+mn-lt"/>
              <a:cs typeface="Arial" pitchFamily="34" charset="0"/>
            </a:endParaRPr>
          </a:p>
        </p:txBody>
      </p:sp>
      <p:grpSp>
        <p:nvGrpSpPr>
          <p:cNvPr id="6" name="组合 692"/>
          <p:cNvGrpSpPr/>
          <p:nvPr/>
        </p:nvGrpSpPr>
        <p:grpSpPr>
          <a:xfrm>
            <a:off x="1694436" y="2711224"/>
            <a:ext cx="342476" cy="202613"/>
            <a:chOff x="11897858" y="3411765"/>
            <a:chExt cx="498475" cy="492125"/>
          </a:xfrm>
          <a:solidFill>
            <a:schemeClr val="bg1"/>
          </a:solidFill>
        </p:grpSpPr>
        <p:sp>
          <p:nvSpPr>
            <p:cNvPr id="41" name="Freeform 7"/>
            <p:cNvSpPr>
              <a:spLocks/>
            </p:cNvSpPr>
            <p:nvPr/>
          </p:nvSpPr>
          <p:spPr bwMode="auto">
            <a:xfrm>
              <a:off x="12113758" y="3411765"/>
              <a:ext cx="282575" cy="282575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4" y="0"/>
                </a:cxn>
                <a:cxn ang="0">
                  <a:pos x="8" y="2"/>
                </a:cxn>
                <a:cxn ang="0">
                  <a:pos x="4" y="4"/>
                </a:cxn>
                <a:cxn ang="0">
                  <a:pos x="2" y="8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2" y="20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4" y="28"/>
                </a:cxn>
                <a:cxn ang="0">
                  <a:pos x="14" y="28"/>
                </a:cxn>
                <a:cxn ang="0">
                  <a:pos x="28" y="30"/>
                </a:cxn>
                <a:cxn ang="0">
                  <a:pos x="42" y="32"/>
                </a:cxn>
                <a:cxn ang="0">
                  <a:pos x="54" y="34"/>
                </a:cxn>
                <a:cxn ang="0">
                  <a:pos x="68" y="40"/>
                </a:cxn>
                <a:cxn ang="0">
                  <a:pos x="78" y="44"/>
                </a:cxn>
                <a:cxn ang="0">
                  <a:pos x="90" y="52"/>
                </a:cxn>
                <a:cxn ang="0">
                  <a:pos x="100" y="60"/>
                </a:cxn>
                <a:cxn ang="0">
                  <a:pos x="110" y="68"/>
                </a:cxn>
                <a:cxn ang="0">
                  <a:pos x="118" y="78"/>
                </a:cxn>
                <a:cxn ang="0">
                  <a:pos x="126" y="88"/>
                </a:cxn>
                <a:cxn ang="0">
                  <a:pos x="134" y="100"/>
                </a:cxn>
                <a:cxn ang="0">
                  <a:pos x="138" y="110"/>
                </a:cxn>
                <a:cxn ang="0">
                  <a:pos x="144" y="124"/>
                </a:cxn>
                <a:cxn ang="0">
                  <a:pos x="146" y="136"/>
                </a:cxn>
                <a:cxn ang="0">
                  <a:pos x="148" y="150"/>
                </a:cxn>
                <a:cxn ang="0">
                  <a:pos x="150" y="164"/>
                </a:cxn>
                <a:cxn ang="0">
                  <a:pos x="150" y="164"/>
                </a:cxn>
                <a:cxn ang="0">
                  <a:pos x="150" y="168"/>
                </a:cxn>
                <a:cxn ang="0">
                  <a:pos x="154" y="174"/>
                </a:cxn>
                <a:cxn ang="0">
                  <a:pos x="158" y="176"/>
                </a:cxn>
                <a:cxn ang="0">
                  <a:pos x="164" y="178"/>
                </a:cxn>
                <a:cxn ang="0">
                  <a:pos x="164" y="178"/>
                </a:cxn>
                <a:cxn ang="0">
                  <a:pos x="170" y="176"/>
                </a:cxn>
                <a:cxn ang="0">
                  <a:pos x="174" y="174"/>
                </a:cxn>
                <a:cxn ang="0">
                  <a:pos x="178" y="168"/>
                </a:cxn>
                <a:cxn ang="0">
                  <a:pos x="178" y="164"/>
                </a:cxn>
                <a:cxn ang="0">
                  <a:pos x="178" y="164"/>
                </a:cxn>
                <a:cxn ang="0">
                  <a:pos x="178" y="146"/>
                </a:cxn>
                <a:cxn ang="0">
                  <a:pos x="176" y="130"/>
                </a:cxn>
                <a:cxn ang="0">
                  <a:pos x="172" y="114"/>
                </a:cxn>
                <a:cxn ang="0">
                  <a:pos x="166" y="100"/>
                </a:cxn>
                <a:cxn ang="0">
                  <a:pos x="158" y="86"/>
                </a:cxn>
                <a:cxn ang="0">
                  <a:pos x="150" y="72"/>
                </a:cxn>
                <a:cxn ang="0">
                  <a:pos x="142" y="60"/>
                </a:cxn>
                <a:cxn ang="0">
                  <a:pos x="130" y="48"/>
                </a:cxn>
                <a:cxn ang="0">
                  <a:pos x="118" y="38"/>
                </a:cxn>
                <a:cxn ang="0">
                  <a:pos x="106" y="28"/>
                </a:cxn>
                <a:cxn ang="0">
                  <a:pos x="92" y="20"/>
                </a:cxn>
                <a:cxn ang="0">
                  <a:pos x="78" y="12"/>
                </a:cxn>
                <a:cxn ang="0">
                  <a:pos x="64" y="8"/>
                </a:cxn>
                <a:cxn ang="0">
                  <a:pos x="48" y="4"/>
                </a:cxn>
                <a:cxn ang="0">
                  <a:pos x="32" y="0"/>
                </a:cxn>
                <a:cxn ang="0">
                  <a:pos x="14" y="0"/>
                </a:cxn>
                <a:cxn ang="0">
                  <a:pos x="14" y="0"/>
                </a:cxn>
              </a:cxnLst>
              <a:rect l="0" t="0" r="r" b="b"/>
              <a:pathLst>
                <a:path w="178" h="178">
                  <a:moveTo>
                    <a:pt x="14" y="0"/>
                  </a:move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8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4"/>
                  </a:lnTo>
                  <a:lnTo>
                    <a:pt x="8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28" y="30"/>
                  </a:lnTo>
                  <a:lnTo>
                    <a:pt x="42" y="32"/>
                  </a:lnTo>
                  <a:lnTo>
                    <a:pt x="54" y="34"/>
                  </a:lnTo>
                  <a:lnTo>
                    <a:pt x="68" y="40"/>
                  </a:lnTo>
                  <a:lnTo>
                    <a:pt x="78" y="44"/>
                  </a:lnTo>
                  <a:lnTo>
                    <a:pt x="90" y="52"/>
                  </a:lnTo>
                  <a:lnTo>
                    <a:pt x="100" y="60"/>
                  </a:lnTo>
                  <a:lnTo>
                    <a:pt x="110" y="68"/>
                  </a:lnTo>
                  <a:lnTo>
                    <a:pt x="118" y="78"/>
                  </a:lnTo>
                  <a:lnTo>
                    <a:pt x="126" y="88"/>
                  </a:lnTo>
                  <a:lnTo>
                    <a:pt x="134" y="100"/>
                  </a:lnTo>
                  <a:lnTo>
                    <a:pt x="138" y="110"/>
                  </a:lnTo>
                  <a:lnTo>
                    <a:pt x="144" y="124"/>
                  </a:lnTo>
                  <a:lnTo>
                    <a:pt x="146" y="136"/>
                  </a:lnTo>
                  <a:lnTo>
                    <a:pt x="148" y="150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8"/>
                  </a:lnTo>
                  <a:lnTo>
                    <a:pt x="154" y="174"/>
                  </a:lnTo>
                  <a:lnTo>
                    <a:pt x="158" y="176"/>
                  </a:lnTo>
                  <a:lnTo>
                    <a:pt x="164" y="178"/>
                  </a:lnTo>
                  <a:lnTo>
                    <a:pt x="164" y="178"/>
                  </a:lnTo>
                  <a:lnTo>
                    <a:pt x="170" y="176"/>
                  </a:lnTo>
                  <a:lnTo>
                    <a:pt x="174" y="174"/>
                  </a:lnTo>
                  <a:lnTo>
                    <a:pt x="178" y="168"/>
                  </a:lnTo>
                  <a:lnTo>
                    <a:pt x="178" y="164"/>
                  </a:lnTo>
                  <a:lnTo>
                    <a:pt x="178" y="164"/>
                  </a:lnTo>
                  <a:lnTo>
                    <a:pt x="178" y="146"/>
                  </a:lnTo>
                  <a:lnTo>
                    <a:pt x="176" y="130"/>
                  </a:lnTo>
                  <a:lnTo>
                    <a:pt x="172" y="114"/>
                  </a:lnTo>
                  <a:lnTo>
                    <a:pt x="166" y="100"/>
                  </a:lnTo>
                  <a:lnTo>
                    <a:pt x="158" y="86"/>
                  </a:lnTo>
                  <a:lnTo>
                    <a:pt x="150" y="72"/>
                  </a:lnTo>
                  <a:lnTo>
                    <a:pt x="142" y="60"/>
                  </a:lnTo>
                  <a:lnTo>
                    <a:pt x="130" y="48"/>
                  </a:lnTo>
                  <a:lnTo>
                    <a:pt x="118" y="38"/>
                  </a:lnTo>
                  <a:lnTo>
                    <a:pt x="106" y="28"/>
                  </a:lnTo>
                  <a:lnTo>
                    <a:pt x="92" y="20"/>
                  </a:lnTo>
                  <a:lnTo>
                    <a:pt x="78" y="12"/>
                  </a:lnTo>
                  <a:lnTo>
                    <a:pt x="64" y="8"/>
                  </a:lnTo>
                  <a:lnTo>
                    <a:pt x="48" y="4"/>
                  </a:lnTo>
                  <a:lnTo>
                    <a:pt x="32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  <p:sp>
          <p:nvSpPr>
            <p:cNvPr id="42" name="Freeform 8"/>
            <p:cNvSpPr>
              <a:spLocks/>
            </p:cNvSpPr>
            <p:nvPr/>
          </p:nvSpPr>
          <p:spPr bwMode="auto">
            <a:xfrm>
              <a:off x="12113758" y="3497490"/>
              <a:ext cx="193675" cy="196850"/>
            </a:xfrm>
            <a:custGeom>
              <a:avLst/>
              <a:gdLst/>
              <a:ahLst/>
              <a:cxnLst>
                <a:cxn ang="0">
                  <a:pos x="92" y="110"/>
                </a:cxn>
                <a:cxn ang="0">
                  <a:pos x="92" y="110"/>
                </a:cxn>
                <a:cxn ang="0">
                  <a:pos x="94" y="114"/>
                </a:cxn>
                <a:cxn ang="0">
                  <a:pos x="96" y="120"/>
                </a:cxn>
                <a:cxn ang="0">
                  <a:pos x="100" y="122"/>
                </a:cxn>
                <a:cxn ang="0">
                  <a:pos x="106" y="124"/>
                </a:cxn>
                <a:cxn ang="0">
                  <a:pos x="106" y="124"/>
                </a:cxn>
                <a:cxn ang="0">
                  <a:pos x="112" y="122"/>
                </a:cxn>
                <a:cxn ang="0">
                  <a:pos x="116" y="120"/>
                </a:cxn>
                <a:cxn ang="0">
                  <a:pos x="120" y="114"/>
                </a:cxn>
                <a:cxn ang="0">
                  <a:pos x="122" y="110"/>
                </a:cxn>
                <a:cxn ang="0">
                  <a:pos x="122" y="110"/>
                </a:cxn>
                <a:cxn ang="0">
                  <a:pos x="120" y="88"/>
                </a:cxn>
                <a:cxn ang="0">
                  <a:pos x="112" y="68"/>
                </a:cxn>
                <a:cxn ang="0">
                  <a:pos x="102" y="48"/>
                </a:cxn>
                <a:cxn ang="0">
                  <a:pos x="90" y="32"/>
                </a:cxn>
                <a:cxn ang="0">
                  <a:pos x="74" y="20"/>
                </a:cxn>
                <a:cxn ang="0">
                  <a:pos x="56" y="10"/>
                </a:cxn>
                <a:cxn ang="0">
                  <a:pos x="36" y="2"/>
                </a:cxn>
                <a:cxn ang="0">
                  <a:pos x="14" y="0"/>
                </a:cxn>
                <a:cxn ang="0">
                  <a:pos x="14" y="0"/>
                </a:cxn>
                <a:cxn ang="0">
                  <a:pos x="8" y="2"/>
                </a:cxn>
                <a:cxn ang="0">
                  <a:pos x="4" y="4"/>
                </a:cxn>
                <a:cxn ang="0">
                  <a:pos x="2" y="10"/>
                </a:cxn>
                <a:cxn ang="0">
                  <a:pos x="0" y="14"/>
                </a:cxn>
                <a:cxn ang="0">
                  <a:pos x="0" y="14"/>
                </a:cxn>
                <a:cxn ang="0">
                  <a:pos x="2" y="20"/>
                </a:cxn>
                <a:cxn ang="0">
                  <a:pos x="4" y="26"/>
                </a:cxn>
                <a:cxn ang="0">
                  <a:pos x="8" y="28"/>
                </a:cxn>
                <a:cxn ang="0">
                  <a:pos x="14" y="30"/>
                </a:cxn>
                <a:cxn ang="0">
                  <a:pos x="14" y="30"/>
                </a:cxn>
                <a:cxn ang="0">
                  <a:pos x="30" y="30"/>
                </a:cxn>
                <a:cxn ang="0">
                  <a:pos x="44" y="36"/>
                </a:cxn>
                <a:cxn ang="0">
                  <a:pos x="58" y="42"/>
                </a:cxn>
                <a:cxn ang="0">
                  <a:pos x="70" y="52"/>
                </a:cxn>
                <a:cxn ang="0">
                  <a:pos x="78" y="64"/>
                </a:cxn>
                <a:cxn ang="0">
                  <a:pos x="86" y="78"/>
                </a:cxn>
                <a:cxn ang="0">
                  <a:pos x="90" y="94"/>
                </a:cxn>
                <a:cxn ang="0">
                  <a:pos x="92" y="110"/>
                </a:cxn>
                <a:cxn ang="0">
                  <a:pos x="92" y="110"/>
                </a:cxn>
              </a:cxnLst>
              <a:rect l="0" t="0" r="r" b="b"/>
              <a:pathLst>
                <a:path w="122" h="124">
                  <a:moveTo>
                    <a:pt x="92" y="110"/>
                  </a:moveTo>
                  <a:lnTo>
                    <a:pt x="92" y="110"/>
                  </a:lnTo>
                  <a:lnTo>
                    <a:pt x="94" y="114"/>
                  </a:lnTo>
                  <a:lnTo>
                    <a:pt x="96" y="120"/>
                  </a:lnTo>
                  <a:lnTo>
                    <a:pt x="100" y="122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12" y="122"/>
                  </a:lnTo>
                  <a:lnTo>
                    <a:pt x="116" y="120"/>
                  </a:lnTo>
                  <a:lnTo>
                    <a:pt x="120" y="114"/>
                  </a:lnTo>
                  <a:lnTo>
                    <a:pt x="122" y="110"/>
                  </a:lnTo>
                  <a:lnTo>
                    <a:pt x="122" y="110"/>
                  </a:lnTo>
                  <a:lnTo>
                    <a:pt x="120" y="88"/>
                  </a:lnTo>
                  <a:lnTo>
                    <a:pt x="112" y="68"/>
                  </a:lnTo>
                  <a:lnTo>
                    <a:pt x="102" y="48"/>
                  </a:lnTo>
                  <a:lnTo>
                    <a:pt x="90" y="32"/>
                  </a:lnTo>
                  <a:lnTo>
                    <a:pt x="74" y="20"/>
                  </a:lnTo>
                  <a:lnTo>
                    <a:pt x="56" y="10"/>
                  </a:lnTo>
                  <a:lnTo>
                    <a:pt x="36" y="2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4" y="26"/>
                  </a:lnTo>
                  <a:lnTo>
                    <a:pt x="8" y="28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30" y="30"/>
                  </a:lnTo>
                  <a:lnTo>
                    <a:pt x="44" y="36"/>
                  </a:lnTo>
                  <a:lnTo>
                    <a:pt x="58" y="42"/>
                  </a:lnTo>
                  <a:lnTo>
                    <a:pt x="70" y="52"/>
                  </a:lnTo>
                  <a:lnTo>
                    <a:pt x="78" y="64"/>
                  </a:lnTo>
                  <a:lnTo>
                    <a:pt x="86" y="78"/>
                  </a:lnTo>
                  <a:lnTo>
                    <a:pt x="90" y="94"/>
                  </a:lnTo>
                  <a:lnTo>
                    <a:pt x="92" y="110"/>
                  </a:lnTo>
                  <a:lnTo>
                    <a:pt x="92" y="1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  <p:sp>
          <p:nvSpPr>
            <p:cNvPr id="43" name="Freeform 9"/>
            <p:cNvSpPr>
              <a:spLocks/>
            </p:cNvSpPr>
            <p:nvPr/>
          </p:nvSpPr>
          <p:spPr bwMode="auto">
            <a:xfrm>
              <a:off x="11897858" y="3446690"/>
              <a:ext cx="454025" cy="457200"/>
            </a:xfrm>
            <a:custGeom>
              <a:avLst/>
              <a:gdLst/>
              <a:ahLst/>
              <a:cxnLst>
                <a:cxn ang="0">
                  <a:pos x="244" y="188"/>
                </a:cxn>
                <a:cxn ang="0">
                  <a:pos x="244" y="188"/>
                </a:cxn>
                <a:cxn ang="0">
                  <a:pos x="238" y="182"/>
                </a:cxn>
                <a:cxn ang="0">
                  <a:pos x="230" y="180"/>
                </a:cxn>
                <a:cxn ang="0">
                  <a:pos x="224" y="182"/>
                </a:cxn>
                <a:cxn ang="0">
                  <a:pos x="218" y="184"/>
                </a:cxn>
                <a:cxn ang="0">
                  <a:pos x="198" y="206"/>
                </a:cxn>
                <a:cxn ang="0">
                  <a:pos x="82" y="92"/>
                </a:cxn>
                <a:cxn ang="0">
                  <a:pos x="106" y="68"/>
                </a:cxn>
                <a:cxn ang="0">
                  <a:pos x="106" y="68"/>
                </a:cxn>
                <a:cxn ang="0">
                  <a:pos x="108" y="62"/>
                </a:cxn>
                <a:cxn ang="0">
                  <a:pos x="110" y="56"/>
                </a:cxn>
                <a:cxn ang="0">
                  <a:pos x="108" y="50"/>
                </a:cxn>
                <a:cxn ang="0">
                  <a:pos x="102" y="42"/>
                </a:cxn>
                <a:cxn ang="0">
                  <a:pos x="66" y="6"/>
                </a:cxn>
                <a:cxn ang="0">
                  <a:pos x="66" y="6"/>
                </a:cxn>
                <a:cxn ang="0">
                  <a:pos x="60" y="2"/>
                </a:cxn>
                <a:cxn ang="0">
                  <a:pos x="54" y="0"/>
                </a:cxn>
                <a:cxn ang="0">
                  <a:pos x="48" y="0"/>
                </a:cxn>
                <a:cxn ang="0">
                  <a:pos x="42" y="4"/>
                </a:cxn>
                <a:cxn ang="0">
                  <a:pos x="14" y="32"/>
                </a:cxn>
                <a:cxn ang="0">
                  <a:pos x="14" y="32"/>
                </a:cxn>
                <a:cxn ang="0">
                  <a:pos x="8" y="38"/>
                </a:cxn>
                <a:cxn ang="0">
                  <a:pos x="4" y="46"/>
                </a:cxn>
                <a:cxn ang="0">
                  <a:pos x="2" y="54"/>
                </a:cxn>
                <a:cxn ang="0">
                  <a:pos x="0" y="62"/>
                </a:cxn>
                <a:cxn ang="0">
                  <a:pos x="0" y="72"/>
                </a:cxn>
                <a:cxn ang="0">
                  <a:pos x="2" y="80"/>
                </a:cxn>
                <a:cxn ang="0">
                  <a:pos x="6" y="90"/>
                </a:cxn>
                <a:cxn ang="0">
                  <a:pos x="12" y="98"/>
                </a:cxn>
                <a:cxn ang="0">
                  <a:pos x="12" y="98"/>
                </a:cxn>
                <a:cxn ang="0">
                  <a:pos x="32" y="128"/>
                </a:cxn>
                <a:cxn ang="0">
                  <a:pos x="50" y="154"/>
                </a:cxn>
                <a:cxn ang="0">
                  <a:pos x="70" y="178"/>
                </a:cxn>
                <a:cxn ang="0">
                  <a:pos x="90" y="200"/>
                </a:cxn>
                <a:cxn ang="0">
                  <a:pos x="112" y="220"/>
                </a:cxn>
                <a:cxn ang="0">
                  <a:pos x="136" y="240"/>
                </a:cxn>
                <a:cxn ang="0">
                  <a:pos x="162" y="258"/>
                </a:cxn>
                <a:cxn ang="0">
                  <a:pos x="190" y="278"/>
                </a:cxn>
                <a:cxn ang="0">
                  <a:pos x="190" y="278"/>
                </a:cxn>
                <a:cxn ang="0">
                  <a:pos x="198" y="282"/>
                </a:cxn>
                <a:cxn ang="0">
                  <a:pos x="208" y="286"/>
                </a:cxn>
                <a:cxn ang="0">
                  <a:pos x="216" y="288"/>
                </a:cxn>
                <a:cxn ang="0">
                  <a:pos x="226" y="288"/>
                </a:cxn>
                <a:cxn ang="0">
                  <a:pos x="234" y="286"/>
                </a:cxn>
                <a:cxn ang="0">
                  <a:pos x="242" y="284"/>
                </a:cxn>
                <a:cxn ang="0">
                  <a:pos x="250" y="280"/>
                </a:cxn>
                <a:cxn ang="0">
                  <a:pos x="258" y="274"/>
                </a:cxn>
                <a:cxn ang="0">
                  <a:pos x="282" y="248"/>
                </a:cxn>
                <a:cxn ang="0">
                  <a:pos x="282" y="248"/>
                </a:cxn>
                <a:cxn ang="0">
                  <a:pos x="286" y="244"/>
                </a:cxn>
                <a:cxn ang="0">
                  <a:pos x="286" y="236"/>
                </a:cxn>
                <a:cxn ang="0">
                  <a:pos x="284" y="230"/>
                </a:cxn>
                <a:cxn ang="0">
                  <a:pos x="280" y="224"/>
                </a:cxn>
                <a:cxn ang="0">
                  <a:pos x="244" y="188"/>
                </a:cxn>
              </a:cxnLst>
              <a:rect l="0" t="0" r="r" b="b"/>
              <a:pathLst>
                <a:path w="286" h="288">
                  <a:moveTo>
                    <a:pt x="244" y="188"/>
                  </a:moveTo>
                  <a:lnTo>
                    <a:pt x="244" y="188"/>
                  </a:lnTo>
                  <a:lnTo>
                    <a:pt x="238" y="182"/>
                  </a:lnTo>
                  <a:lnTo>
                    <a:pt x="230" y="180"/>
                  </a:lnTo>
                  <a:lnTo>
                    <a:pt x="224" y="182"/>
                  </a:lnTo>
                  <a:lnTo>
                    <a:pt x="218" y="184"/>
                  </a:lnTo>
                  <a:lnTo>
                    <a:pt x="198" y="206"/>
                  </a:lnTo>
                  <a:lnTo>
                    <a:pt x="82" y="92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8" y="62"/>
                  </a:lnTo>
                  <a:lnTo>
                    <a:pt x="110" y="56"/>
                  </a:lnTo>
                  <a:lnTo>
                    <a:pt x="108" y="50"/>
                  </a:lnTo>
                  <a:lnTo>
                    <a:pt x="102" y="42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0" y="2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2" y="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8" y="38"/>
                  </a:lnTo>
                  <a:lnTo>
                    <a:pt x="4" y="46"/>
                  </a:lnTo>
                  <a:lnTo>
                    <a:pt x="2" y="54"/>
                  </a:lnTo>
                  <a:lnTo>
                    <a:pt x="0" y="62"/>
                  </a:lnTo>
                  <a:lnTo>
                    <a:pt x="0" y="72"/>
                  </a:lnTo>
                  <a:lnTo>
                    <a:pt x="2" y="80"/>
                  </a:lnTo>
                  <a:lnTo>
                    <a:pt x="6" y="90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32" y="128"/>
                  </a:lnTo>
                  <a:lnTo>
                    <a:pt x="50" y="154"/>
                  </a:lnTo>
                  <a:lnTo>
                    <a:pt x="70" y="178"/>
                  </a:lnTo>
                  <a:lnTo>
                    <a:pt x="90" y="200"/>
                  </a:lnTo>
                  <a:lnTo>
                    <a:pt x="112" y="220"/>
                  </a:lnTo>
                  <a:lnTo>
                    <a:pt x="136" y="240"/>
                  </a:lnTo>
                  <a:lnTo>
                    <a:pt x="162" y="258"/>
                  </a:lnTo>
                  <a:lnTo>
                    <a:pt x="190" y="278"/>
                  </a:lnTo>
                  <a:lnTo>
                    <a:pt x="190" y="278"/>
                  </a:lnTo>
                  <a:lnTo>
                    <a:pt x="198" y="282"/>
                  </a:lnTo>
                  <a:lnTo>
                    <a:pt x="208" y="286"/>
                  </a:lnTo>
                  <a:lnTo>
                    <a:pt x="216" y="288"/>
                  </a:lnTo>
                  <a:lnTo>
                    <a:pt x="226" y="288"/>
                  </a:lnTo>
                  <a:lnTo>
                    <a:pt x="234" y="286"/>
                  </a:lnTo>
                  <a:lnTo>
                    <a:pt x="242" y="284"/>
                  </a:lnTo>
                  <a:lnTo>
                    <a:pt x="250" y="280"/>
                  </a:lnTo>
                  <a:lnTo>
                    <a:pt x="258" y="274"/>
                  </a:lnTo>
                  <a:lnTo>
                    <a:pt x="282" y="248"/>
                  </a:lnTo>
                  <a:lnTo>
                    <a:pt x="282" y="248"/>
                  </a:lnTo>
                  <a:lnTo>
                    <a:pt x="286" y="244"/>
                  </a:lnTo>
                  <a:lnTo>
                    <a:pt x="286" y="236"/>
                  </a:lnTo>
                  <a:lnTo>
                    <a:pt x="284" y="230"/>
                  </a:lnTo>
                  <a:lnTo>
                    <a:pt x="280" y="224"/>
                  </a:lnTo>
                  <a:lnTo>
                    <a:pt x="244" y="1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</p:grpSp>
      <p:sp>
        <p:nvSpPr>
          <p:cNvPr id="44" name="Freeform 27"/>
          <p:cNvSpPr>
            <a:spLocks noEditPoints="1"/>
          </p:cNvSpPr>
          <p:nvPr/>
        </p:nvSpPr>
        <p:spPr bwMode="auto">
          <a:xfrm>
            <a:off x="1431925" y="2190750"/>
            <a:ext cx="939800" cy="446088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sz="1000">
              <a:latin typeface="+mn-lt"/>
              <a:cs typeface="Arial" pitchFamily="34" charset="0"/>
            </a:endParaRPr>
          </a:p>
        </p:txBody>
      </p:sp>
      <p:grpSp>
        <p:nvGrpSpPr>
          <p:cNvPr id="7" name="组合 758"/>
          <p:cNvGrpSpPr>
            <a:grpSpLocks/>
          </p:cNvGrpSpPr>
          <p:nvPr/>
        </p:nvGrpSpPr>
        <p:grpSpPr bwMode="auto">
          <a:xfrm>
            <a:off x="1709738" y="2220913"/>
            <a:ext cx="339725" cy="239712"/>
            <a:chOff x="7440613" y="4868863"/>
            <a:chExt cx="1019175" cy="828675"/>
          </a:xfrm>
        </p:grpSpPr>
        <p:sp>
          <p:nvSpPr>
            <p:cNvPr id="46" name="Freeform 15"/>
            <p:cNvSpPr>
              <a:spLocks/>
            </p:cNvSpPr>
            <p:nvPr/>
          </p:nvSpPr>
          <p:spPr bwMode="auto">
            <a:xfrm>
              <a:off x="7831138" y="5461559"/>
              <a:ext cx="238125" cy="235979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  <p:sp>
          <p:nvSpPr>
            <p:cNvPr id="47" name="Freeform 16"/>
            <p:cNvSpPr>
              <a:spLocks noEditPoints="1"/>
            </p:cNvSpPr>
            <p:nvPr/>
          </p:nvSpPr>
          <p:spPr bwMode="auto">
            <a:xfrm>
              <a:off x="7440613" y="4868863"/>
              <a:ext cx="1019175" cy="543303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</p:grpSp>
      <p:sp>
        <p:nvSpPr>
          <p:cNvPr id="48" name="矩形 278"/>
          <p:cNvSpPr>
            <a:spLocks noChangeArrowheads="1"/>
          </p:cNvSpPr>
          <p:nvPr/>
        </p:nvSpPr>
        <p:spPr bwMode="auto">
          <a:xfrm>
            <a:off x="1598613" y="2878138"/>
            <a:ext cx="5270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PSTN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9" name="矩形 278"/>
          <p:cNvSpPr>
            <a:spLocks noChangeArrowheads="1"/>
          </p:cNvSpPr>
          <p:nvPr/>
        </p:nvSpPr>
        <p:spPr bwMode="auto">
          <a:xfrm>
            <a:off x="1633538" y="2413000"/>
            <a:ext cx="5413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PLMN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50" name="直接连接符 49"/>
          <p:cNvCxnSpPr/>
          <p:nvPr/>
        </p:nvCxnSpPr>
        <p:spPr bwMode="auto">
          <a:xfrm flipH="1" flipV="1">
            <a:off x="2349500" y="2541588"/>
            <a:ext cx="760413" cy="268287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</p:cxnSp>
      <p:cxnSp>
        <p:nvCxnSpPr>
          <p:cNvPr id="51" name="直接连接符 50"/>
          <p:cNvCxnSpPr/>
          <p:nvPr/>
        </p:nvCxnSpPr>
        <p:spPr bwMode="auto">
          <a:xfrm flipH="1">
            <a:off x="2328863" y="2809875"/>
            <a:ext cx="781050" cy="114300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</p:cxnSp>
      <p:sp>
        <p:nvSpPr>
          <p:cNvPr id="52" name="Freeform 27"/>
          <p:cNvSpPr>
            <a:spLocks noEditPoints="1"/>
          </p:cNvSpPr>
          <p:nvPr/>
        </p:nvSpPr>
        <p:spPr bwMode="auto">
          <a:xfrm>
            <a:off x="6265863" y="2205038"/>
            <a:ext cx="939800" cy="422275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sz="1000">
              <a:latin typeface="+mn-lt"/>
              <a:cs typeface="Arial" pitchFamily="34" charset="0"/>
            </a:endParaRPr>
          </a:p>
        </p:txBody>
      </p:sp>
      <p:sp>
        <p:nvSpPr>
          <p:cNvPr id="53" name="Freeform 27"/>
          <p:cNvSpPr>
            <a:spLocks noEditPoints="1"/>
          </p:cNvSpPr>
          <p:nvPr/>
        </p:nvSpPr>
        <p:spPr bwMode="auto">
          <a:xfrm>
            <a:off x="6286500" y="2649538"/>
            <a:ext cx="996950" cy="455612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sz="1000">
              <a:latin typeface="+mn-lt"/>
              <a:cs typeface="Arial" pitchFamily="34" charset="0"/>
            </a:endParaRPr>
          </a:p>
        </p:txBody>
      </p:sp>
      <p:sp>
        <p:nvSpPr>
          <p:cNvPr id="54" name="Freeform 6"/>
          <p:cNvSpPr>
            <a:spLocks noEditPoints="1"/>
          </p:cNvSpPr>
          <p:nvPr/>
        </p:nvSpPr>
        <p:spPr bwMode="auto">
          <a:xfrm>
            <a:off x="6634163" y="2700338"/>
            <a:ext cx="192087" cy="173037"/>
          </a:xfrm>
          <a:custGeom>
            <a:avLst/>
            <a:gdLst/>
            <a:ahLst/>
            <a:cxnLst>
              <a:cxn ang="0">
                <a:pos x="222" y="196"/>
              </a:cxn>
              <a:cxn ang="0">
                <a:pos x="214" y="204"/>
              </a:cxn>
              <a:cxn ang="0">
                <a:pos x="182" y="228"/>
              </a:cxn>
              <a:cxn ang="0">
                <a:pos x="136" y="238"/>
              </a:cxn>
              <a:cxn ang="0">
                <a:pos x="76" y="222"/>
              </a:cxn>
              <a:cxn ang="0">
                <a:pos x="36" y="174"/>
              </a:cxn>
              <a:cxn ang="0">
                <a:pos x="30" y="110"/>
              </a:cxn>
              <a:cxn ang="0">
                <a:pos x="58" y="56"/>
              </a:cxn>
              <a:cxn ang="0">
                <a:pos x="132" y="24"/>
              </a:cxn>
              <a:cxn ang="0">
                <a:pos x="186" y="38"/>
              </a:cxn>
              <a:cxn ang="0">
                <a:pos x="220" y="76"/>
              </a:cxn>
              <a:cxn ang="0">
                <a:pos x="226" y="124"/>
              </a:cxn>
              <a:cxn ang="0">
                <a:pos x="212" y="162"/>
              </a:cxn>
              <a:cxn ang="0">
                <a:pos x="180" y="184"/>
              </a:cxn>
              <a:cxn ang="0">
                <a:pos x="174" y="176"/>
              </a:cxn>
              <a:cxn ang="0">
                <a:pos x="178" y="160"/>
              </a:cxn>
              <a:cxn ang="0">
                <a:pos x="204" y="64"/>
              </a:cxn>
              <a:cxn ang="0">
                <a:pos x="194" y="58"/>
              </a:cxn>
              <a:cxn ang="0">
                <a:pos x="180" y="62"/>
              </a:cxn>
              <a:cxn ang="0">
                <a:pos x="174" y="80"/>
              </a:cxn>
              <a:cxn ang="0">
                <a:pos x="146" y="58"/>
              </a:cxn>
              <a:cxn ang="0">
                <a:pos x="102" y="64"/>
              </a:cxn>
              <a:cxn ang="0">
                <a:pos x="64" y="102"/>
              </a:cxn>
              <a:cxn ang="0">
                <a:pos x="52" y="154"/>
              </a:cxn>
              <a:cxn ang="0">
                <a:pos x="68" y="194"/>
              </a:cxn>
              <a:cxn ang="0">
                <a:pos x="94" y="210"/>
              </a:cxn>
              <a:cxn ang="0">
                <a:pos x="128" y="204"/>
              </a:cxn>
              <a:cxn ang="0">
                <a:pos x="146" y="192"/>
              </a:cxn>
              <a:cxn ang="0">
                <a:pos x="160" y="210"/>
              </a:cxn>
              <a:cxn ang="0">
                <a:pos x="198" y="204"/>
              </a:cxn>
              <a:cxn ang="0">
                <a:pos x="238" y="168"/>
              </a:cxn>
              <a:cxn ang="0">
                <a:pos x="254" y="108"/>
              </a:cxn>
              <a:cxn ang="0">
                <a:pos x="240" y="56"/>
              </a:cxn>
              <a:cxn ang="0">
                <a:pos x="200" y="16"/>
              </a:cxn>
              <a:cxn ang="0">
                <a:pos x="132" y="0"/>
              </a:cxn>
              <a:cxn ang="0">
                <a:pos x="82" y="8"/>
              </a:cxn>
              <a:cxn ang="0">
                <a:pos x="40" y="38"/>
              </a:cxn>
              <a:cxn ang="0">
                <a:pos x="16" y="68"/>
              </a:cxn>
              <a:cxn ang="0">
                <a:pos x="2" y="116"/>
              </a:cxn>
              <a:cxn ang="0">
                <a:pos x="4" y="158"/>
              </a:cxn>
              <a:cxn ang="0">
                <a:pos x="22" y="204"/>
              </a:cxn>
              <a:cxn ang="0">
                <a:pos x="50" y="234"/>
              </a:cxn>
              <a:cxn ang="0">
                <a:pos x="96" y="258"/>
              </a:cxn>
              <a:cxn ang="0">
                <a:pos x="134" y="264"/>
              </a:cxn>
              <a:cxn ang="0">
                <a:pos x="198" y="246"/>
              </a:cxn>
              <a:cxn ang="0">
                <a:pos x="232" y="218"/>
              </a:cxn>
              <a:cxn ang="0">
                <a:pos x="246" y="200"/>
              </a:cxn>
              <a:cxn ang="0">
                <a:pos x="242" y="190"/>
              </a:cxn>
              <a:cxn ang="0">
                <a:pos x="162" y="114"/>
              </a:cxn>
              <a:cxn ang="0">
                <a:pos x="146" y="158"/>
              </a:cxn>
              <a:cxn ang="0">
                <a:pos x="120" y="182"/>
              </a:cxn>
              <a:cxn ang="0">
                <a:pos x="100" y="180"/>
              </a:cxn>
              <a:cxn ang="0">
                <a:pos x="86" y="164"/>
              </a:cxn>
              <a:cxn ang="0">
                <a:pos x="88" y="128"/>
              </a:cxn>
              <a:cxn ang="0">
                <a:pos x="108" y="96"/>
              </a:cxn>
              <a:cxn ang="0">
                <a:pos x="134" y="84"/>
              </a:cxn>
              <a:cxn ang="0">
                <a:pos x="154" y="94"/>
              </a:cxn>
            </a:cxnLst>
            <a:rect l="0" t="0" r="r" b="b"/>
            <a:pathLst>
              <a:path w="254" h="264">
                <a:moveTo>
                  <a:pt x="236" y="190"/>
                </a:moveTo>
                <a:lnTo>
                  <a:pt x="236" y="190"/>
                </a:lnTo>
                <a:lnTo>
                  <a:pt x="228" y="190"/>
                </a:lnTo>
                <a:lnTo>
                  <a:pt x="222" y="196"/>
                </a:lnTo>
                <a:lnTo>
                  <a:pt x="222" y="196"/>
                </a:lnTo>
                <a:lnTo>
                  <a:pt x="218" y="202"/>
                </a:lnTo>
                <a:lnTo>
                  <a:pt x="218" y="202"/>
                </a:lnTo>
                <a:lnTo>
                  <a:pt x="214" y="204"/>
                </a:lnTo>
                <a:lnTo>
                  <a:pt x="214" y="204"/>
                </a:lnTo>
                <a:lnTo>
                  <a:pt x="200" y="218"/>
                </a:lnTo>
                <a:lnTo>
                  <a:pt x="182" y="228"/>
                </a:lnTo>
                <a:lnTo>
                  <a:pt x="182" y="228"/>
                </a:lnTo>
                <a:lnTo>
                  <a:pt x="170" y="234"/>
                </a:lnTo>
                <a:lnTo>
                  <a:pt x="160" y="236"/>
                </a:lnTo>
                <a:lnTo>
                  <a:pt x="148" y="238"/>
                </a:lnTo>
                <a:lnTo>
                  <a:pt x="136" y="238"/>
                </a:lnTo>
                <a:lnTo>
                  <a:pt x="136" y="238"/>
                </a:lnTo>
                <a:lnTo>
                  <a:pt x="114" y="236"/>
                </a:lnTo>
                <a:lnTo>
                  <a:pt x="94" y="232"/>
                </a:lnTo>
                <a:lnTo>
                  <a:pt x="76" y="222"/>
                </a:lnTo>
                <a:lnTo>
                  <a:pt x="60" y="208"/>
                </a:lnTo>
                <a:lnTo>
                  <a:pt x="60" y="208"/>
                </a:lnTo>
                <a:lnTo>
                  <a:pt x="46" y="192"/>
                </a:lnTo>
                <a:lnTo>
                  <a:pt x="36" y="174"/>
                </a:lnTo>
                <a:lnTo>
                  <a:pt x="30" y="154"/>
                </a:lnTo>
                <a:lnTo>
                  <a:pt x="28" y="132"/>
                </a:lnTo>
                <a:lnTo>
                  <a:pt x="28" y="132"/>
                </a:lnTo>
                <a:lnTo>
                  <a:pt x="30" y="110"/>
                </a:lnTo>
                <a:lnTo>
                  <a:pt x="36" y="90"/>
                </a:lnTo>
                <a:lnTo>
                  <a:pt x="46" y="72"/>
                </a:lnTo>
                <a:lnTo>
                  <a:pt x="58" y="56"/>
                </a:lnTo>
                <a:lnTo>
                  <a:pt x="58" y="56"/>
                </a:lnTo>
                <a:lnTo>
                  <a:pt x="74" y="42"/>
                </a:lnTo>
                <a:lnTo>
                  <a:pt x="92" y="32"/>
                </a:lnTo>
                <a:lnTo>
                  <a:pt x="112" y="26"/>
                </a:lnTo>
                <a:lnTo>
                  <a:pt x="132" y="24"/>
                </a:lnTo>
                <a:lnTo>
                  <a:pt x="132" y="24"/>
                </a:lnTo>
                <a:lnTo>
                  <a:pt x="152" y="24"/>
                </a:lnTo>
                <a:lnTo>
                  <a:pt x="170" y="30"/>
                </a:lnTo>
                <a:lnTo>
                  <a:pt x="186" y="38"/>
                </a:lnTo>
                <a:lnTo>
                  <a:pt x="200" y="48"/>
                </a:lnTo>
                <a:lnTo>
                  <a:pt x="200" y="48"/>
                </a:lnTo>
                <a:lnTo>
                  <a:pt x="212" y="60"/>
                </a:lnTo>
                <a:lnTo>
                  <a:pt x="220" y="76"/>
                </a:lnTo>
                <a:lnTo>
                  <a:pt x="224" y="92"/>
                </a:lnTo>
                <a:lnTo>
                  <a:pt x="226" y="112"/>
                </a:lnTo>
                <a:lnTo>
                  <a:pt x="226" y="112"/>
                </a:lnTo>
                <a:lnTo>
                  <a:pt x="226" y="124"/>
                </a:lnTo>
                <a:lnTo>
                  <a:pt x="222" y="138"/>
                </a:lnTo>
                <a:lnTo>
                  <a:pt x="218" y="150"/>
                </a:lnTo>
                <a:lnTo>
                  <a:pt x="212" y="162"/>
                </a:lnTo>
                <a:lnTo>
                  <a:pt x="212" y="162"/>
                </a:lnTo>
                <a:lnTo>
                  <a:pt x="204" y="172"/>
                </a:lnTo>
                <a:lnTo>
                  <a:pt x="196" y="178"/>
                </a:lnTo>
                <a:lnTo>
                  <a:pt x="188" y="184"/>
                </a:lnTo>
                <a:lnTo>
                  <a:pt x="180" y="184"/>
                </a:lnTo>
                <a:lnTo>
                  <a:pt x="180" y="184"/>
                </a:lnTo>
                <a:lnTo>
                  <a:pt x="176" y="184"/>
                </a:lnTo>
                <a:lnTo>
                  <a:pt x="176" y="180"/>
                </a:lnTo>
                <a:lnTo>
                  <a:pt x="174" y="176"/>
                </a:lnTo>
                <a:lnTo>
                  <a:pt x="174" y="176"/>
                </a:lnTo>
                <a:lnTo>
                  <a:pt x="176" y="170"/>
                </a:lnTo>
                <a:lnTo>
                  <a:pt x="176" y="170"/>
                </a:lnTo>
                <a:lnTo>
                  <a:pt x="178" y="160"/>
                </a:lnTo>
                <a:lnTo>
                  <a:pt x="178" y="160"/>
                </a:lnTo>
                <a:lnTo>
                  <a:pt x="204" y="68"/>
                </a:lnTo>
                <a:lnTo>
                  <a:pt x="204" y="68"/>
                </a:lnTo>
                <a:lnTo>
                  <a:pt x="204" y="64"/>
                </a:lnTo>
                <a:lnTo>
                  <a:pt x="202" y="60"/>
                </a:lnTo>
                <a:lnTo>
                  <a:pt x="202" y="60"/>
                </a:lnTo>
                <a:lnTo>
                  <a:pt x="198" y="58"/>
                </a:lnTo>
                <a:lnTo>
                  <a:pt x="194" y="58"/>
                </a:lnTo>
                <a:lnTo>
                  <a:pt x="194" y="58"/>
                </a:lnTo>
                <a:lnTo>
                  <a:pt x="188" y="58"/>
                </a:lnTo>
                <a:lnTo>
                  <a:pt x="184" y="60"/>
                </a:lnTo>
                <a:lnTo>
                  <a:pt x="180" y="62"/>
                </a:lnTo>
                <a:lnTo>
                  <a:pt x="178" y="66"/>
                </a:lnTo>
                <a:lnTo>
                  <a:pt x="178" y="66"/>
                </a:lnTo>
                <a:lnTo>
                  <a:pt x="174" y="80"/>
                </a:lnTo>
                <a:lnTo>
                  <a:pt x="174" y="80"/>
                </a:lnTo>
                <a:lnTo>
                  <a:pt x="166" y="70"/>
                </a:lnTo>
                <a:lnTo>
                  <a:pt x="158" y="62"/>
                </a:lnTo>
                <a:lnTo>
                  <a:pt x="158" y="62"/>
                </a:lnTo>
                <a:lnTo>
                  <a:pt x="146" y="58"/>
                </a:lnTo>
                <a:lnTo>
                  <a:pt x="134" y="56"/>
                </a:lnTo>
                <a:lnTo>
                  <a:pt x="134" y="56"/>
                </a:lnTo>
                <a:lnTo>
                  <a:pt x="118" y="58"/>
                </a:lnTo>
                <a:lnTo>
                  <a:pt x="102" y="64"/>
                </a:lnTo>
                <a:lnTo>
                  <a:pt x="88" y="74"/>
                </a:lnTo>
                <a:lnTo>
                  <a:pt x="74" y="86"/>
                </a:lnTo>
                <a:lnTo>
                  <a:pt x="74" y="86"/>
                </a:lnTo>
                <a:lnTo>
                  <a:pt x="64" y="102"/>
                </a:lnTo>
                <a:lnTo>
                  <a:pt x="58" y="118"/>
                </a:lnTo>
                <a:lnTo>
                  <a:pt x="54" y="134"/>
                </a:lnTo>
                <a:lnTo>
                  <a:pt x="52" y="154"/>
                </a:lnTo>
                <a:lnTo>
                  <a:pt x="52" y="154"/>
                </a:lnTo>
                <a:lnTo>
                  <a:pt x="54" y="164"/>
                </a:lnTo>
                <a:lnTo>
                  <a:pt x="56" y="174"/>
                </a:lnTo>
                <a:lnTo>
                  <a:pt x="60" y="184"/>
                </a:lnTo>
                <a:lnTo>
                  <a:pt x="68" y="194"/>
                </a:lnTo>
                <a:lnTo>
                  <a:pt x="68" y="194"/>
                </a:lnTo>
                <a:lnTo>
                  <a:pt x="76" y="200"/>
                </a:lnTo>
                <a:lnTo>
                  <a:pt x="84" y="206"/>
                </a:lnTo>
                <a:lnTo>
                  <a:pt x="94" y="210"/>
                </a:lnTo>
                <a:lnTo>
                  <a:pt x="104" y="210"/>
                </a:lnTo>
                <a:lnTo>
                  <a:pt x="104" y="210"/>
                </a:lnTo>
                <a:lnTo>
                  <a:pt x="116" y="208"/>
                </a:lnTo>
                <a:lnTo>
                  <a:pt x="128" y="204"/>
                </a:lnTo>
                <a:lnTo>
                  <a:pt x="128" y="204"/>
                </a:lnTo>
                <a:lnTo>
                  <a:pt x="138" y="198"/>
                </a:lnTo>
                <a:lnTo>
                  <a:pt x="146" y="192"/>
                </a:lnTo>
                <a:lnTo>
                  <a:pt x="146" y="192"/>
                </a:lnTo>
                <a:lnTo>
                  <a:pt x="148" y="198"/>
                </a:lnTo>
                <a:lnTo>
                  <a:pt x="152" y="204"/>
                </a:lnTo>
                <a:lnTo>
                  <a:pt x="152" y="204"/>
                </a:lnTo>
                <a:lnTo>
                  <a:pt x="160" y="210"/>
                </a:lnTo>
                <a:lnTo>
                  <a:pt x="170" y="210"/>
                </a:lnTo>
                <a:lnTo>
                  <a:pt x="170" y="210"/>
                </a:lnTo>
                <a:lnTo>
                  <a:pt x="184" y="208"/>
                </a:lnTo>
                <a:lnTo>
                  <a:pt x="198" y="204"/>
                </a:lnTo>
                <a:lnTo>
                  <a:pt x="210" y="196"/>
                </a:lnTo>
                <a:lnTo>
                  <a:pt x="224" y="184"/>
                </a:lnTo>
                <a:lnTo>
                  <a:pt x="224" y="184"/>
                </a:lnTo>
                <a:lnTo>
                  <a:pt x="238" y="168"/>
                </a:lnTo>
                <a:lnTo>
                  <a:pt x="246" y="150"/>
                </a:lnTo>
                <a:lnTo>
                  <a:pt x="252" y="130"/>
                </a:lnTo>
                <a:lnTo>
                  <a:pt x="254" y="108"/>
                </a:lnTo>
                <a:lnTo>
                  <a:pt x="254" y="108"/>
                </a:lnTo>
                <a:lnTo>
                  <a:pt x="252" y="86"/>
                </a:lnTo>
                <a:lnTo>
                  <a:pt x="250" y="76"/>
                </a:lnTo>
                <a:lnTo>
                  <a:pt x="246" y="66"/>
                </a:lnTo>
                <a:lnTo>
                  <a:pt x="240" y="56"/>
                </a:lnTo>
                <a:lnTo>
                  <a:pt x="234" y="46"/>
                </a:lnTo>
                <a:lnTo>
                  <a:pt x="218" y="30"/>
                </a:lnTo>
                <a:lnTo>
                  <a:pt x="218" y="30"/>
                </a:lnTo>
                <a:lnTo>
                  <a:pt x="200" y="16"/>
                </a:lnTo>
                <a:lnTo>
                  <a:pt x="180" y="6"/>
                </a:lnTo>
                <a:lnTo>
                  <a:pt x="158" y="2"/>
                </a:lnTo>
                <a:lnTo>
                  <a:pt x="132" y="0"/>
                </a:lnTo>
                <a:lnTo>
                  <a:pt x="132" y="0"/>
                </a:lnTo>
                <a:lnTo>
                  <a:pt x="120" y="0"/>
                </a:lnTo>
                <a:lnTo>
                  <a:pt x="106" y="2"/>
                </a:lnTo>
                <a:lnTo>
                  <a:pt x="94" y="4"/>
                </a:lnTo>
                <a:lnTo>
                  <a:pt x="82" y="8"/>
                </a:lnTo>
                <a:lnTo>
                  <a:pt x="70" y="14"/>
                </a:lnTo>
                <a:lnTo>
                  <a:pt x="60" y="20"/>
                </a:lnTo>
                <a:lnTo>
                  <a:pt x="50" y="28"/>
                </a:lnTo>
                <a:lnTo>
                  <a:pt x="40" y="38"/>
                </a:lnTo>
                <a:lnTo>
                  <a:pt x="40" y="38"/>
                </a:lnTo>
                <a:lnTo>
                  <a:pt x="30" y="48"/>
                </a:lnTo>
                <a:lnTo>
                  <a:pt x="22" y="58"/>
                </a:lnTo>
                <a:lnTo>
                  <a:pt x="16" y="68"/>
                </a:lnTo>
                <a:lnTo>
                  <a:pt x="10" y="80"/>
                </a:lnTo>
                <a:lnTo>
                  <a:pt x="6" y="92"/>
                </a:lnTo>
                <a:lnTo>
                  <a:pt x="4" y="104"/>
                </a:lnTo>
                <a:lnTo>
                  <a:pt x="2" y="116"/>
                </a:lnTo>
                <a:lnTo>
                  <a:pt x="0" y="130"/>
                </a:lnTo>
                <a:lnTo>
                  <a:pt x="0" y="130"/>
                </a:lnTo>
                <a:lnTo>
                  <a:pt x="2" y="144"/>
                </a:lnTo>
                <a:lnTo>
                  <a:pt x="4" y="158"/>
                </a:lnTo>
                <a:lnTo>
                  <a:pt x="6" y="170"/>
                </a:lnTo>
                <a:lnTo>
                  <a:pt x="10" y="182"/>
                </a:lnTo>
                <a:lnTo>
                  <a:pt x="16" y="194"/>
                </a:lnTo>
                <a:lnTo>
                  <a:pt x="22" y="204"/>
                </a:lnTo>
                <a:lnTo>
                  <a:pt x="30" y="216"/>
                </a:lnTo>
                <a:lnTo>
                  <a:pt x="40" y="224"/>
                </a:lnTo>
                <a:lnTo>
                  <a:pt x="40" y="224"/>
                </a:lnTo>
                <a:lnTo>
                  <a:pt x="50" y="234"/>
                </a:lnTo>
                <a:lnTo>
                  <a:pt x="60" y="242"/>
                </a:lnTo>
                <a:lnTo>
                  <a:pt x="72" y="248"/>
                </a:lnTo>
                <a:lnTo>
                  <a:pt x="82" y="254"/>
                </a:lnTo>
                <a:lnTo>
                  <a:pt x="96" y="258"/>
                </a:lnTo>
                <a:lnTo>
                  <a:pt x="108" y="260"/>
                </a:lnTo>
                <a:lnTo>
                  <a:pt x="122" y="262"/>
                </a:lnTo>
                <a:lnTo>
                  <a:pt x="134" y="264"/>
                </a:lnTo>
                <a:lnTo>
                  <a:pt x="134" y="264"/>
                </a:lnTo>
                <a:lnTo>
                  <a:pt x="152" y="262"/>
                </a:lnTo>
                <a:lnTo>
                  <a:pt x="168" y="260"/>
                </a:lnTo>
                <a:lnTo>
                  <a:pt x="184" y="254"/>
                </a:lnTo>
                <a:lnTo>
                  <a:pt x="198" y="246"/>
                </a:lnTo>
                <a:lnTo>
                  <a:pt x="198" y="246"/>
                </a:lnTo>
                <a:lnTo>
                  <a:pt x="210" y="238"/>
                </a:lnTo>
                <a:lnTo>
                  <a:pt x="222" y="230"/>
                </a:lnTo>
                <a:lnTo>
                  <a:pt x="232" y="218"/>
                </a:lnTo>
                <a:lnTo>
                  <a:pt x="242" y="208"/>
                </a:lnTo>
                <a:lnTo>
                  <a:pt x="242" y="208"/>
                </a:lnTo>
                <a:lnTo>
                  <a:pt x="246" y="200"/>
                </a:lnTo>
                <a:lnTo>
                  <a:pt x="246" y="200"/>
                </a:lnTo>
                <a:lnTo>
                  <a:pt x="246" y="196"/>
                </a:lnTo>
                <a:lnTo>
                  <a:pt x="246" y="194"/>
                </a:lnTo>
                <a:lnTo>
                  <a:pt x="246" y="194"/>
                </a:lnTo>
                <a:lnTo>
                  <a:pt x="242" y="190"/>
                </a:lnTo>
                <a:lnTo>
                  <a:pt x="236" y="190"/>
                </a:lnTo>
                <a:lnTo>
                  <a:pt x="236" y="190"/>
                </a:lnTo>
                <a:close/>
                <a:moveTo>
                  <a:pt x="162" y="114"/>
                </a:moveTo>
                <a:lnTo>
                  <a:pt x="162" y="114"/>
                </a:lnTo>
                <a:lnTo>
                  <a:pt x="160" y="126"/>
                </a:lnTo>
                <a:lnTo>
                  <a:pt x="158" y="136"/>
                </a:lnTo>
                <a:lnTo>
                  <a:pt x="154" y="148"/>
                </a:lnTo>
                <a:lnTo>
                  <a:pt x="146" y="158"/>
                </a:lnTo>
                <a:lnTo>
                  <a:pt x="146" y="158"/>
                </a:lnTo>
                <a:lnTo>
                  <a:pt x="138" y="170"/>
                </a:lnTo>
                <a:lnTo>
                  <a:pt x="130" y="176"/>
                </a:lnTo>
                <a:lnTo>
                  <a:pt x="120" y="182"/>
                </a:lnTo>
                <a:lnTo>
                  <a:pt x="112" y="182"/>
                </a:lnTo>
                <a:lnTo>
                  <a:pt x="112" y="182"/>
                </a:lnTo>
                <a:lnTo>
                  <a:pt x="106" y="182"/>
                </a:lnTo>
                <a:lnTo>
                  <a:pt x="100" y="180"/>
                </a:lnTo>
                <a:lnTo>
                  <a:pt x="96" y="178"/>
                </a:lnTo>
                <a:lnTo>
                  <a:pt x="92" y="174"/>
                </a:lnTo>
                <a:lnTo>
                  <a:pt x="92" y="174"/>
                </a:lnTo>
                <a:lnTo>
                  <a:pt x="86" y="164"/>
                </a:lnTo>
                <a:lnTo>
                  <a:pt x="84" y="150"/>
                </a:lnTo>
                <a:lnTo>
                  <a:pt x="84" y="150"/>
                </a:lnTo>
                <a:lnTo>
                  <a:pt x="86" y="138"/>
                </a:lnTo>
                <a:lnTo>
                  <a:pt x="88" y="128"/>
                </a:lnTo>
                <a:lnTo>
                  <a:pt x="92" y="116"/>
                </a:lnTo>
                <a:lnTo>
                  <a:pt x="100" y="106"/>
                </a:lnTo>
                <a:lnTo>
                  <a:pt x="100" y="106"/>
                </a:lnTo>
                <a:lnTo>
                  <a:pt x="108" y="96"/>
                </a:lnTo>
                <a:lnTo>
                  <a:pt x="116" y="90"/>
                </a:lnTo>
                <a:lnTo>
                  <a:pt x="124" y="86"/>
                </a:lnTo>
                <a:lnTo>
                  <a:pt x="134" y="84"/>
                </a:lnTo>
                <a:lnTo>
                  <a:pt x="134" y="84"/>
                </a:lnTo>
                <a:lnTo>
                  <a:pt x="140" y="84"/>
                </a:lnTo>
                <a:lnTo>
                  <a:pt x="144" y="86"/>
                </a:lnTo>
                <a:lnTo>
                  <a:pt x="154" y="94"/>
                </a:lnTo>
                <a:lnTo>
                  <a:pt x="154" y="94"/>
                </a:lnTo>
                <a:lnTo>
                  <a:pt x="160" y="104"/>
                </a:lnTo>
                <a:lnTo>
                  <a:pt x="162" y="114"/>
                </a:lnTo>
                <a:lnTo>
                  <a:pt x="162" y="11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zh-CN" altLang="en-US" sz="1000">
              <a:latin typeface="+mn-lt"/>
            </a:endParaRPr>
          </a:p>
        </p:txBody>
      </p:sp>
      <p:grpSp>
        <p:nvGrpSpPr>
          <p:cNvPr id="8" name="组合 758"/>
          <p:cNvGrpSpPr>
            <a:grpSpLocks/>
          </p:cNvGrpSpPr>
          <p:nvPr/>
        </p:nvGrpSpPr>
        <p:grpSpPr bwMode="auto">
          <a:xfrm>
            <a:off x="6551613" y="2246313"/>
            <a:ext cx="341312" cy="241300"/>
            <a:chOff x="7440613" y="4868863"/>
            <a:chExt cx="1019175" cy="828675"/>
          </a:xfrm>
        </p:grpSpPr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7834061" y="5463108"/>
              <a:ext cx="232279" cy="234430"/>
            </a:xfrm>
            <a:custGeom>
              <a:avLst/>
              <a:gdLst/>
              <a:ahLst/>
              <a:cxnLst>
                <a:cxn ang="0">
                  <a:pos x="3281" y="680"/>
                </a:cxn>
                <a:cxn ang="0">
                  <a:pos x="3439" y="907"/>
                </a:cxn>
                <a:cxn ang="0">
                  <a:pos x="3559" y="1151"/>
                </a:cxn>
                <a:cxn ang="0">
                  <a:pos x="3642" y="1406"/>
                </a:cxn>
                <a:cxn ang="0">
                  <a:pos x="3686" y="1670"/>
                </a:cxn>
                <a:cxn ang="0">
                  <a:pos x="3693" y="1936"/>
                </a:cxn>
                <a:cxn ang="0">
                  <a:pos x="3661" y="2201"/>
                </a:cxn>
                <a:cxn ang="0">
                  <a:pos x="3591" y="2460"/>
                </a:cxn>
                <a:cxn ang="0">
                  <a:pos x="3484" y="2708"/>
                </a:cxn>
                <a:cxn ang="0">
                  <a:pos x="3339" y="2941"/>
                </a:cxn>
                <a:cxn ang="0">
                  <a:pos x="3155" y="3155"/>
                </a:cxn>
                <a:cxn ang="0">
                  <a:pos x="2941" y="3339"/>
                </a:cxn>
                <a:cxn ang="0">
                  <a:pos x="2708" y="3484"/>
                </a:cxn>
                <a:cxn ang="0">
                  <a:pos x="2460" y="3592"/>
                </a:cxn>
                <a:cxn ang="0">
                  <a:pos x="2201" y="3661"/>
                </a:cxn>
                <a:cxn ang="0">
                  <a:pos x="1936" y="3693"/>
                </a:cxn>
                <a:cxn ang="0">
                  <a:pos x="1670" y="3687"/>
                </a:cxn>
                <a:cxn ang="0">
                  <a:pos x="1408" y="3643"/>
                </a:cxn>
                <a:cxn ang="0">
                  <a:pos x="1152" y="3561"/>
                </a:cxn>
                <a:cxn ang="0">
                  <a:pos x="908" y="3440"/>
                </a:cxn>
                <a:cxn ang="0">
                  <a:pos x="680" y="3282"/>
                </a:cxn>
                <a:cxn ang="0">
                  <a:pos x="475" y="3086"/>
                </a:cxn>
                <a:cxn ang="0">
                  <a:pos x="304" y="2866"/>
                </a:cxn>
                <a:cxn ang="0">
                  <a:pos x="172" y="2627"/>
                </a:cxn>
                <a:cxn ang="0">
                  <a:pos x="76" y="2374"/>
                </a:cxn>
                <a:cxn ang="0">
                  <a:pos x="19" y="2114"/>
                </a:cxn>
                <a:cxn ang="0">
                  <a:pos x="0" y="1848"/>
                </a:cxn>
                <a:cxn ang="0">
                  <a:pos x="19" y="1582"/>
                </a:cxn>
                <a:cxn ang="0">
                  <a:pos x="76" y="1321"/>
                </a:cxn>
                <a:cxn ang="0">
                  <a:pos x="171" y="1069"/>
                </a:cxn>
                <a:cxn ang="0">
                  <a:pos x="304" y="830"/>
                </a:cxn>
                <a:cxn ang="0">
                  <a:pos x="475" y="609"/>
                </a:cxn>
                <a:cxn ang="0">
                  <a:pos x="680" y="414"/>
                </a:cxn>
                <a:cxn ang="0">
                  <a:pos x="907" y="255"/>
                </a:cxn>
                <a:cxn ang="0">
                  <a:pos x="1151" y="135"/>
                </a:cxn>
                <a:cxn ang="0">
                  <a:pos x="1407" y="52"/>
                </a:cxn>
                <a:cxn ang="0">
                  <a:pos x="1669" y="8"/>
                </a:cxn>
                <a:cxn ang="0">
                  <a:pos x="1936" y="2"/>
                </a:cxn>
                <a:cxn ang="0">
                  <a:pos x="2201" y="33"/>
                </a:cxn>
                <a:cxn ang="0">
                  <a:pos x="2459" y="104"/>
                </a:cxn>
                <a:cxn ang="0">
                  <a:pos x="2708" y="211"/>
                </a:cxn>
                <a:cxn ang="0">
                  <a:pos x="2940" y="356"/>
                </a:cxn>
                <a:cxn ang="0">
                  <a:pos x="3154" y="539"/>
                </a:cxn>
              </a:cxnLst>
              <a:rect l="0" t="0" r="r" b="b"/>
              <a:pathLst>
                <a:path w="3695" h="3695">
                  <a:moveTo>
                    <a:pt x="3154" y="539"/>
                  </a:moveTo>
                  <a:lnTo>
                    <a:pt x="3220" y="608"/>
                  </a:lnTo>
                  <a:lnTo>
                    <a:pt x="3281" y="680"/>
                  </a:lnTo>
                  <a:lnTo>
                    <a:pt x="3338" y="754"/>
                  </a:lnTo>
                  <a:lnTo>
                    <a:pt x="3391" y="829"/>
                  </a:lnTo>
                  <a:lnTo>
                    <a:pt x="3439" y="907"/>
                  </a:lnTo>
                  <a:lnTo>
                    <a:pt x="3483" y="987"/>
                  </a:lnTo>
                  <a:lnTo>
                    <a:pt x="3523" y="1068"/>
                  </a:lnTo>
                  <a:lnTo>
                    <a:pt x="3559" y="1151"/>
                  </a:lnTo>
                  <a:lnTo>
                    <a:pt x="3591" y="1235"/>
                  </a:lnTo>
                  <a:lnTo>
                    <a:pt x="3619" y="1320"/>
                  </a:lnTo>
                  <a:lnTo>
                    <a:pt x="3642" y="1406"/>
                  </a:lnTo>
                  <a:lnTo>
                    <a:pt x="3661" y="1493"/>
                  </a:lnTo>
                  <a:lnTo>
                    <a:pt x="3676" y="1582"/>
                  </a:lnTo>
                  <a:lnTo>
                    <a:pt x="3686" y="1670"/>
                  </a:lnTo>
                  <a:lnTo>
                    <a:pt x="3693" y="1758"/>
                  </a:lnTo>
                  <a:lnTo>
                    <a:pt x="3695" y="1847"/>
                  </a:lnTo>
                  <a:lnTo>
                    <a:pt x="3693" y="1936"/>
                  </a:lnTo>
                  <a:lnTo>
                    <a:pt x="3686" y="2024"/>
                  </a:lnTo>
                  <a:lnTo>
                    <a:pt x="3676" y="2113"/>
                  </a:lnTo>
                  <a:lnTo>
                    <a:pt x="3661" y="2201"/>
                  </a:lnTo>
                  <a:lnTo>
                    <a:pt x="3642" y="2288"/>
                  </a:lnTo>
                  <a:lnTo>
                    <a:pt x="3619" y="2374"/>
                  </a:lnTo>
                  <a:lnTo>
                    <a:pt x="3591" y="2460"/>
                  </a:lnTo>
                  <a:lnTo>
                    <a:pt x="3559" y="2544"/>
                  </a:lnTo>
                  <a:lnTo>
                    <a:pt x="3524" y="2626"/>
                  </a:lnTo>
                  <a:lnTo>
                    <a:pt x="3484" y="2708"/>
                  </a:lnTo>
                  <a:lnTo>
                    <a:pt x="3439" y="2788"/>
                  </a:lnTo>
                  <a:lnTo>
                    <a:pt x="3391" y="2865"/>
                  </a:lnTo>
                  <a:lnTo>
                    <a:pt x="3339" y="2941"/>
                  </a:lnTo>
                  <a:lnTo>
                    <a:pt x="3281" y="3015"/>
                  </a:lnTo>
                  <a:lnTo>
                    <a:pt x="3220" y="3086"/>
                  </a:lnTo>
                  <a:lnTo>
                    <a:pt x="3155" y="3155"/>
                  </a:lnTo>
                  <a:lnTo>
                    <a:pt x="3086" y="3220"/>
                  </a:lnTo>
                  <a:lnTo>
                    <a:pt x="3015" y="3282"/>
                  </a:lnTo>
                  <a:lnTo>
                    <a:pt x="2941" y="3339"/>
                  </a:lnTo>
                  <a:lnTo>
                    <a:pt x="2865" y="3391"/>
                  </a:lnTo>
                  <a:lnTo>
                    <a:pt x="2788" y="3440"/>
                  </a:lnTo>
                  <a:lnTo>
                    <a:pt x="2708" y="3484"/>
                  </a:lnTo>
                  <a:lnTo>
                    <a:pt x="2626" y="3524"/>
                  </a:lnTo>
                  <a:lnTo>
                    <a:pt x="2544" y="3560"/>
                  </a:lnTo>
                  <a:lnTo>
                    <a:pt x="2460" y="3592"/>
                  </a:lnTo>
                  <a:lnTo>
                    <a:pt x="2375" y="3619"/>
                  </a:lnTo>
                  <a:lnTo>
                    <a:pt x="2288" y="3643"/>
                  </a:lnTo>
                  <a:lnTo>
                    <a:pt x="2201" y="3661"/>
                  </a:lnTo>
                  <a:lnTo>
                    <a:pt x="2114" y="3676"/>
                  </a:lnTo>
                  <a:lnTo>
                    <a:pt x="2026" y="3687"/>
                  </a:lnTo>
                  <a:lnTo>
                    <a:pt x="1936" y="3693"/>
                  </a:lnTo>
                  <a:lnTo>
                    <a:pt x="1848" y="3695"/>
                  </a:lnTo>
                  <a:lnTo>
                    <a:pt x="1759" y="3693"/>
                  </a:lnTo>
                  <a:lnTo>
                    <a:pt x="1670" y="3687"/>
                  </a:lnTo>
                  <a:lnTo>
                    <a:pt x="1582" y="3676"/>
                  </a:lnTo>
                  <a:lnTo>
                    <a:pt x="1495" y="3662"/>
                  </a:lnTo>
                  <a:lnTo>
                    <a:pt x="1408" y="3643"/>
                  </a:lnTo>
                  <a:lnTo>
                    <a:pt x="1321" y="3620"/>
                  </a:lnTo>
                  <a:lnTo>
                    <a:pt x="1236" y="3592"/>
                  </a:lnTo>
                  <a:lnTo>
                    <a:pt x="1152" y="3561"/>
                  </a:lnTo>
                  <a:lnTo>
                    <a:pt x="1069" y="3524"/>
                  </a:lnTo>
                  <a:lnTo>
                    <a:pt x="987" y="3484"/>
                  </a:lnTo>
                  <a:lnTo>
                    <a:pt x="908" y="3440"/>
                  </a:lnTo>
                  <a:lnTo>
                    <a:pt x="830" y="3391"/>
                  </a:lnTo>
                  <a:lnTo>
                    <a:pt x="755" y="3339"/>
                  </a:lnTo>
                  <a:lnTo>
                    <a:pt x="680" y="3282"/>
                  </a:lnTo>
                  <a:lnTo>
                    <a:pt x="609" y="3220"/>
                  </a:lnTo>
                  <a:lnTo>
                    <a:pt x="541" y="3155"/>
                  </a:lnTo>
                  <a:lnTo>
                    <a:pt x="475" y="3086"/>
                  </a:lnTo>
                  <a:lnTo>
                    <a:pt x="414" y="3015"/>
                  </a:lnTo>
                  <a:lnTo>
                    <a:pt x="357" y="2941"/>
                  </a:lnTo>
                  <a:lnTo>
                    <a:pt x="304" y="2866"/>
                  </a:lnTo>
                  <a:lnTo>
                    <a:pt x="256" y="2788"/>
                  </a:lnTo>
                  <a:lnTo>
                    <a:pt x="212" y="2709"/>
                  </a:lnTo>
                  <a:lnTo>
                    <a:pt x="172" y="2627"/>
                  </a:lnTo>
                  <a:lnTo>
                    <a:pt x="136" y="2544"/>
                  </a:lnTo>
                  <a:lnTo>
                    <a:pt x="104" y="2460"/>
                  </a:lnTo>
                  <a:lnTo>
                    <a:pt x="76" y="2374"/>
                  </a:lnTo>
                  <a:lnTo>
                    <a:pt x="53" y="2288"/>
                  </a:lnTo>
                  <a:lnTo>
                    <a:pt x="34" y="2201"/>
                  </a:lnTo>
                  <a:lnTo>
                    <a:pt x="19" y="2114"/>
                  </a:lnTo>
                  <a:lnTo>
                    <a:pt x="9" y="2025"/>
                  </a:lnTo>
                  <a:lnTo>
                    <a:pt x="2" y="1937"/>
                  </a:lnTo>
                  <a:lnTo>
                    <a:pt x="0" y="1848"/>
                  </a:lnTo>
                  <a:lnTo>
                    <a:pt x="2" y="1759"/>
                  </a:lnTo>
                  <a:lnTo>
                    <a:pt x="9" y="1670"/>
                  </a:lnTo>
                  <a:lnTo>
                    <a:pt x="19" y="1582"/>
                  </a:lnTo>
                  <a:lnTo>
                    <a:pt x="34" y="1494"/>
                  </a:lnTo>
                  <a:lnTo>
                    <a:pt x="53" y="1407"/>
                  </a:lnTo>
                  <a:lnTo>
                    <a:pt x="76" y="1321"/>
                  </a:lnTo>
                  <a:lnTo>
                    <a:pt x="104" y="1236"/>
                  </a:lnTo>
                  <a:lnTo>
                    <a:pt x="136" y="1151"/>
                  </a:lnTo>
                  <a:lnTo>
                    <a:pt x="171" y="1069"/>
                  </a:lnTo>
                  <a:lnTo>
                    <a:pt x="211" y="988"/>
                  </a:lnTo>
                  <a:lnTo>
                    <a:pt x="255" y="907"/>
                  </a:lnTo>
                  <a:lnTo>
                    <a:pt x="304" y="830"/>
                  </a:lnTo>
                  <a:lnTo>
                    <a:pt x="356" y="754"/>
                  </a:lnTo>
                  <a:lnTo>
                    <a:pt x="414" y="681"/>
                  </a:lnTo>
                  <a:lnTo>
                    <a:pt x="475" y="609"/>
                  </a:lnTo>
                  <a:lnTo>
                    <a:pt x="540" y="540"/>
                  </a:lnTo>
                  <a:lnTo>
                    <a:pt x="609" y="475"/>
                  </a:lnTo>
                  <a:lnTo>
                    <a:pt x="680" y="414"/>
                  </a:lnTo>
                  <a:lnTo>
                    <a:pt x="754" y="356"/>
                  </a:lnTo>
                  <a:lnTo>
                    <a:pt x="830" y="303"/>
                  </a:lnTo>
                  <a:lnTo>
                    <a:pt x="907" y="255"/>
                  </a:lnTo>
                  <a:lnTo>
                    <a:pt x="987" y="211"/>
                  </a:lnTo>
                  <a:lnTo>
                    <a:pt x="1069" y="171"/>
                  </a:lnTo>
                  <a:lnTo>
                    <a:pt x="1151" y="135"/>
                  </a:lnTo>
                  <a:lnTo>
                    <a:pt x="1235" y="104"/>
                  </a:lnTo>
                  <a:lnTo>
                    <a:pt x="1320" y="76"/>
                  </a:lnTo>
                  <a:lnTo>
                    <a:pt x="1407" y="52"/>
                  </a:lnTo>
                  <a:lnTo>
                    <a:pt x="1494" y="33"/>
                  </a:lnTo>
                  <a:lnTo>
                    <a:pt x="1581" y="19"/>
                  </a:lnTo>
                  <a:lnTo>
                    <a:pt x="1669" y="8"/>
                  </a:lnTo>
                  <a:lnTo>
                    <a:pt x="1759" y="2"/>
                  </a:lnTo>
                  <a:lnTo>
                    <a:pt x="1847" y="0"/>
                  </a:lnTo>
                  <a:lnTo>
                    <a:pt x="1936" y="2"/>
                  </a:lnTo>
                  <a:lnTo>
                    <a:pt x="2025" y="8"/>
                  </a:lnTo>
                  <a:lnTo>
                    <a:pt x="2113" y="19"/>
                  </a:lnTo>
                  <a:lnTo>
                    <a:pt x="2201" y="33"/>
                  </a:lnTo>
                  <a:lnTo>
                    <a:pt x="2287" y="52"/>
                  </a:lnTo>
                  <a:lnTo>
                    <a:pt x="2374" y="76"/>
                  </a:lnTo>
                  <a:lnTo>
                    <a:pt x="2459" y="104"/>
                  </a:lnTo>
                  <a:lnTo>
                    <a:pt x="2543" y="135"/>
                  </a:lnTo>
                  <a:lnTo>
                    <a:pt x="2626" y="171"/>
                  </a:lnTo>
                  <a:lnTo>
                    <a:pt x="2708" y="211"/>
                  </a:lnTo>
                  <a:lnTo>
                    <a:pt x="2787" y="255"/>
                  </a:lnTo>
                  <a:lnTo>
                    <a:pt x="2865" y="303"/>
                  </a:lnTo>
                  <a:lnTo>
                    <a:pt x="2940" y="356"/>
                  </a:lnTo>
                  <a:lnTo>
                    <a:pt x="3015" y="413"/>
                  </a:lnTo>
                  <a:lnTo>
                    <a:pt x="3086" y="474"/>
                  </a:lnTo>
                  <a:lnTo>
                    <a:pt x="3154" y="53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  <p:sp>
          <p:nvSpPr>
            <p:cNvPr id="57" name="Freeform 16"/>
            <p:cNvSpPr>
              <a:spLocks noEditPoints="1"/>
            </p:cNvSpPr>
            <p:nvPr/>
          </p:nvSpPr>
          <p:spPr bwMode="auto">
            <a:xfrm>
              <a:off x="7440613" y="4868863"/>
              <a:ext cx="1019175" cy="545181"/>
            </a:xfrm>
            <a:custGeom>
              <a:avLst/>
              <a:gdLst/>
              <a:ahLst/>
              <a:cxnLst>
                <a:cxn ang="0">
                  <a:pos x="16025" y="3351"/>
                </a:cxn>
                <a:cxn ang="0">
                  <a:pos x="14975" y="4351"/>
                </a:cxn>
                <a:cxn ang="0">
                  <a:pos x="14184" y="3632"/>
                </a:cxn>
                <a:cxn ang="0">
                  <a:pos x="12564" y="2563"/>
                </a:cxn>
                <a:cxn ang="0">
                  <a:pos x="10805" y="1850"/>
                </a:cxn>
                <a:cxn ang="0">
                  <a:pos x="8960" y="1494"/>
                </a:cxn>
                <a:cxn ang="0">
                  <a:pos x="7087" y="1494"/>
                </a:cxn>
                <a:cxn ang="0">
                  <a:pos x="5243" y="1851"/>
                </a:cxn>
                <a:cxn ang="0">
                  <a:pos x="3483" y="2564"/>
                </a:cxn>
                <a:cxn ang="0">
                  <a:pos x="1864" y="3634"/>
                </a:cxn>
                <a:cxn ang="0">
                  <a:pos x="1075" y="4353"/>
                </a:cxn>
                <a:cxn ang="0">
                  <a:pos x="24" y="3353"/>
                </a:cxn>
                <a:cxn ang="0">
                  <a:pos x="516" y="2880"/>
                </a:cxn>
                <a:cxn ang="0">
                  <a:pos x="2325" y="1549"/>
                </a:cxn>
                <a:cxn ang="0">
                  <a:pos x="4312" y="627"/>
                </a:cxn>
                <a:cxn ang="0">
                  <a:pos x="6413" y="115"/>
                </a:cxn>
                <a:cxn ang="0">
                  <a:pos x="8562" y="13"/>
                </a:cxn>
                <a:cxn ang="0">
                  <a:pos x="10694" y="319"/>
                </a:cxn>
                <a:cxn ang="0">
                  <a:pos x="12747" y="1036"/>
                </a:cxn>
                <a:cxn ang="0">
                  <a:pos x="14654" y="2160"/>
                </a:cxn>
                <a:cxn ang="0">
                  <a:pos x="14055" y="5373"/>
                </a:cxn>
                <a:cxn ang="0">
                  <a:pos x="12871" y="6404"/>
                </a:cxn>
                <a:cxn ang="0">
                  <a:pos x="12058" y="5702"/>
                </a:cxn>
                <a:cxn ang="0">
                  <a:pos x="10898" y="5017"/>
                </a:cxn>
                <a:cxn ang="0">
                  <a:pos x="9649" y="4582"/>
                </a:cxn>
                <a:cxn ang="0">
                  <a:pos x="8352" y="4395"/>
                </a:cxn>
                <a:cxn ang="0">
                  <a:pos x="7044" y="4457"/>
                </a:cxn>
                <a:cxn ang="0">
                  <a:pos x="5767" y="4769"/>
                </a:cxn>
                <a:cxn ang="0">
                  <a:pos x="4558" y="5329"/>
                </a:cxn>
                <a:cxn ang="0">
                  <a:pos x="3457" y="6139"/>
                </a:cxn>
                <a:cxn ang="0">
                  <a:pos x="3129" y="6456"/>
                </a:cxn>
                <a:cxn ang="0">
                  <a:pos x="2045" y="5322"/>
                </a:cxn>
                <a:cxn ang="0">
                  <a:pos x="2731" y="4697"/>
                </a:cxn>
                <a:cxn ang="0">
                  <a:pos x="4122" y="3779"/>
                </a:cxn>
                <a:cxn ang="0">
                  <a:pos x="5635" y="3166"/>
                </a:cxn>
                <a:cxn ang="0">
                  <a:pos x="7219" y="2859"/>
                </a:cxn>
                <a:cxn ang="0">
                  <a:pos x="8829" y="2859"/>
                </a:cxn>
                <a:cxn ang="0">
                  <a:pos x="10413" y="3165"/>
                </a:cxn>
                <a:cxn ang="0">
                  <a:pos x="11926" y="3777"/>
                </a:cxn>
                <a:cxn ang="0">
                  <a:pos x="13318" y="4696"/>
                </a:cxn>
                <a:cxn ang="0">
                  <a:pos x="14005" y="5321"/>
                </a:cxn>
                <a:cxn ang="0">
                  <a:pos x="10854" y="8576"/>
                </a:cxn>
                <a:cxn ang="0">
                  <a:pos x="10754" y="8472"/>
                </a:cxn>
                <a:cxn ang="0">
                  <a:pos x="10150" y="7980"/>
                </a:cxn>
                <a:cxn ang="0">
                  <a:pos x="9479" y="7627"/>
                </a:cxn>
                <a:cxn ang="0">
                  <a:pos x="8762" y="7416"/>
                </a:cxn>
                <a:cxn ang="0">
                  <a:pos x="8025" y="7345"/>
                </a:cxn>
                <a:cxn ang="0">
                  <a:pos x="7287" y="7416"/>
                </a:cxn>
                <a:cxn ang="0">
                  <a:pos x="6571" y="7627"/>
                </a:cxn>
                <a:cxn ang="0">
                  <a:pos x="5900" y="7980"/>
                </a:cxn>
                <a:cxn ang="0">
                  <a:pos x="5297" y="8473"/>
                </a:cxn>
                <a:cxn ang="0">
                  <a:pos x="5198" y="8576"/>
                </a:cxn>
                <a:cxn ang="0">
                  <a:pos x="4197" y="7425"/>
                </a:cxn>
                <a:cxn ang="0">
                  <a:pos x="4843" y="6865"/>
                </a:cxn>
                <a:cxn ang="0">
                  <a:pos x="5758" y="6325"/>
                </a:cxn>
                <a:cxn ang="0">
                  <a:pos x="6743" y="5981"/>
                </a:cxn>
                <a:cxn ang="0">
                  <a:pos x="7766" y="5833"/>
                </a:cxn>
                <a:cxn ang="0">
                  <a:pos x="8797" y="5882"/>
                </a:cxn>
                <a:cxn ang="0">
                  <a:pos x="9806" y="6127"/>
                </a:cxn>
                <a:cxn ang="0">
                  <a:pos x="10760" y="6570"/>
                </a:cxn>
                <a:cxn ang="0">
                  <a:pos x="11627" y="7208"/>
                </a:cxn>
                <a:cxn ang="0">
                  <a:pos x="11903" y="7475"/>
                </a:cxn>
              </a:cxnLst>
              <a:rect l="0" t="0" r="r" b="b"/>
              <a:pathLst>
                <a:path w="16050" h="8576">
                  <a:moveTo>
                    <a:pt x="15950" y="3273"/>
                  </a:moveTo>
                  <a:lnTo>
                    <a:pt x="15975" y="3299"/>
                  </a:lnTo>
                  <a:lnTo>
                    <a:pt x="16000" y="3324"/>
                  </a:lnTo>
                  <a:lnTo>
                    <a:pt x="16025" y="3351"/>
                  </a:lnTo>
                  <a:lnTo>
                    <a:pt x="16050" y="3377"/>
                  </a:lnTo>
                  <a:lnTo>
                    <a:pt x="15025" y="4402"/>
                  </a:lnTo>
                  <a:lnTo>
                    <a:pt x="15000" y="4377"/>
                  </a:lnTo>
                  <a:lnTo>
                    <a:pt x="14975" y="4351"/>
                  </a:lnTo>
                  <a:lnTo>
                    <a:pt x="14950" y="4325"/>
                  </a:lnTo>
                  <a:lnTo>
                    <a:pt x="14923" y="4300"/>
                  </a:lnTo>
                  <a:lnTo>
                    <a:pt x="14560" y="3955"/>
                  </a:lnTo>
                  <a:lnTo>
                    <a:pt x="14184" y="3632"/>
                  </a:lnTo>
                  <a:lnTo>
                    <a:pt x="13796" y="3330"/>
                  </a:lnTo>
                  <a:lnTo>
                    <a:pt x="13396" y="3053"/>
                  </a:lnTo>
                  <a:lnTo>
                    <a:pt x="12984" y="2797"/>
                  </a:lnTo>
                  <a:lnTo>
                    <a:pt x="12564" y="2563"/>
                  </a:lnTo>
                  <a:lnTo>
                    <a:pt x="12136" y="2351"/>
                  </a:lnTo>
                  <a:lnTo>
                    <a:pt x="11698" y="2161"/>
                  </a:lnTo>
                  <a:lnTo>
                    <a:pt x="11254" y="1995"/>
                  </a:lnTo>
                  <a:lnTo>
                    <a:pt x="10805" y="1850"/>
                  </a:lnTo>
                  <a:lnTo>
                    <a:pt x="10349" y="1728"/>
                  </a:lnTo>
                  <a:lnTo>
                    <a:pt x="9889" y="1628"/>
                  </a:lnTo>
                  <a:lnTo>
                    <a:pt x="9426" y="1549"/>
                  </a:lnTo>
                  <a:lnTo>
                    <a:pt x="8960" y="1494"/>
                  </a:lnTo>
                  <a:lnTo>
                    <a:pt x="8492" y="1461"/>
                  </a:lnTo>
                  <a:lnTo>
                    <a:pt x="8024" y="1450"/>
                  </a:lnTo>
                  <a:lnTo>
                    <a:pt x="7556" y="1461"/>
                  </a:lnTo>
                  <a:lnTo>
                    <a:pt x="7087" y="1494"/>
                  </a:lnTo>
                  <a:lnTo>
                    <a:pt x="6622" y="1550"/>
                  </a:lnTo>
                  <a:lnTo>
                    <a:pt x="6158" y="1629"/>
                  </a:lnTo>
                  <a:lnTo>
                    <a:pt x="5699" y="1729"/>
                  </a:lnTo>
                  <a:lnTo>
                    <a:pt x="5243" y="1851"/>
                  </a:lnTo>
                  <a:lnTo>
                    <a:pt x="4793" y="1996"/>
                  </a:lnTo>
                  <a:lnTo>
                    <a:pt x="4350" y="2163"/>
                  </a:lnTo>
                  <a:lnTo>
                    <a:pt x="3912" y="2352"/>
                  </a:lnTo>
                  <a:lnTo>
                    <a:pt x="3483" y="2564"/>
                  </a:lnTo>
                  <a:lnTo>
                    <a:pt x="3064" y="2799"/>
                  </a:lnTo>
                  <a:lnTo>
                    <a:pt x="2652" y="3055"/>
                  </a:lnTo>
                  <a:lnTo>
                    <a:pt x="2253" y="3332"/>
                  </a:lnTo>
                  <a:lnTo>
                    <a:pt x="1864" y="3634"/>
                  </a:lnTo>
                  <a:lnTo>
                    <a:pt x="1488" y="3957"/>
                  </a:lnTo>
                  <a:lnTo>
                    <a:pt x="1125" y="4302"/>
                  </a:lnTo>
                  <a:lnTo>
                    <a:pt x="1099" y="4327"/>
                  </a:lnTo>
                  <a:lnTo>
                    <a:pt x="1075" y="4353"/>
                  </a:lnTo>
                  <a:lnTo>
                    <a:pt x="1050" y="4378"/>
                  </a:lnTo>
                  <a:lnTo>
                    <a:pt x="1025" y="4404"/>
                  </a:lnTo>
                  <a:lnTo>
                    <a:pt x="0" y="3378"/>
                  </a:lnTo>
                  <a:lnTo>
                    <a:pt x="24" y="3353"/>
                  </a:lnTo>
                  <a:lnTo>
                    <a:pt x="49" y="3326"/>
                  </a:lnTo>
                  <a:lnTo>
                    <a:pt x="74" y="3301"/>
                  </a:lnTo>
                  <a:lnTo>
                    <a:pt x="99" y="3276"/>
                  </a:lnTo>
                  <a:lnTo>
                    <a:pt x="516" y="2880"/>
                  </a:lnTo>
                  <a:lnTo>
                    <a:pt x="948" y="2509"/>
                  </a:lnTo>
                  <a:lnTo>
                    <a:pt x="1394" y="2162"/>
                  </a:lnTo>
                  <a:lnTo>
                    <a:pt x="1854" y="1843"/>
                  </a:lnTo>
                  <a:lnTo>
                    <a:pt x="2325" y="1549"/>
                  </a:lnTo>
                  <a:lnTo>
                    <a:pt x="2808" y="1280"/>
                  </a:lnTo>
                  <a:lnTo>
                    <a:pt x="3301" y="1037"/>
                  </a:lnTo>
                  <a:lnTo>
                    <a:pt x="3803" y="820"/>
                  </a:lnTo>
                  <a:lnTo>
                    <a:pt x="4312" y="627"/>
                  </a:lnTo>
                  <a:lnTo>
                    <a:pt x="4830" y="461"/>
                  </a:lnTo>
                  <a:lnTo>
                    <a:pt x="5353" y="320"/>
                  </a:lnTo>
                  <a:lnTo>
                    <a:pt x="5881" y="205"/>
                  </a:lnTo>
                  <a:lnTo>
                    <a:pt x="6413" y="115"/>
                  </a:lnTo>
                  <a:lnTo>
                    <a:pt x="6949" y="51"/>
                  </a:lnTo>
                  <a:lnTo>
                    <a:pt x="7485" y="13"/>
                  </a:lnTo>
                  <a:lnTo>
                    <a:pt x="8024" y="0"/>
                  </a:lnTo>
                  <a:lnTo>
                    <a:pt x="8562" y="13"/>
                  </a:lnTo>
                  <a:lnTo>
                    <a:pt x="9099" y="51"/>
                  </a:lnTo>
                  <a:lnTo>
                    <a:pt x="9634" y="115"/>
                  </a:lnTo>
                  <a:lnTo>
                    <a:pt x="10167" y="205"/>
                  </a:lnTo>
                  <a:lnTo>
                    <a:pt x="10694" y="319"/>
                  </a:lnTo>
                  <a:lnTo>
                    <a:pt x="11218" y="460"/>
                  </a:lnTo>
                  <a:lnTo>
                    <a:pt x="11735" y="626"/>
                  </a:lnTo>
                  <a:lnTo>
                    <a:pt x="12245" y="818"/>
                  </a:lnTo>
                  <a:lnTo>
                    <a:pt x="12747" y="1036"/>
                  </a:lnTo>
                  <a:lnTo>
                    <a:pt x="13239" y="1278"/>
                  </a:lnTo>
                  <a:lnTo>
                    <a:pt x="13722" y="1547"/>
                  </a:lnTo>
                  <a:lnTo>
                    <a:pt x="14194" y="1841"/>
                  </a:lnTo>
                  <a:lnTo>
                    <a:pt x="14654" y="2160"/>
                  </a:lnTo>
                  <a:lnTo>
                    <a:pt x="15100" y="2506"/>
                  </a:lnTo>
                  <a:lnTo>
                    <a:pt x="15532" y="2877"/>
                  </a:lnTo>
                  <a:lnTo>
                    <a:pt x="15950" y="3273"/>
                  </a:lnTo>
                  <a:close/>
                  <a:moveTo>
                    <a:pt x="14055" y="5373"/>
                  </a:moveTo>
                  <a:lnTo>
                    <a:pt x="12946" y="6481"/>
                  </a:lnTo>
                  <a:lnTo>
                    <a:pt x="12921" y="6456"/>
                  </a:lnTo>
                  <a:lnTo>
                    <a:pt x="12897" y="6430"/>
                  </a:lnTo>
                  <a:lnTo>
                    <a:pt x="12871" y="6404"/>
                  </a:lnTo>
                  <a:lnTo>
                    <a:pt x="12846" y="6379"/>
                  </a:lnTo>
                  <a:lnTo>
                    <a:pt x="12592" y="6137"/>
                  </a:lnTo>
                  <a:lnTo>
                    <a:pt x="12329" y="5912"/>
                  </a:lnTo>
                  <a:lnTo>
                    <a:pt x="12058" y="5702"/>
                  </a:lnTo>
                  <a:lnTo>
                    <a:pt x="11778" y="5507"/>
                  </a:lnTo>
                  <a:lnTo>
                    <a:pt x="11491" y="5328"/>
                  </a:lnTo>
                  <a:lnTo>
                    <a:pt x="11198" y="5165"/>
                  </a:lnTo>
                  <a:lnTo>
                    <a:pt x="10898" y="5017"/>
                  </a:lnTo>
                  <a:lnTo>
                    <a:pt x="10592" y="4885"/>
                  </a:lnTo>
                  <a:lnTo>
                    <a:pt x="10282" y="4768"/>
                  </a:lnTo>
                  <a:lnTo>
                    <a:pt x="9967" y="4667"/>
                  </a:lnTo>
                  <a:lnTo>
                    <a:pt x="9649" y="4582"/>
                  </a:lnTo>
                  <a:lnTo>
                    <a:pt x="9328" y="4512"/>
                  </a:lnTo>
                  <a:lnTo>
                    <a:pt x="9004" y="4457"/>
                  </a:lnTo>
                  <a:lnTo>
                    <a:pt x="8679" y="4418"/>
                  </a:lnTo>
                  <a:lnTo>
                    <a:pt x="8352" y="4395"/>
                  </a:lnTo>
                  <a:lnTo>
                    <a:pt x="8024" y="4387"/>
                  </a:lnTo>
                  <a:lnTo>
                    <a:pt x="7697" y="4395"/>
                  </a:lnTo>
                  <a:lnTo>
                    <a:pt x="7370" y="4418"/>
                  </a:lnTo>
                  <a:lnTo>
                    <a:pt x="7044" y="4457"/>
                  </a:lnTo>
                  <a:lnTo>
                    <a:pt x="6721" y="4512"/>
                  </a:lnTo>
                  <a:lnTo>
                    <a:pt x="6399" y="4582"/>
                  </a:lnTo>
                  <a:lnTo>
                    <a:pt x="6081" y="4668"/>
                  </a:lnTo>
                  <a:lnTo>
                    <a:pt x="5767" y="4769"/>
                  </a:lnTo>
                  <a:lnTo>
                    <a:pt x="5457" y="4886"/>
                  </a:lnTo>
                  <a:lnTo>
                    <a:pt x="5151" y="5018"/>
                  </a:lnTo>
                  <a:lnTo>
                    <a:pt x="4851" y="5166"/>
                  </a:lnTo>
                  <a:lnTo>
                    <a:pt x="4558" y="5329"/>
                  </a:lnTo>
                  <a:lnTo>
                    <a:pt x="4271" y="5509"/>
                  </a:lnTo>
                  <a:lnTo>
                    <a:pt x="3991" y="5703"/>
                  </a:lnTo>
                  <a:lnTo>
                    <a:pt x="3720" y="5913"/>
                  </a:lnTo>
                  <a:lnTo>
                    <a:pt x="3457" y="6139"/>
                  </a:lnTo>
                  <a:lnTo>
                    <a:pt x="3203" y="6380"/>
                  </a:lnTo>
                  <a:lnTo>
                    <a:pt x="3178" y="6406"/>
                  </a:lnTo>
                  <a:lnTo>
                    <a:pt x="3154" y="6431"/>
                  </a:lnTo>
                  <a:lnTo>
                    <a:pt x="3129" y="6456"/>
                  </a:lnTo>
                  <a:lnTo>
                    <a:pt x="3104" y="6482"/>
                  </a:lnTo>
                  <a:lnTo>
                    <a:pt x="1996" y="5374"/>
                  </a:lnTo>
                  <a:lnTo>
                    <a:pt x="2020" y="5348"/>
                  </a:lnTo>
                  <a:lnTo>
                    <a:pt x="2045" y="5322"/>
                  </a:lnTo>
                  <a:lnTo>
                    <a:pt x="2069" y="5297"/>
                  </a:lnTo>
                  <a:lnTo>
                    <a:pt x="2095" y="5272"/>
                  </a:lnTo>
                  <a:lnTo>
                    <a:pt x="2406" y="4975"/>
                  </a:lnTo>
                  <a:lnTo>
                    <a:pt x="2731" y="4697"/>
                  </a:lnTo>
                  <a:lnTo>
                    <a:pt x="3065" y="4439"/>
                  </a:lnTo>
                  <a:lnTo>
                    <a:pt x="3408" y="4199"/>
                  </a:lnTo>
                  <a:lnTo>
                    <a:pt x="3761" y="3980"/>
                  </a:lnTo>
                  <a:lnTo>
                    <a:pt x="4122" y="3779"/>
                  </a:lnTo>
                  <a:lnTo>
                    <a:pt x="4491" y="3596"/>
                  </a:lnTo>
                  <a:lnTo>
                    <a:pt x="4866" y="3434"/>
                  </a:lnTo>
                  <a:lnTo>
                    <a:pt x="5247" y="3290"/>
                  </a:lnTo>
                  <a:lnTo>
                    <a:pt x="5635" y="3166"/>
                  </a:lnTo>
                  <a:lnTo>
                    <a:pt x="6026" y="3061"/>
                  </a:lnTo>
                  <a:lnTo>
                    <a:pt x="6421" y="2974"/>
                  </a:lnTo>
                  <a:lnTo>
                    <a:pt x="6819" y="2907"/>
                  </a:lnTo>
                  <a:lnTo>
                    <a:pt x="7219" y="2859"/>
                  </a:lnTo>
                  <a:lnTo>
                    <a:pt x="7622" y="2831"/>
                  </a:lnTo>
                  <a:lnTo>
                    <a:pt x="8024" y="2821"/>
                  </a:lnTo>
                  <a:lnTo>
                    <a:pt x="8427" y="2831"/>
                  </a:lnTo>
                  <a:lnTo>
                    <a:pt x="8829" y="2859"/>
                  </a:lnTo>
                  <a:lnTo>
                    <a:pt x="9229" y="2907"/>
                  </a:lnTo>
                  <a:lnTo>
                    <a:pt x="9627" y="2973"/>
                  </a:lnTo>
                  <a:lnTo>
                    <a:pt x="10022" y="3060"/>
                  </a:lnTo>
                  <a:lnTo>
                    <a:pt x="10413" y="3165"/>
                  </a:lnTo>
                  <a:lnTo>
                    <a:pt x="10801" y="3289"/>
                  </a:lnTo>
                  <a:lnTo>
                    <a:pt x="11182" y="3433"/>
                  </a:lnTo>
                  <a:lnTo>
                    <a:pt x="11558" y="3595"/>
                  </a:lnTo>
                  <a:lnTo>
                    <a:pt x="11926" y="3777"/>
                  </a:lnTo>
                  <a:lnTo>
                    <a:pt x="12287" y="3978"/>
                  </a:lnTo>
                  <a:lnTo>
                    <a:pt x="12640" y="4198"/>
                  </a:lnTo>
                  <a:lnTo>
                    <a:pt x="12984" y="4437"/>
                  </a:lnTo>
                  <a:lnTo>
                    <a:pt x="13318" y="4696"/>
                  </a:lnTo>
                  <a:lnTo>
                    <a:pt x="13641" y="4973"/>
                  </a:lnTo>
                  <a:lnTo>
                    <a:pt x="13954" y="5270"/>
                  </a:lnTo>
                  <a:lnTo>
                    <a:pt x="13980" y="5295"/>
                  </a:lnTo>
                  <a:lnTo>
                    <a:pt x="14005" y="5321"/>
                  </a:lnTo>
                  <a:lnTo>
                    <a:pt x="14030" y="5347"/>
                  </a:lnTo>
                  <a:lnTo>
                    <a:pt x="14055" y="5373"/>
                  </a:lnTo>
                  <a:close/>
                  <a:moveTo>
                    <a:pt x="11928" y="7501"/>
                  </a:moveTo>
                  <a:lnTo>
                    <a:pt x="10854" y="8576"/>
                  </a:lnTo>
                  <a:lnTo>
                    <a:pt x="10829" y="8549"/>
                  </a:lnTo>
                  <a:lnTo>
                    <a:pt x="10805" y="8523"/>
                  </a:lnTo>
                  <a:lnTo>
                    <a:pt x="10780" y="8498"/>
                  </a:lnTo>
                  <a:lnTo>
                    <a:pt x="10754" y="8472"/>
                  </a:lnTo>
                  <a:lnTo>
                    <a:pt x="10610" y="8336"/>
                  </a:lnTo>
                  <a:lnTo>
                    <a:pt x="10462" y="8208"/>
                  </a:lnTo>
                  <a:lnTo>
                    <a:pt x="10307" y="8089"/>
                  </a:lnTo>
                  <a:lnTo>
                    <a:pt x="10150" y="7980"/>
                  </a:lnTo>
                  <a:lnTo>
                    <a:pt x="9987" y="7878"/>
                  </a:lnTo>
                  <a:lnTo>
                    <a:pt x="9821" y="7785"/>
                  </a:lnTo>
                  <a:lnTo>
                    <a:pt x="9651" y="7702"/>
                  </a:lnTo>
                  <a:lnTo>
                    <a:pt x="9479" y="7627"/>
                  </a:lnTo>
                  <a:lnTo>
                    <a:pt x="9303" y="7561"/>
                  </a:lnTo>
                  <a:lnTo>
                    <a:pt x="9124" y="7504"/>
                  </a:lnTo>
                  <a:lnTo>
                    <a:pt x="8945" y="7456"/>
                  </a:lnTo>
                  <a:lnTo>
                    <a:pt x="8762" y="7416"/>
                  </a:lnTo>
                  <a:lnTo>
                    <a:pt x="8580" y="7384"/>
                  </a:lnTo>
                  <a:lnTo>
                    <a:pt x="8395" y="7362"/>
                  </a:lnTo>
                  <a:lnTo>
                    <a:pt x="8210" y="7349"/>
                  </a:lnTo>
                  <a:lnTo>
                    <a:pt x="8025" y="7345"/>
                  </a:lnTo>
                  <a:lnTo>
                    <a:pt x="7839" y="7349"/>
                  </a:lnTo>
                  <a:lnTo>
                    <a:pt x="7655" y="7363"/>
                  </a:lnTo>
                  <a:lnTo>
                    <a:pt x="7470" y="7385"/>
                  </a:lnTo>
                  <a:lnTo>
                    <a:pt x="7287" y="7416"/>
                  </a:lnTo>
                  <a:lnTo>
                    <a:pt x="7105" y="7456"/>
                  </a:lnTo>
                  <a:lnTo>
                    <a:pt x="6926" y="7504"/>
                  </a:lnTo>
                  <a:lnTo>
                    <a:pt x="6747" y="7561"/>
                  </a:lnTo>
                  <a:lnTo>
                    <a:pt x="6571" y="7627"/>
                  </a:lnTo>
                  <a:lnTo>
                    <a:pt x="6399" y="7703"/>
                  </a:lnTo>
                  <a:lnTo>
                    <a:pt x="6229" y="7786"/>
                  </a:lnTo>
                  <a:lnTo>
                    <a:pt x="6063" y="7878"/>
                  </a:lnTo>
                  <a:lnTo>
                    <a:pt x="5900" y="7980"/>
                  </a:lnTo>
                  <a:lnTo>
                    <a:pt x="5742" y="8090"/>
                  </a:lnTo>
                  <a:lnTo>
                    <a:pt x="5588" y="8209"/>
                  </a:lnTo>
                  <a:lnTo>
                    <a:pt x="5440" y="8337"/>
                  </a:lnTo>
                  <a:lnTo>
                    <a:pt x="5297" y="8473"/>
                  </a:lnTo>
                  <a:lnTo>
                    <a:pt x="5271" y="8498"/>
                  </a:lnTo>
                  <a:lnTo>
                    <a:pt x="5246" y="8524"/>
                  </a:lnTo>
                  <a:lnTo>
                    <a:pt x="5222" y="8550"/>
                  </a:lnTo>
                  <a:lnTo>
                    <a:pt x="5198" y="8576"/>
                  </a:lnTo>
                  <a:lnTo>
                    <a:pt x="4123" y="7501"/>
                  </a:lnTo>
                  <a:lnTo>
                    <a:pt x="4147" y="7476"/>
                  </a:lnTo>
                  <a:lnTo>
                    <a:pt x="4172" y="7450"/>
                  </a:lnTo>
                  <a:lnTo>
                    <a:pt x="4197" y="7425"/>
                  </a:lnTo>
                  <a:lnTo>
                    <a:pt x="4222" y="7399"/>
                  </a:lnTo>
                  <a:lnTo>
                    <a:pt x="4422" y="7209"/>
                  </a:lnTo>
                  <a:lnTo>
                    <a:pt x="4629" y="7030"/>
                  </a:lnTo>
                  <a:lnTo>
                    <a:pt x="4843" y="6865"/>
                  </a:lnTo>
                  <a:lnTo>
                    <a:pt x="5064" y="6711"/>
                  </a:lnTo>
                  <a:lnTo>
                    <a:pt x="5290" y="6571"/>
                  </a:lnTo>
                  <a:lnTo>
                    <a:pt x="5522" y="6441"/>
                  </a:lnTo>
                  <a:lnTo>
                    <a:pt x="5758" y="6325"/>
                  </a:lnTo>
                  <a:lnTo>
                    <a:pt x="6000" y="6220"/>
                  </a:lnTo>
                  <a:lnTo>
                    <a:pt x="6243" y="6128"/>
                  </a:lnTo>
                  <a:lnTo>
                    <a:pt x="6492" y="6048"/>
                  </a:lnTo>
                  <a:lnTo>
                    <a:pt x="6743" y="5981"/>
                  </a:lnTo>
                  <a:lnTo>
                    <a:pt x="6997" y="5925"/>
                  </a:lnTo>
                  <a:lnTo>
                    <a:pt x="7252" y="5882"/>
                  </a:lnTo>
                  <a:lnTo>
                    <a:pt x="7508" y="5851"/>
                  </a:lnTo>
                  <a:lnTo>
                    <a:pt x="7766" y="5833"/>
                  </a:lnTo>
                  <a:lnTo>
                    <a:pt x="8025" y="5827"/>
                  </a:lnTo>
                  <a:lnTo>
                    <a:pt x="8283" y="5833"/>
                  </a:lnTo>
                  <a:lnTo>
                    <a:pt x="8541" y="5851"/>
                  </a:lnTo>
                  <a:lnTo>
                    <a:pt x="8797" y="5882"/>
                  </a:lnTo>
                  <a:lnTo>
                    <a:pt x="9053" y="5925"/>
                  </a:lnTo>
                  <a:lnTo>
                    <a:pt x="9306" y="5981"/>
                  </a:lnTo>
                  <a:lnTo>
                    <a:pt x="9557" y="6048"/>
                  </a:lnTo>
                  <a:lnTo>
                    <a:pt x="9806" y="6127"/>
                  </a:lnTo>
                  <a:lnTo>
                    <a:pt x="10050" y="6219"/>
                  </a:lnTo>
                  <a:lnTo>
                    <a:pt x="10291" y="6324"/>
                  </a:lnTo>
                  <a:lnTo>
                    <a:pt x="10528" y="6440"/>
                  </a:lnTo>
                  <a:lnTo>
                    <a:pt x="10760" y="6570"/>
                  </a:lnTo>
                  <a:lnTo>
                    <a:pt x="10985" y="6710"/>
                  </a:lnTo>
                  <a:lnTo>
                    <a:pt x="11206" y="6864"/>
                  </a:lnTo>
                  <a:lnTo>
                    <a:pt x="11421" y="7029"/>
                  </a:lnTo>
                  <a:lnTo>
                    <a:pt x="11627" y="7208"/>
                  </a:lnTo>
                  <a:lnTo>
                    <a:pt x="11828" y="7398"/>
                  </a:lnTo>
                  <a:lnTo>
                    <a:pt x="11853" y="7424"/>
                  </a:lnTo>
                  <a:lnTo>
                    <a:pt x="11878" y="7449"/>
                  </a:lnTo>
                  <a:lnTo>
                    <a:pt x="11903" y="7475"/>
                  </a:lnTo>
                  <a:lnTo>
                    <a:pt x="11928" y="750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 sz="1000">
                <a:latin typeface="+mn-lt"/>
              </a:endParaRPr>
            </a:p>
          </p:txBody>
        </p:sp>
      </p:grpSp>
      <p:sp>
        <p:nvSpPr>
          <p:cNvPr id="58" name="矩形 278"/>
          <p:cNvSpPr>
            <a:spLocks noChangeArrowheads="1"/>
          </p:cNvSpPr>
          <p:nvPr/>
        </p:nvSpPr>
        <p:spPr bwMode="auto">
          <a:xfrm>
            <a:off x="6426200" y="2430463"/>
            <a:ext cx="60483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ETRA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9" name="矩形 278"/>
          <p:cNvSpPr>
            <a:spLocks noChangeArrowheads="1"/>
          </p:cNvSpPr>
          <p:nvPr/>
        </p:nvSpPr>
        <p:spPr bwMode="auto">
          <a:xfrm>
            <a:off x="6442075" y="2840038"/>
            <a:ext cx="6159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nternet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cxnSp>
        <p:nvCxnSpPr>
          <p:cNvPr id="60" name="直接连接符 59"/>
          <p:cNvCxnSpPr/>
          <p:nvPr/>
        </p:nvCxnSpPr>
        <p:spPr bwMode="auto">
          <a:xfrm flipH="1">
            <a:off x="5737225" y="2509838"/>
            <a:ext cx="620713" cy="257175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</p:cxnSp>
      <p:cxnSp>
        <p:nvCxnSpPr>
          <p:cNvPr id="61" name="直接连接符 60"/>
          <p:cNvCxnSpPr/>
          <p:nvPr/>
        </p:nvCxnSpPr>
        <p:spPr bwMode="auto">
          <a:xfrm flipH="1" flipV="1">
            <a:off x="5753100" y="2774950"/>
            <a:ext cx="561975" cy="192088"/>
          </a:xfrm>
          <a:prstGeom prst="lin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</p:cxnSp>
      <p:pic>
        <p:nvPicPr>
          <p:cNvPr id="63" name="Picture 1"/>
          <p:cNvPicPr>
            <a:picLocks noChangeArrowheads="1"/>
          </p:cNvPicPr>
          <p:nvPr/>
        </p:nvPicPr>
        <p:blipFill>
          <a:blip r:embed="rId10" cstate="print">
            <a:clrChange>
              <a:clrFrom>
                <a:srgbClr val="91ACAD"/>
              </a:clrFrom>
              <a:clrTo>
                <a:srgbClr val="91ACA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19199" y="1566203"/>
            <a:ext cx="1224000" cy="5076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grpSp>
        <p:nvGrpSpPr>
          <p:cNvPr id="9" name="组合 1026"/>
          <p:cNvGrpSpPr>
            <a:grpSpLocks/>
          </p:cNvGrpSpPr>
          <p:nvPr/>
        </p:nvGrpSpPr>
        <p:grpSpPr bwMode="auto">
          <a:xfrm>
            <a:off x="2997200" y="2190750"/>
            <a:ext cx="2638425" cy="249238"/>
            <a:chOff x="2705100" y="2739178"/>
            <a:chExt cx="3158109" cy="559753"/>
          </a:xfrm>
        </p:grpSpPr>
        <p:grpSp>
          <p:nvGrpSpPr>
            <p:cNvPr id="10" name="组合 1024"/>
            <p:cNvGrpSpPr>
              <a:grpSpLocks/>
            </p:cNvGrpSpPr>
            <p:nvPr/>
          </p:nvGrpSpPr>
          <p:grpSpPr bwMode="auto">
            <a:xfrm>
              <a:off x="2705100" y="2739178"/>
              <a:ext cx="614363" cy="559753"/>
              <a:chOff x="2624138" y="2665413"/>
              <a:chExt cx="714375" cy="650875"/>
            </a:xfrm>
          </p:grpSpPr>
          <p:sp>
            <p:nvSpPr>
              <p:cNvPr id="70" name="任意多边形 190"/>
              <p:cNvSpPr>
                <a:spLocks/>
              </p:cNvSpPr>
              <p:nvPr/>
            </p:nvSpPr>
            <p:spPr bwMode="auto">
              <a:xfrm flipH="1">
                <a:off x="2624138" y="2880989"/>
                <a:ext cx="616456" cy="435299"/>
              </a:xfrm>
              <a:custGeom>
                <a:avLst/>
                <a:gdLst>
                  <a:gd name="T0" fmla="*/ 0 w 790223"/>
                  <a:gd name="T1" fmla="*/ 22027 h 575733"/>
                  <a:gd name="T2" fmla="*/ 224053 w 790223"/>
                  <a:gd name="T3" fmla="*/ 9071 h 575733"/>
                  <a:gd name="T4" fmla="*/ 560133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71" name="任意多边形 191"/>
              <p:cNvSpPr>
                <a:spLocks/>
              </p:cNvSpPr>
              <p:nvPr/>
            </p:nvSpPr>
            <p:spPr bwMode="auto">
              <a:xfrm flipH="1">
                <a:off x="2666120" y="2764910"/>
                <a:ext cx="616455" cy="431152"/>
              </a:xfrm>
              <a:custGeom>
                <a:avLst/>
                <a:gdLst>
                  <a:gd name="T0" fmla="*/ 0 w 790223"/>
                  <a:gd name="T1" fmla="*/ 22027 h 575733"/>
                  <a:gd name="T2" fmla="*/ 225207 w 790223"/>
                  <a:gd name="T3" fmla="*/ 9071 h 575733"/>
                  <a:gd name="T4" fmla="*/ 563018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72" name="任意多边形 192"/>
              <p:cNvSpPr>
                <a:spLocks/>
              </p:cNvSpPr>
              <p:nvPr/>
            </p:nvSpPr>
            <p:spPr bwMode="auto">
              <a:xfrm flipH="1">
                <a:off x="2719148" y="2665413"/>
                <a:ext cx="618665" cy="435299"/>
              </a:xfrm>
              <a:custGeom>
                <a:avLst/>
                <a:gdLst>
                  <a:gd name="T0" fmla="*/ 0 w 790223"/>
                  <a:gd name="T1" fmla="*/ 22027 h 575733"/>
                  <a:gd name="T2" fmla="*/ 225207 w 790223"/>
                  <a:gd name="T3" fmla="*/ 9071 h 575733"/>
                  <a:gd name="T4" fmla="*/ 563018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</p:grpSp>
        <p:grpSp>
          <p:nvGrpSpPr>
            <p:cNvPr id="11" name="组合 384"/>
            <p:cNvGrpSpPr>
              <a:grpSpLocks/>
            </p:cNvGrpSpPr>
            <p:nvPr/>
          </p:nvGrpSpPr>
          <p:grpSpPr bwMode="auto">
            <a:xfrm flipH="1">
              <a:off x="5248846" y="2739178"/>
              <a:ext cx="614363" cy="559753"/>
              <a:chOff x="2624138" y="2665413"/>
              <a:chExt cx="714375" cy="650875"/>
            </a:xfrm>
          </p:grpSpPr>
          <p:sp>
            <p:nvSpPr>
              <p:cNvPr id="67" name="任意多边形 190"/>
              <p:cNvSpPr>
                <a:spLocks/>
              </p:cNvSpPr>
              <p:nvPr/>
            </p:nvSpPr>
            <p:spPr bwMode="auto">
              <a:xfrm flipH="1">
                <a:off x="2624138" y="2880989"/>
                <a:ext cx="616455" cy="435299"/>
              </a:xfrm>
              <a:custGeom>
                <a:avLst/>
                <a:gdLst>
                  <a:gd name="T0" fmla="*/ 0 w 790223"/>
                  <a:gd name="T1" fmla="*/ 22027 h 575733"/>
                  <a:gd name="T2" fmla="*/ 224053 w 790223"/>
                  <a:gd name="T3" fmla="*/ 9071 h 575733"/>
                  <a:gd name="T4" fmla="*/ 560133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68" name="任意多边形 191"/>
              <p:cNvSpPr>
                <a:spLocks/>
              </p:cNvSpPr>
              <p:nvPr/>
            </p:nvSpPr>
            <p:spPr bwMode="auto">
              <a:xfrm flipH="1">
                <a:off x="2666118" y="2764910"/>
                <a:ext cx="616456" cy="431152"/>
              </a:xfrm>
              <a:custGeom>
                <a:avLst/>
                <a:gdLst>
                  <a:gd name="T0" fmla="*/ 0 w 790223"/>
                  <a:gd name="T1" fmla="*/ 22027 h 575733"/>
                  <a:gd name="T2" fmla="*/ 225207 w 790223"/>
                  <a:gd name="T3" fmla="*/ 9071 h 575733"/>
                  <a:gd name="T4" fmla="*/ 563018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  <p:sp>
            <p:nvSpPr>
              <p:cNvPr id="69" name="任意多边形 192"/>
              <p:cNvSpPr>
                <a:spLocks/>
              </p:cNvSpPr>
              <p:nvPr/>
            </p:nvSpPr>
            <p:spPr bwMode="auto">
              <a:xfrm flipH="1">
                <a:off x="2719147" y="2665413"/>
                <a:ext cx="618665" cy="435299"/>
              </a:xfrm>
              <a:custGeom>
                <a:avLst/>
                <a:gdLst>
                  <a:gd name="T0" fmla="*/ 0 w 790223"/>
                  <a:gd name="T1" fmla="*/ 22027 h 575733"/>
                  <a:gd name="T2" fmla="*/ 225207 w 790223"/>
                  <a:gd name="T3" fmla="*/ 9071 h 575733"/>
                  <a:gd name="T4" fmla="*/ 563018 w 790223"/>
                  <a:gd name="T5" fmla="*/ 0 h 575733"/>
                  <a:gd name="T6" fmla="*/ 0 60000 65536"/>
                  <a:gd name="T7" fmla="*/ 0 60000 65536"/>
                  <a:gd name="T8" fmla="*/ 0 60000 65536"/>
                  <a:gd name="T9" fmla="*/ 0 w 790223"/>
                  <a:gd name="T10" fmla="*/ 0 h 575733"/>
                  <a:gd name="T11" fmla="*/ 790223 w 790223"/>
                  <a:gd name="T12" fmla="*/ 575733 h 57573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90223" h="575733">
                    <a:moveTo>
                      <a:pt x="0" y="575733"/>
                    </a:moveTo>
                    <a:cubicBezTo>
                      <a:pt x="92192" y="454377"/>
                      <a:pt x="184385" y="333022"/>
                      <a:pt x="316089" y="237066"/>
                    </a:cubicBezTo>
                    <a:cubicBezTo>
                      <a:pt x="447793" y="141111"/>
                      <a:pt x="619008" y="70555"/>
                      <a:pt x="790223" y="0"/>
                    </a:cubicBezTo>
                  </a:path>
                </a:pathLst>
              </a:custGeom>
              <a:noFill/>
              <a:ln w="28575">
                <a:solidFill>
                  <a:srgbClr val="FF0000"/>
                </a:solidFill>
                <a:prstDash val="sysDash"/>
                <a:round/>
                <a:headEnd type="none" w="med" len="med"/>
                <a:tailEnd type="triangle" w="med" len="med"/>
              </a:ln>
              <a:extLst>
                <a:ext uri="{909E8E84-426E-40DD-AFC4-6F175D3DCCD1}"/>
              </a:extLst>
            </p:spPr>
            <p:txBody>
              <a:bodyPr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kern="0" dirty="0">
                  <a:solidFill>
                    <a:srgbClr val="00B0F0"/>
                  </a:solidFill>
                  <a:latin typeface="+mj-lt"/>
                  <a:ea typeface="宋体" charset="-122"/>
                  <a:cs typeface="Arial" pitchFamily="34" charset="0"/>
                </a:endParaRPr>
              </a:p>
            </p:txBody>
          </p:sp>
        </p:grpSp>
      </p:grpSp>
      <p:pic>
        <p:nvPicPr>
          <p:cNvPr id="56368" name="图片 28" descr="Img201107140023_N.JP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48150" y="1163638"/>
            <a:ext cx="749300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69" name="Picture 1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27413" y="1608138"/>
            <a:ext cx="750887" cy="38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70" name="Picture 1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86613" y="1223963"/>
            <a:ext cx="298450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" name="矩形 75"/>
          <p:cNvSpPr/>
          <p:nvPr/>
        </p:nvSpPr>
        <p:spPr>
          <a:xfrm>
            <a:off x="6606108" y="4155926"/>
            <a:ext cx="1638300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Arial" pitchFamily="34" charset="0"/>
              </a:rPr>
              <a:t>Mobile law enforcement</a:t>
            </a:r>
          </a:p>
        </p:txBody>
      </p:sp>
      <p:grpSp>
        <p:nvGrpSpPr>
          <p:cNvPr id="14" name="组合 139"/>
          <p:cNvGrpSpPr>
            <a:grpSpLocks/>
          </p:cNvGrpSpPr>
          <p:nvPr/>
        </p:nvGrpSpPr>
        <p:grpSpPr bwMode="auto">
          <a:xfrm>
            <a:off x="6727825" y="3525838"/>
            <a:ext cx="123825" cy="115887"/>
            <a:chOff x="6026662" y="3058750"/>
            <a:chExt cx="123346" cy="115887"/>
          </a:xfrm>
        </p:grpSpPr>
        <p:sp>
          <p:nvSpPr>
            <p:cNvPr id="78" name="Freeform 92"/>
            <p:cNvSpPr>
              <a:spLocks/>
            </p:cNvSpPr>
            <p:nvPr/>
          </p:nvSpPr>
          <p:spPr bwMode="auto">
            <a:xfrm>
              <a:off x="6034569" y="3058750"/>
              <a:ext cx="115439" cy="112712"/>
            </a:xfrm>
            <a:custGeom>
              <a:avLst/>
              <a:gdLst/>
              <a:ahLst/>
              <a:cxnLst>
                <a:cxn ang="0">
                  <a:pos x="241" y="331"/>
                </a:cxn>
                <a:cxn ang="0">
                  <a:pos x="251" y="334"/>
                </a:cxn>
                <a:cxn ang="0">
                  <a:pos x="291" y="337"/>
                </a:cxn>
                <a:cxn ang="0">
                  <a:pos x="303" y="334"/>
                </a:cxn>
                <a:cxn ang="0">
                  <a:pos x="307" y="329"/>
                </a:cxn>
                <a:cxn ang="0">
                  <a:pos x="308" y="322"/>
                </a:cxn>
                <a:cxn ang="0">
                  <a:pos x="307" y="263"/>
                </a:cxn>
                <a:cxn ang="0">
                  <a:pos x="293" y="204"/>
                </a:cxn>
                <a:cxn ang="0">
                  <a:pos x="268" y="150"/>
                </a:cxn>
                <a:cxn ang="0">
                  <a:pos x="232" y="101"/>
                </a:cxn>
                <a:cxn ang="0">
                  <a:pos x="221" y="88"/>
                </a:cxn>
                <a:cxn ang="0">
                  <a:pos x="199" y="69"/>
                </a:cxn>
                <a:cxn ang="0">
                  <a:pos x="153" y="37"/>
                </a:cxn>
                <a:cxn ang="0">
                  <a:pos x="101" y="15"/>
                </a:cxn>
                <a:cxn ang="0">
                  <a:pos x="47" y="2"/>
                </a:cxn>
                <a:cxn ang="0">
                  <a:pos x="18" y="0"/>
                </a:cxn>
                <a:cxn ang="0">
                  <a:pos x="6" y="3"/>
                </a:cxn>
                <a:cxn ang="0">
                  <a:pos x="1" y="13"/>
                </a:cxn>
                <a:cxn ang="0">
                  <a:pos x="0" y="56"/>
                </a:cxn>
                <a:cxn ang="0">
                  <a:pos x="5" y="67"/>
                </a:cxn>
                <a:cxn ang="0">
                  <a:pos x="10" y="71"/>
                </a:cxn>
                <a:cxn ang="0">
                  <a:pos x="15" y="73"/>
                </a:cxn>
                <a:cxn ang="0">
                  <a:pos x="57" y="78"/>
                </a:cxn>
                <a:cxn ang="0">
                  <a:pos x="97" y="91"/>
                </a:cxn>
                <a:cxn ang="0">
                  <a:pos x="134" y="113"/>
                </a:cxn>
                <a:cxn ang="0">
                  <a:pos x="168" y="140"/>
                </a:cxn>
                <a:cxn ang="0">
                  <a:pos x="178" y="150"/>
                </a:cxn>
                <a:cxn ang="0">
                  <a:pos x="192" y="167"/>
                </a:cxn>
                <a:cxn ang="0">
                  <a:pos x="215" y="208"/>
                </a:cxn>
                <a:cxn ang="0">
                  <a:pos x="231" y="250"/>
                </a:cxn>
                <a:cxn ang="0">
                  <a:pos x="236" y="295"/>
                </a:cxn>
                <a:cxn ang="0">
                  <a:pos x="236" y="319"/>
                </a:cxn>
                <a:cxn ang="0">
                  <a:pos x="241" y="331"/>
                </a:cxn>
              </a:cxnLst>
              <a:rect l="0" t="0" r="r" b="b"/>
              <a:pathLst>
                <a:path w="310" h="337">
                  <a:moveTo>
                    <a:pt x="241" y="331"/>
                  </a:moveTo>
                  <a:lnTo>
                    <a:pt x="241" y="331"/>
                  </a:lnTo>
                  <a:lnTo>
                    <a:pt x="246" y="334"/>
                  </a:lnTo>
                  <a:lnTo>
                    <a:pt x="251" y="334"/>
                  </a:lnTo>
                  <a:lnTo>
                    <a:pt x="291" y="337"/>
                  </a:lnTo>
                  <a:lnTo>
                    <a:pt x="291" y="337"/>
                  </a:lnTo>
                  <a:lnTo>
                    <a:pt x="298" y="337"/>
                  </a:lnTo>
                  <a:lnTo>
                    <a:pt x="303" y="334"/>
                  </a:lnTo>
                  <a:lnTo>
                    <a:pt x="303" y="334"/>
                  </a:lnTo>
                  <a:lnTo>
                    <a:pt x="307" y="329"/>
                  </a:lnTo>
                  <a:lnTo>
                    <a:pt x="308" y="322"/>
                  </a:lnTo>
                  <a:lnTo>
                    <a:pt x="308" y="322"/>
                  </a:lnTo>
                  <a:lnTo>
                    <a:pt x="310" y="292"/>
                  </a:lnTo>
                  <a:lnTo>
                    <a:pt x="307" y="263"/>
                  </a:lnTo>
                  <a:lnTo>
                    <a:pt x="301" y="233"/>
                  </a:lnTo>
                  <a:lnTo>
                    <a:pt x="293" y="204"/>
                  </a:lnTo>
                  <a:lnTo>
                    <a:pt x="281" y="177"/>
                  </a:lnTo>
                  <a:lnTo>
                    <a:pt x="268" y="150"/>
                  </a:lnTo>
                  <a:lnTo>
                    <a:pt x="251" y="125"/>
                  </a:lnTo>
                  <a:lnTo>
                    <a:pt x="232" y="101"/>
                  </a:lnTo>
                  <a:lnTo>
                    <a:pt x="232" y="101"/>
                  </a:lnTo>
                  <a:lnTo>
                    <a:pt x="221" y="88"/>
                  </a:lnTo>
                  <a:lnTo>
                    <a:pt x="221" y="88"/>
                  </a:lnTo>
                  <a:lnTo>
                    <a:pt x="199" y="69"/>
                  </a:lnTo>
                  <a:lnTo>
                    <a:pt x="177" y="52"/>
                  </a:lnTo>
                  <a:lnTo>
                    <a:pt x="153" y="37"/>
                  </a:lnTo>
                  <a:lnTo>
                    <a:pt x="128" y="25"/>
                  </a:lnTo>
                  <a:lnTo>
                    <a:pt x="101" y="15"/>
                  </a:lnTo>
                  <a:lnTo>
                    <a:pt x="74" y="7"/>
                  </a:lnTo>
                  <a:lnTo>
                    <a:pt x="47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8"/>
                  </a:lnTo>
                  <a:lnTo>
                    <a:pt x="1" y="13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1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1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7" y="74"/>
                  </a:lnTo>
                  <a:lnTo>
                    <a:pt x="57" y="78"/>
                  </a:lnTo>
                  <a:lnTo>
                    <a:pt x="79" y="84"/>
                  </a:lnTo>
                  <a:lnTo>
                    <a:pt x="97" y="91"/>
                  </a:lnTo>
                  <a:lnTo>
                    <a:pt x="118" y="101"/>
                  </a:lnTo>
                  <a:lnTo>
                    <a:pt x="134" y="113"/>
                  </a:lnTo>
                  <a:lnTo>
                    <a:pt x="153" y="125"/>
                  </a:lnTo>
                  <a:lnTo>
                    <a:pt x="168" y="140"/>
                  </a:lnTo>
                  <a:lnTo>
                    <a:pt x="168" y="14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92" y="167"/>
                  </a:lnTo>
                  <a:lnTo>
                    <a:pt x="205" y="187"/>
                  </a:lnTo>
                  <a:lnTo>
                    <a:pt x="215" y="208"/>
                  </a:lnTo>
                  <a:lnTo>
                    <a:pt x="224" y="228"/>
                  </a:lnTo>
                  <a:lnTo>
                    <a:pt x="231" y="250"/>
                  </a:lnTo>
                  <a:lnTo>
                    <a:pt x="234" y="272"/>
                  </a:lnTo>
                  <a:lnTo>
                    <a:pt x="236" y="295"/>
                  </a:lnTo>
                  <a:lnTo>
                    <a:pt x="236" y="319"/>
                  </a:lnTo>
                  <a:lnTo>
                    <a:pt x="236" y="319"/>
                  </a:lnTo>
                  <a:lnTo>
                    <a:pt x="237" y="324"/>
                  </a:lnTo>
                  <a:lnTo>
                    <a:pt x="241" y="331"/>
                  </a:lnTo>
                  <a:lnTo>
                    <a:pt x="241" y="331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68562" tIns="34281" rIns="68562" bIns="34281"/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zh-CN" altLang="en-US">
                <a:latin typeface="Arial" charset="0"/>
                <a:ea typeface="宋体" charset="-122"/>
              </a:endParaRPr>
            </a:p>
          </p:txBody>
        </p:sp>
        <p:sp>
          <p:nvSpPr>
            <p:cNvPr id="79" name="Freeform 93"/>
            <p:cNvSpPr>
              <a:spLocks/>
            </p:cNvSpPr>
            <p:nvPr/>
          </p:nvSpPr>
          <p:spPr bwMode="auto">
            <a:xfrm>
              <a:off x="6026662" y="3111137"/>
              <a:ext cx="67999" cy="63500"/>
            </a:xfrm>
            <a:custGeom>
              <a:avLst/>
              <a:gdLst/>
              <a:ahLst/>
              <a:cxnLst>
                <a:cxn ang="0">
                  <a:pos x="129" y="50"/>
                </a:cxn>
                <a:cxn ang="0">
                  <a:pos x="129" y="50"/>
                </a:cxn>
                <a:cxn ang="0">
                  <a:pos x="118" y="39"/>
                </a:cxn>
                <a:cxn ang="0">
                  <a:pos x="106" y="30"/>
                </a:cxn>
                <a:cxn ang="0">
                  <a:pos x="92" y="22"/>
                </a:cxn>
                <a:cxn ang="0">
                  <a:pos x="79" y="15"/>
                </a:cxn>
                <a:cxn ang="0">
                  <a:pos x="64" y="8"/>
                </a:cxn>
                <a:cxn ang="0">
                  <a:pos x="49" y="5"/>
                </a:cxn>
                <a:cxn ang="0">
                  <a:pos x="33" y="2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11" y="2"/>
                </a:cxn>
                <a:cxn ang="0">
                  <a:pos x="6" y="5"/>
                </a:cxn>
                <a:cxn ang="0">
                  <a:pos x="3" y="10"/>
                </a:cxn>
                <a:cxn ang="0">
                  <a:pos x="1" y="15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4"/>
                </a:cxn>
                <a:cxn ang="0">
                  <a:pos x="5" y="69"/>
                </a:cxn>
                <a:cxn ang="0">
                  <a:pos x="5" y="69"/>
                </a:cxn>
                <a:cxn ang="0">
                  <a:pos x="10" y="72"/>
                </a:cxn>
                <a:cxn ang="0">
                  <a:pos x="15" y="72"/>
                </a:cxn>
                <a:cxn ang="0">
                  <a:pos x="15" y="72"/>
                </a:cxn>
                <a:cxn ang="0">
                  <a:pos x="33" y="76"/>
                </a:cxn>
                <a:cxn ang="0">
                  <a:pos x="50" y="81"/>
                </a:cxn>
                <a:cxn ang="0">
                  <a:pos x="65" y="89"/>
                </a:cxn>
                <a:cxn ang="0">
                  <a:pos x="79" y="101"/>
                </a:cxn>
                <a:cxn ang="0">
                  <a:pos x="79" y="101"/>
                </a:cxn>
                <a:cxn ang="0">
                  <a:pos x="82" y="106"/>
                </a:cxn>
                <a:cxn ang="0">
                  <a:pos x="82" y="106"/>
                </a:cxn>
                <a:cxn ang="0">
                  <a:pos x="94" y="121"/>
                </a:cxn>
                <a:cxn ang="0">
                  <a:pos x="101" y="136"/>
                </a:cxn>
                <a:cxn ang="0">
                  <a:pos x="106" y="155"/>
                </a:cxn>
                <a:cxn ang="0">
                  <a:pos x="108" y="174"/>
                </a:cxn>
                <a:cxn ang="0">
                  <a:pos x="108" y="174"/>
                </a:cxn>
                <a:cxn ang="0">
                  <a:pos x="108" y="180"/>
                </a:cxn>
                <a:cxn ang="0">
                  <a:pos x="111" y="185"/>
                </a:cxn>
                <a:cxn ang="0">
                  <a:pos x="111" y="185"/>
                </a:cxn>
                <a:cxn ang="0">
                  <a:pos x="116" y="189"/>
                </a:cxn>
                <a:cxn ang="0">
                  <a:pos x="121" y="190"/>
                </a:cxn>
                <a:cxn ang="0">
                  <a:pos x="163" y="194"/>
                </a:cxn>
                <a:cxn ang="0">
                  <a:pos x="163" y="194"/>
                </a:cxn>
                <a:cxn ang="0">
                  <a:pos x="168" y="192"/>
                </a:cxn>
                <a:cxn ang="0">
                  <a:pos x="175" y="189"/>
                </a:cxn>
                <a:cxn ang="0">
                  <a:pos x="175" y="189"/>
                </a:cxn>
                <a:cxn ang="0">
                  <a:pos x="178" y="184"/>
                </a:cxn>
                <a:cxn ang="0">
                  <a:pos x="180" y="179"/>
                </a:cxn>
                <a:cxn ang="0">
                  <a:pos x="180" y="179"/>
                </a:cxn>
                <a:cxn ang="0">
                  <a:pos x="180" y="162"/>
                </a:cxn>
                <a:cxn ang="0">
                  <a:pos x="178" y="145"/>
                </a:cxn>
                <a:cxn ang="0">
                  <a:pos x="175" y="130"/>
                </a:cxn>
                <a:cxn ang="0">
                  <a:pos x="170" y="113"/>
                </a:cxn>
                <a:cxn ang="0">
                  <a:pos x="165" y="98"/>
                </a:cxn>
                <a:cxn ang="0">
                  <a:pos x="156" y="84"/>
                </a:cxn>
                <a:cxn ang="0">
                  <a:pos x="148" y="71"/>
                </a:cxn>
                <a:cxn ang="0">
                  <a:pos x="136" y="57"/>
                </a:cxn>
                <a:cxn ang="0">
                  <a:pos x="136" y="57"/>
                </a:cxn>
                <a:cxn ang="0">
                  <a:pos x="129" y="50"/>
                </a:cxn>
                <a:cxn ang="0">
                  <a:pos x="129" y="50"/>
                </a:cxn>
              </a:cxnLst>
              <a:rect l="0" t="0" r="r" b="b"/>
              <a:pathLst>
                <a:path w="180" h="194">
                  <a:moveTo>
                    <a:pt x="129" y="50"/>
                  </a:moveTo>
                  <a:lnTo>
                    <a:pt x="129" y="50"/>
                  </a:lnTo>
                  <a:lnTo>
                    <a:pt x="118" y="39"/>
                  </a:lnTo>
                  <a:lnTo>
                    <a:pt x="106" y="30"/>
                  </a:lnTo>
                  <a:lnTo>
                    <a:pt x="92" y="22"/>
                  </a:lnTo>
                  <a:lnTo>
                    <a:pt x="79" y="15"/>
                  </a:lnTo>
                  <a:lnTo>
                    <a:pt x="64" y="8"/>
                  </a:lnTo>
                  <a:lnTo>
                    <a:pt x="49" y="5"/>
                  </a:lnTo>
                  <a:lnTo>
                    <a:pt x="33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1" y="2"/>
                  </a:lnTo>
                  <a:lnTo>
                    <a:pt x="6" y="5"/>
                  </a:lnTo>
                  <a:lnTo>
                    <a:pt x="3" y="10"/>
                  </a:lnTo>
                  <a:lnTo>
                    <a:pt x="1" y="15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4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10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33" y="76"/>
                  </a:lnTo>
                  <a:lnTo>
                    <a:pt x="50" y="81"/>
                  </a:lnTo>
                  <a:lnTo>
                    <a:pt x="65" y="89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94" y="121"/>
                  </a:lnTo>
                  <a:lnTo>
                    <a:pt x="101" y="136"/>
                  </a:lnTo>
                  <a:lnTo>
                    <a:pt x="106" y="155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80"/>
                  </a:lnTo>
                  <a:lnTo>
                    <a:pt x="111" y="185"/>
                  </a:lnTo>
                  <a:lnTo>
                    <a:pt x="111" y="185"/>
                  </a:lnTo>
                  <a:lnTo>
                    <a:pt x="116" y="189"/>
                  </a:lnTo>
                  <a:lnTo>
                    <a:pt x="121" y="190"/>
                  </a:lnTo>
                  <a:lnTo>
                    <a:pt x="163" y="194"/>
                  </a:lnTo>
                  <a:lnTo>
                    <a:pt x="163" y="194"/>
                  </a:lnTo>
                  <a:lnTo>
                    <a:pt x="168" y="192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4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80" y="162"/>
                  </a:lnTo>
                  <a:lnTo>
                    <a:pt x="178" y="145"/>
                  </a:lnTo>
                  <a:lnTo>
                    <a:pt x="175" y="130"/>
                  </a:lnTo>
                  <a:lnTo>
                    <a:pt x="170" y="113"/>
                  </a:lnTo>
                  <a:lnTo>
                    <a:pt x="165" y="98"/>
                  </a:lnTo>
                  <a:lnTo>
                    <a:pt x="156" y="84"/>
                  </a:lnTo>
                  <a:lnTo>
                    <a:pt x="148" y="71"/>
                  </a:lnTo>
                  <a:lnTo>
                    <a:pt x="136" y="57"/>
                  </a:lnTo>
                  <a:lnTo>
                    <a:pt x="136" y="57"/>
                  </a:lnTo>
                  <a:lnTo>
                    <a:pt x="129" y="50"/>
                  </a:lnTo>
                  <a:lnTo>
                    <a:pt x="129" y="5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68562" tIns="34281" rIns="68562" bIns="34281"/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zh-CN" altLang="en-US">
                <a:latin typeface="Arial" charset="0"/>
                <a:ea typeface="宋体" charset="-122"/>
              </a:endParaRPr>
            </a:p>
          </p:txBody>
        </p:sp>
      </p:grpSp>
      <p:sp>
        <p:nvSpPr>
          <p:cNvPr id="80" name="Freeform 94"/>
          <p:cNvSpPr>
            <a:spLocks noEditPoints="1"/>
          </p:cNvSpPr>
          <p:nvPr/>
        </p:nvSpPr>
        <p:spPr bwMode="auto">
          <a:xfrm>
            <a:off x="6380163" y="3697288"/>
            <a:ext cx="396875" cy="354012"/>
          </a:xfrm>
          <a:custGeom>
            <a:avLst/>
            <a:gdLst/>
            <a:ahLst/>
            <a:cxnLst>
              <a:cxn ang="0">
                <a:pos x="285" y="1027"/>
              </a:cxn>
              <a:cxn ang="0">
                <a:pos x="464" y="965"/>
              </a:cxn>
              <a:cxn ang="0">
                <a:pos x="1034" y="396"/>
              </a:cxn>
              <a:cxn ang="0">
                <a:pos x="1049" y="378"/>
              </a:cxn>
              <a:cxn ang="0">
                <a:pos x="1061" y="356"/>
              </a:cxn>
              <a:cxn ang="0">
                <a:pos x="1067" y="334"/>
              </a:cxn>
              <a:cxn ang="0">
                <a:pos x="1071" y="310"/>
              </a:cxn>
              <a:cxn ang="0">
                <a:pos x="1069" y="286"/>
              </a:cxn>
              <a:cxn ang="0">
                <a:pos x="1064" y="265"/>
              </a:cxn>
              <a:cxn ang="0">
                <a:pos x="1054" y="243"/>
              </a:cxn>
              <a:cxn ang="0">
                <a:pos x="1040" y="222"/>
              </a:cxn>
              <a:cxn ang="0">
                <a:pos x="1056" y="206"/>
              </a:cxn>
              <a:cxn ang="0">
                <a:pos x="1061" y="197"/>
              </a:cxn>
              <a:cxn ang="0">
                <a:pos x="1056" y="189"/>
              </a:cxn>
              <a:cxn ang="0">
                <a:pos x="882" y="13"/>
              </a:cxn>
              <a:cxn ang="0">
                <a:pos x="873" y="10"/>
              </a:cxn>
              <a:cxn ang="0">
                <a:pos x="865" y="13"/>
              </a:cxn>
              <a:cxn ang="0">
                <a:pos x="848" y="30"/>
              </a:cxn>
              <a:cxn ang="0">
                <a:pos x="828" y="17"/>
              </a:cxn>
              <a:cxn ang="0">
                <a:pos x="806" y="6"/>
              </a:cxn>
              <a:cxn ang="0">
                <a:pos x="784" y="1"/>
              </a:cxn>
              <a:cxn ang="0">
                <a:pos x="760" y="0"/>
              </a:cxn>
              <a:cxn ang="0">
                <a:pos x="737" y="3"/>
              </a:cxn>
              <a:cxn ang="0">
                <a:pos x="715" y="10"/>
              </a:cxn>
              <a:cxn ang="0">
                <a:pos x="693" y="22"/>
              </a:cxn>
              <a:cxn ang="0">
                <a:pos x="674" y="37"/>
              </a:cxn>
              <a:cxn ang="0">
                <a:pos x="163" y="664"/>
              </a:cxn>
              <a:cxn ang="0">
                <a:pos x="0" y="828"/>
              </a:cxn>
              <a:cxn ang="0">
                <a:pos x="199" y="1027"/>
              </a:cxn>
              <a:cxn ang="0">
                <a:pos x="207" y="708"/>
              </a:cxn>
              <a:cxn ang="0">
                <a:pos x="243" y="985"/>
              </a:cxn>
              <a:cxn ang="0">
                <a:pos x="207" y="708"/>
              </a:cxn>
            </a:cxnLst>
            <a:rect l="0" t="0" r="r" b="b"/>
            <a:pathLst>
              <a:path w="1071" h="1069">
                <a:moveTo>
                  <a:pt x="243" y="1069"/>
                </a:moveTo>
                <a:lnTo>
                  <a:pt x="285" y="1027"/>
                </a:lnTo>
                <a:lnTo>
                  <a:pt x="406" y="906"/>
                </a:lnTo>
                <a:lnTo>
                  <a:pt x="464" y="965"/>
                </a:lnTo>
                <a:lnTo>
                  <a:pt x="1034" y="396"/>
                </a:lnTo>
                <a:lnTo>
                  <a:pt x="1034" y="396"/>
                </a:lnTo>
                <a:lnTo>
                  <a:pt x="1042" y="388"/>
                </a:lnTo>
                <a:lnTo>
                  <a:pt x="1049" y="378"/>
                </a:lnTo>
                <a:lnTo>
                  <a:pt x="1056" y="367"/>
                </a:lnTo>
                <a:lnTo>
                  <a:pt x="1061" y="356"/>
                </a:lnTo>
                <a:lnTo>
                  <a:pt x="1064" y="346"/>
                </a:lnTo>
                <a:lnTo>
                  <a:pt x="1067" y="334"/>
                </a:lnTo>
                <a:lnTo>
                  <a:pt x="1069" y="322"/>
                </a:lnTo>
                <a:lnTo>
                  <a:pt x="1071" y="310"/>
                </a:lnTo>
                <a:lnTo>
                  <a:pt x="1071" y="298"/>
                </a:lnTo>
                <a:lnTo>
                  <a:pt x="1069" y="286"/>
                </a:lnTo>
                <a:lnTo>
                  <a:pt x="1067" y="275"/>
                </a:lnTo>
                <a:lnTo>
                  <a:pt x="1064" y="265"/>
                </a:lnTo>
                <a:lnTo>
                  <a:pt x="1059" y="253"/>
                </a:lnTo>
                <a:lnTo>
                  <a:pt x="1054" y="243"/>
                </a:lnTo>
                <a:lnTo>
                  <a:pt x="1047" y="233"/>
                </a:lnTo>
                <a:lnTo>
                  <a:pt x="1040" y="222"/>
                </a:lnTo>
                <a:lnTo>
                  <a:pt x="1056" y="206"/>
                </a:lnTo>
                <a:lnTo>
                  <a:pt x="1056" y="206"/>
                </a:lnTo>
                <a:lnTo>
                  <a:pt x="1059" y="202"/>
                </a:lnTo>
                <a:lnTo>
                  <a:pt x="1061" y="197"/>
                </a:lnTo>
                <a:lnTo>
                  <a:pt x="1059" y="192"/>
                </a:lnTo>
                <a:lnTo>
                  <a:pt x="1056" y="189"/>
                </a:lnTo>
                <a:lnTo>
                  <a:pt x="882" y="13"/>
                </a:lnTo>
                <a:lnTo>
                  <a:pt x="882" y="13"/>
                </a:lnTo>
                <a:lnTo>
                  <a:pt x="877" y="12"/>
                </a:lnTo>
                <a:lnTo>
                  <a:pt x="873" y="10"/>
                </a:lnTo>
                <a:lnTo>
                  <a:pt x="868" y="12"/>
                </a:lnTo>
                <a:lnTo>
                  <a:pt x="865" y="13"/>
                </a:lnTo>
                <a:lnTo>
                  <a:pt x="848" y="30"/>
                </a:lnTo>
                <a:lnTo>
                  <a:pt x="848" y="30"/>
                </a:lnTo>
                <a:lnTo>
                  <a:pt x="838" y="23"/>
                </a:lnTo>
                <a:lnTo>
                  <a:pt x="828" y="17"/>
                </a:lnTo>
                <a:lnTo>
                  <a:pt x="818" y="12"/>
                </a:lnTo>
                <a:lnTo>
                  <a:pt x="806" y="6"/>
                </a:lnTo>
                <a:lnTo>
                  <a:pt x="794" y="3"/>
                </a:lnTo>
                <a:lnTo>
                  <a:pt x="784" y="1"/>
                </a:lnTo>
                <a:lnTo>
                  <a:pt x="772" y="0"/>
                </a:lnTo>
                <a:lnTo>
                  <a:pt x="760" y="0"/>
                </a:lnTo>
                <a:lnTo>
                  <a:pt x="749" y="1"/>
                </a:lnTo>
                <a:lnTo>
                  <a:pt x="737" y="3"/>
                </a:lnTo>
                <a:lnTo>
                  <a:pt x="725" y="6"/>
                </a:lnTo>
                <a:lnTo>
                  <a:pt x="715" y="10"/>
                </a:lnTo>
                <a:lnTo>
                  <a:pt x="703" y="15"/>
                </a:lnTo>
                <a:lnTo>
                  <a:pt x="693" y="22"/>
                </a:lnTo>
                <a:lnTo>
                  <a:pt x="683" y="28"/>
                </a:lnTo>
                <a:lnTo>
                  <a:pt x="674" y="37"/>
                </a:lnTo>
                <a:lnTo>
                  <a:pt x="106" y="605"/>
                </a:lnTo>
                <a:lnTo>
                  <a:pt x="163" y="664"/>
                </a:lnTo>
                <a:lnTo>
                  <a:pt x="44" y="786"/>
                </a:lnTo>
                <a:lnTo>
                  <a:pt x="0" y="828"/>
                </a:lnTo>
                <a:lnTo>
                  <a:pt x="44" y="872"/>
                </a:lnTo>
                <a:lnTo>
                  <a:pt x="199" y="1027"/>
                </a:lnTo>
                <a:lnTo>
                  <a:pt x="243" y="1069"/>
                </a:lnTo>
                <a:close/>
                <a:moveTo>
                  <a:pt x="207" y="708"/>
                </a:moveTo>
                <a:lnTo>
                  <a:pt x="362" y="863"/>
                </a:lnTo>
                <a:lnTo>
                  <a:pt x="243" y="985"/>
                </a:lnTo>
                <a:lnTo>
                  <a:pt x="86" y="828"/>
                </a:lnTo>
                <a:lnTo>
                  <a:pt x="207" y="708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lIns="68562" tIns="34281" rIns="68562" bIns="34281"/>
          <a:lstStyle/>
          <a:p>
            <a:pPr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 dirty="0">
              <a:latin typeface="Arial" charset="0"/>
              <a:ea typeface="宋体" charset="-122"/>
            </a:endParaRPr>
          </a:p>
        </p:txBody>
      </p:sp>
      <p:sp>
        <p:nvSpPr>
          <p:cNvPr id="81" name="Freeform 95"/>
          <p:cNvSpPr>
            <a:spLocks/>
          </p:cNvSpPr>
          <p:nvPr/>
        </p:nvSpPr>
        <p:spPr bwMode="auto">
          <a:xfrm>
            <a:off x="5797550" y="3740150"/>
            <a:ext cx="20638" cy="19050"/>
          </a:xfrm>
          <a:custGeom>
            <a:avLst/>
            <a:gdLst/>
            <a:ahLst/>
            <a:cxnLst>
              <a:cxn ang="0">
                <a:pos x="58" y="32"/>
              </a:cxn>
              <a:cxn ang="0">
                <a:pos x="24" y="0"/>
              </a:cxn>
              <a:cxn ang="0">
                <a:pos x="0" y="24"/>
              </a:cxn>
              <a:cxn ang="0">
                <a:pos x="32" y="57"/>
              </a:cxn>
              <a:cxn ang="0">
                <a:pos x="58" y="32"/>
              </a:cxn>
            </a:cxnLst>
            <a:rect l="0" t="0" r="r" b="b"/>
            <a:pathLst>
              <a:path w="58" h="57">
                <a:moveTo>
                  <a:pt x="58" y="32"/>
                </a:moveTo>
                <a:lnTo>
                  <a:pt x="24" y="0"/>
                </a:lnTo>
                <a:lnTo>
                  <a:pt x="0" y="24"/>
                </a:lnTo>
                <a:lnTo>
                  <a:pt x="32" y="57"/>
                </a:lnTo>
                <a:lnTo>
                  <a:pt x="58" y="32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lIns="68562" tIns="34281" rIns="68562" bIns="34281"/>
          <a:lstStyle/>
          <a:p>
            <a:pPr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82" name="Freeform 96"/>
          <p:cNvSpPr>
            <a:spLocks/>
          </p:cNvSpPr>
          <p:nvPr/>
        </p:nvSpPr>
        <p:spPr bwMode="auto">
          <a:xfrm>
            <a:off x="5773738" y="3740150"/>
            <a:ext cx="20637" cy="19050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32" y="57"/>
              </a:cxn>
              <a:cxn ang="0">
                <a:pos x="58" y="32"/>
              </a:cxn>
              <a:cxn ang="0">
                <a:pos x="26" y="0"/>
              </a:cxn>
              <a:cxn ang="0">
                <a:pos x="0" y="25"/>
              </a:cxn>
            </a:cxnLst>
            <a:rect l="0" t="0" r="r" b="b"/>
            <a:pathLst>
              <a:path w="58" h="57">
                <a:moveTo>
                  <a:pt x="0" y="25"/>
                </a:moveTo>
                <a:lnTo>
                  <a:pt x="32" y="57"/>
                </a:lnTo>
                <a:lnTo>
                  <a:pt x="58" y="32"/>
                </a:lnTo>
                <a:lnTo>
                  <a:pt x="26" y="0"/>
                </a:lnTo>
                <a:lnTo>
                  <a:pt x="0" y="2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lIns="68562" tIns="34281" rIns="68562" bIns="34281"/>
          <a:lstStyle/>
          <a:p>
            <a:pPr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sp>
        <p:nvSpPr>
          <p:cNvPr id="83" name="Freeform 5"/>
          <p:cNvSpPr>
            <a:spLocks noEditPoints="1"/>
          </p:cNvSpPr>
          <p:nvPr/>
        </p:nvSpPr>
        <p:spPr bwMode="auto">
          <a:xfrm>
            <a:off x="1276350" y="3657600"/>
            <a:ext cx="427038" cy="349250"/>
          </a:xfrm>
          <a:custGeom>
            <a:avLst/>
            <a:gdLst/>
            <a:ahLst/>
            <a:cxnLst>
              <a:cxn ang="0">
                <a:pos x="13474" y="5453"/>
              </a:cxn>
              <a:cxn ang="0">
                <a:pos x="12317" y="4601"/>
              </a:cxn>
              <a:cxn ang="0">
                <a:pos x="11412" y="4426"/>
              </a:cxn>
              <a:cxn ang="0">
                <a:pos x="4848" y="9576"/>
              </a:cxn>
              <a:cxn ang="0">
                <a:pos x="5783" y="10159"/>
              </a:cxn>
              <a:cxn ang="0">
                <a:pos x="6029" y="10586"/>
              </a:cxn>
              <a:cxn ang="0">
                <a:pos x="5871" y="11449"/>
              </a:cxn>
              <a:cxn ang="0">
                <a:pos x="5269" y="11440"/>
              </a:cxn>
              <a:cxn ang="0">
                <a:pos x="4824" y="10607"/>
              </a:cxn>
              <a:cxn ang="0">
                <a:pos x="4838" y="9638"/>
              </a:cxn>
              <a:cxn ang="0">
                <a:pos x="3536" y="8751"/>
              </a:cxn>
              <a:cxn ang="0">
                <a:pos x="4283" y="9174"/>
              </a:cxn>
              <a:cxn ang="0">
                <a:pos x="4127" y="9883"/>
              </a:cxn>
              <a:cxn ang="0">
                <a:pos x="4481" y="11467"/>
              </a:cxn>
              <a:cxn ang="0">
                <a:pos x="5571" y="12255"/>
              </a:cxn>
              <a:cxn ang="0">
                <a:pos x="6393" y="11776"/>
              </a:cxn>
              <a:cxn ang="0">
                <a:pos x="6623" y="11327"/>
              </a:cxn>
              <a:cxn ang="0">
                <a:pos x="6593" y="10954"/>
              </a:cxn>
              <a:cxn ang="0">
                <a:pos x="7001" y="12029"/>
              </a:cxn>
              <a:cxn ang="0">
                <a:pos x="6605" y="13157"/>
              </a:cxn>
              <a:cxn ang="0">
                <a:pos x="5384" y="13849"/>
              </a:cxn>
              <a:cxn ang="0">
                <a:pos x="4005" y="13316"/>
              </a:cxn>
              <a:cxn ang="0">
                <a:pos x="2966" y="11875"/>
              </a:cxn>
              <a:cxn ang="0">
                <a:pos x="2611" y="10263"/>
              </a:cxn>
              <a:cxn ang="0">
                <a:pos x="2657" y="9067"/>
              </a:cxn>
              <a:cxn ang="0">
                <a:pos x="2906" y="8446"/>
              </a:cxn>
              <a:cxn ang="0">
                <a:pos x="2108" y="8756"/>
              </a:cxn>
              <a:cxn ang="0">
                <a:pos x="1951" y="10042"/>
              </a:cxn>
              <a:cxn ang="0">
                <a:pos x="2244" y="11405"/>
              </a:cxn>
              <a:cxn ang="0">
                <a:pos x="1800" y="11462"/>
              </a:cxn>
              <a:cxn ang="0">
                <a:pos x="514" y="10430"/>
              </a:cxn>
              <a:cxn ang="0">
                <a:pos x="0" y="8981"/>
              </a:cxn>
              <a:cxn ang="0">
                <a:pos x="814" y="8147"/>
              </a:cxn>
              <a:cxn ang="0">
                <a:pos x="2055" y="8130"/>
              </a:cxn>
              <a:cxn ang="0">
                <a:pos x="13652" y="11178"/>
              </a:cxn>
              <a:cxn ang="0">
                <a:pos x="13281" y="11893"/>
              </a:cxn>
              <a:cxn ang="0">
                <a:pos x="12680" y="12371"/>
              </a:cxn>
              <a:cxn ang="0">
                <a:pos x="11525" y="12547"/>
              </a:cxn>
              <a:cxn ang="0">
                <a:pos x="11812" y="11849"/>
              </a:cxn>
              <a:cxn ang="0">
                <a:pos x="7899" y="11652"/>
              </a:cxn>
              <a:cxn ang="0">
                <a:pos x="8996" y="12019"/>
              </a:cxn>
              <a:cxn ang="0">
                <a:pos x="10612" y="11876"/>
              </a:cxn>
              <a:cxn ang="0">
                <a:pos x="10925" y="12290"/>
              </a:cxn>
              <a:cxn ang="0">
                <a:pos x="10585" y="12853"/>
              </a:cxn>
              <a:cxn ang="0">
                <a:pos x="9821" y="13182"/>
              </a:cxn>
              <a:cxn ang="0">
                <a:pos x="6649" y="14004"/>
              </a:cxn>
              <a:cxn ang="0">
                <a:pos x="7422" y="12934"/>
              </a:cxn>
              <a:cxn ang="0">
                <a:pos x="7677" y="12066"/>
              </a:cxn>
              <a:cxn ang="0">
                <a:pos x="14396" y="10218"/>
              </a:cxn>
              <a:cxn ang="0">
                <a:pos x="14321" y="8192"/>
              </a:cxn>
              <a:cxn ang="0">
                <a:pos x="12918" y="5928"/>
              </a:cxn>
              <a:cxn ang="0">
                <a:pos x="11740" y="5209"/>
              </a:cxn>
              <a:cxn ang="0">
                <a:pos x="10623" y="5077"/>
              </a:cxn>
              <a:cxn ang="0">
                <a:pos x="9280" y="5224"/>
              </a:cxn>
              <a:cxn ang="0">
                <a:pos x="1229" y="7366"/>
              </a:cxn>
              <a:cxn ang="0">
                <a:pos x="2849" y="7799"/>
              </a:cxn>
              <a:cxn ang="0">
                <a:pos x="5581" y="9338"/>
              </a:cxn>
              <a:cxn ang="0">
                <a:pos x="7851" y="10919"/>
              </a:cxn>
              <a:cxn ang="0">
                <a:pos x="9572" y="11341"/>
              </a:cxn>
              <a:cxn ang="0">
                <a:pos x="10600" y="11241"/>
              </a:cxn>
              <a:cxn ang="0">
                <a:pos x="13760" y="10423"/>
              </a:cxn>
            </a:cxnLst>
            <a:rect l="0" t="0" r="r" b="b"/>
            <a:pathLst>
              <a:path w="16170" h="14014">
                <a:moveTo>
                  <a:pt x="11178" y="2724"/>
                </a:moveTo>
                <a:lnTo>
                  <a:pt x="14087" y="2724"/>
                </a:lnTo>
                <a:lnTo>
                  <a:pt x="14087" y="6276"/>
                </a:lnTo>
                <a:lnTo>
                  <a:pt x="14080" y="6265"/>
                </a:lnTo>
                <a:lnTo>
                  <a:pt x="14060" y="6231"/>
                </a:lnTo>
                <a:lnTo>
                  <a:pt x="14025" y="6177"/>
                </a:lnTo>
                <a:lnTo>
                  <a:pt x="13979" y="6106"/>
                </a:lnTo>
                <a:lnTo>
                  <a:pt x="13920" y="6022"/>
                </a:lnTo>
                <a:lnTo>
                  <a:pt x="13852" y="5923"/>
                </a:lnTo>
                <a:lnTo>
                  <a:pt x="13812" y="5870"/>
                </a:lnTo>
                <a:lnTo>
                  <a:pt x="13771" y="5815"/>
                </a:lnTo>
                <a:lnTo>
                  <a:pt x="13727" y="5758"/>
                </a:lnTo>
                <a:lnTo>
                  <a:pt x="13682" y="5698"/>
                </a:lnTo>
                <a:lnTo>
                  <a:pt x="13632" y="5639"/>
                </a:lnTo>
                <a:lnTo>
                  <a:pt x="13582" y="5577"/>
                </a:lnTo>
                <a:lnTo>
                  <a:pt x="13529" y="5515"/>
                </a:lnTo>
                <a:lnTo>
                  <a:pt x="13474" y="5453"/>
                </a:lnTo>
                <a:lnTo>
                  <a:pt x="13417" y="5390"/>
                </a:lnTo>
                <a:lnTo>
                  <a:pt x="13357" y="5328"/>
                </a:lnTo>
                <a:lnTo>
                  <a:pt x="13297" y="5266"/>
                </a:lnTo>
                <a:lnTo>
                  <a:pt x="13234" y="5204"/>
                </a:lnTo>
                <a:lnTo>
                  <a:pt x="13169" y="5145"/>
                </a:lnTo>
                <a:lnTo>
                  <a:pt x="13104" y="5085"/>
                </a:lnTo>
                <a:lnTo>
                  <a:pt x="13036" y="5029"/>
                </a:lnTo>
                <a:lnTo>
                  <a:pt x="12967" y="4973"/>
                </a:lnTo>
                <a:lnTo>
                  <a:pt x="12897" y="4919"/>
                </a:lnTo>
                <a:lnTo>
                  <a:pt x="12825" y="4869"/>
                </a:lnTo>
                <a:lnTo>
                  <a:pt x="12752" y="4822"/>
                </a:lnTo>
                <a:lnTo>
                  <a:pt x="12678" y="4776"/>
                </a:lnTo>
                <a:lnTo>
                  <a:pt x="12604" y="4735"/>
                </a:lnTo>
                <a:lnTo>
                  <a:pt x="12531" y="4697"/>
                </a:lnTo>
                <a:lnTo>
                  <a:pt x="12458" y="4662"/>
                </a:lnTo>
                <a:lnTo>
                  <a:pt x="12387" y="4630"/>
                </a:lnTo>
                <a:lnTo>
                  <a:pt x="12317" y="4601"/>
                </a:lnTo>
                <a:lnTo>
                  <a:pt x="12250" y="4575"/>
                </a:lnTo>
                <a:lnTo>
                  <a:pt x="12182" y="4551"/>
                </a:lnTo>
                <a:lnTo>
                  <a:pt x="12117" y="4530"/>
                </a:lnTo>
                <a:lnTo>
                  <a:pt x="12054" y="4511"/>
                </a:lnTo>
                <a:lnTo>
                  <a:pt x="11991" y="4495"/>
                </a:lnTo>
                <a:lnTo>
                  <a:pt x="11930" y="4480"/>
                </a:lnTo>
                <a:lnTo>
                  <a:pt x="11873" y="4468"/>
                </a:lnTo>
                <a:lnTo>
                  <a:pt x="11816" y="4458"/>
                </a:lnTo>
                <a:lnTo>
                  <a:pt x="11762" y="4449"/>
                </a:lnTo>
                <a:lnTo>
                  <a:pt x="11709" y="4442"/>
                </a:lnTo>
                <a:lnTo>
                  <a:pt x="11660" y="4436"/>
                </a:lnTo>
                <a:lnTo>
                  <a:pt x="11612" y="4432"/>
                </a:lnTo>
                <a:lnTo>
                  <a:pt x="11567" y="4429"/>
                </a:lnTo>
                <a:lnTo>
                  <a:pt x="11524" y="4427"/>
                </a:lnTo>
                <a:lnTo>
                  <a:pt x="11484" y="4425"/>
                </a:lnTo>
                <a:lnTo>
                  <a:pt x="11446" y="4425"/>
                </a:lnTo>
                <a:lnTo>
                  <a:pt x="11412" y="4426"/>
                </a:lnTo>
                <a:lnTo>
                  <a:pt x="11380" y="4427"/>
                </a:lnTo>
                <a:lnTo>
                  <a:pt x="11351" y="4428"/>
                </a:lnTo>
                <a:lnTo>
                  <a:pt x="11303" y="4432"/>
                </a:lnTo>
                <a:lnTo>
                  <a:pt x="11267" y="4435"/>
                </a:lnTo>
                <a:lnTo>
                  <a:pt x="11246" y="4439"/>
                </a:lnTo>
                <a:lnTo>
                  <a:pt x="11239" y="4440"/>
                </a:lnTo>
                <a:lnTo>
                  <a:pt x="11178" y="2724"/>
                </a:lnTo>
                <a:close/>
                <a:moveTo>
                  <a:pt x="9156" y="0"/>
                </a:moveTo>
                <a:lnTo>
                  <a:pt x="16170" y="0"/>
                </a:lnTo>
                <a:lnTo>
                  <a:pt x="16170" y="1256"/>
                </a:lnTo>
                <a:lnTo>
                  <a:pt x="13383" y="1256"/>
                </a:lnTo>
                <a:lnTo>
                  <a:pt x="13383" y="2174"/>
                </a:lnTo>
                <a:lnTo>
                  <a:pt x="11820" y="2174"/>
                </a:lnTo>
                <a:lnTo>
                  <a:pt x="11820" y="1256"/>
                </a:lnTo>
                <a:lnTo>
                  <a:pt x="9156" y="1256"/>
                </a:lnTo>
                <a:lnTo>
                  <a:pt x="9156" y="0"/>
                </a:lnTo>
                <a:close/>
                <a:moveTo>
                  <a:pt x="4848" y="9576"/>
                </a:moveTo>
                <a:lnTo>
                  <a:pt x="4855" y="9581"/>
                </a:lnTo>
                <a:lnTo>
                  <a:pt x="4877" y="9595"/>
                </a:lnTo>
                <a:lnTo>
                  <a:pt x="4912" y="9615"/>
                </a:lnTo>
                <a:lnTo>
                  <a:pt x="4958" y="9642"/>
                </a:lnTo>
                <a:lnTo>
                  <a:pt x="5013" y="9675"/>
                </a:lnTo>
                <a:lnTo>
                  <a:pt x="5075" y="9713"/>
                </a:lnTo>
                <a:lnTo>
                  <a:pt x="5143" y="9754"/>
                </a:lnTo>
                <a:lnTo>
                  <a:pt x="5216" y="9798"/>
                </a:lnTo>
                <a:lnTo>
                  <a:pt x="5291" y="9843"/>
                </a:lnTo>
                <a:lnTo>
                  <a:pt x="5366" y="9890"/>
                </a:lnTo>
                <a:lnTo>
                  <a:pt x="5441" y="9936"/>
                </a:lnTo>
                <a:lnTo>
                  <a:pt x="5514" y="9981"/>
                </a:lnTo>
                <a:lnTo>
                  <a:pt x="5583" y="10025"/>
                </a:lnTo>
                <a:lnTo>
                  <a:pt x="5644" y="10064"/>
                </a:lnTo>
                <a:lnTo>
                  <a:pt x="5699" y="10101"/>
                </a:lnTo>
                <a:lnTo>
                  <a:pt x="5744" y="10131"/>
                </a:lnTo>
                <a:lnTo>
                  <a:pt x="5783" y="10159"/>
                </a:lnTo>
                <a:lnTo>
                  <a:pt x="5817" y="10186"/>
                </a:lnTo>
                <a:lnTo>
                  <a:pt x="5849" y="10214"/>
                </a:lnTo>
                <a:lnTo>
                  <a:pt x="5878" y="10241"/>
                </a:lnTo>
                <a:lnTo>
                  <a:pt x="5903" y="10266"/>
                </a:lnTo>
                <a:lnTo>
                  <a:pt x="5926" y="10292"/>
                </a:lnTo>
                <a:lnTo>
                  <a:pt x="5946" y="10315"/>
                </a:lnTo>
                <a:lnTo>
                  <a:pt x="5963" y="10336"/>
                </a:lnTo>
                <a:lnTo>
                  <a:pt x="5978" y="10356"/>
                </a:lnTo>
                <a:lnTo>
                  <a:pt x="5990" y="10374"/>
                </a:lnTo>
                <a:lnTo>
                  <a:pt x="6000" y="10391"/>
                </a:lnTo>
                <a:lnTo>
                  <a:pt x="6008" y="10404"/>
                </a:lnTo>
                <a:lnTo>
                  <a:pt x="6018" y="10423"/>
                </a:lnTo>
                <a:lnTo>
                  <a:pt x="6021" y="10430"/>
                </a:lnTo>
                <a:lnTo>
                  <a:pt x="6022" y="10441"/>
                </a:lnTo>
                <a:lnTo>
                  <a:pt x="6024" y="10472"/>
                </a:lnTo>
                <a:lnTo>
                  <a:pt x="6027" y="10522"/>
                </a:lnTo>
                <a:lnTo>
                  <a:pt x="6029" y="10586"/>
                </a:lnTo>
                <a:lnTo>
                  <a:pt x="6029" y="10662"/>
                </a:lnTo>
                <a:lnTo>
                  <a:pt x="6028" y="10749"/>
                </a:lnTo>
                <a:lnTo>
                  <a:pt x="6026" y="10796"/>
                </a:lnTo>
                <a:lnTo>
                  <a:pt x="6024" y="10843"/>
                </a:lnTo>
                <a:lnTo>
                  <a:pt x="6021" y="10893"/>
                </a:lnTo>
                <a:lnTo>
                  <a:pt x="6016" y="10942"/>
                </a:lnTo>
                <a:lnTo>
                  <a:pt x="6011" y="10992"/>
                </a:lnTo>
                <a:lnTo>
                  <a:pt x="6004" y="11042"/>
                </a:lnTo>
                <a:lnTo>
                  <a:pt x="5996" y="11093"/>
                </a:lnTo>
                <a:lnTo>
                  <a:pt x="5986" y="11142"/>
                </a:lnTo>
                <a:lnTo>
                  <a:pt x="5975" y="11192"/>
                </a:lnTo>
                <a:lnTo>
                  <a:pt x="5963" y="11239"/>
                </a:lnTo>
                <a:lnTo>
                  <a:pt x="5948" y="11286"/>
                </a:lnTo>
                <a:lnTo>
                  <a:pt x="5931" y="11330"/>
                </a:lnTo>
                <a:lnTo>
                  <a:pt x="5913" y="11372"/>
                </a:lnTo>
                <a:lnTo>
                  <a:pt x="5893" y="11412"/>
                </a:lnTo>
                <a:lnTo>
                  <a:pt x="5871" y="11449"/>
                </a:lnTo>
                <a:lnTo>
                  <a:pt x="5846" y="11484"/>
                </a:lnTo>
                <a:lnTo>
                  <a:pt x="5819" y="11514"/>
                </a:lnTo>
                <a:lnTo>
                  <a:pt x="5790" y="11541"/>
                </a:lnTo>
                <a:lnTo>
                  <a:pt x="5758" y="11563"/>
                </a:lnTo>
                <a:lnTo>
                  <a:pt x="5723" y="11582"/>
                </a:lnTo>
                <a:lnTo>
                  <a:pt x="5687" y="11596"/>
                </a:lnTo>
                <a:lnTo>
                  <a:pt x="5649" y="11603"/>
                </a:lnTo>
                <a:lnTo>
                  <a:pt x="5612" y="11606"/>
                </a:lnTo>
                <a:lnTo>
                  <a:pt x="5574" y="11604"/>
                </a:lnTo>
                <a:lnTo>
                  <a:pt x="5535" y="11598"/>
                </a:lnTo>
                <a:lnTo>
                  <a:pt x="5497" y="11587"/>
                </a:lnTo>
                <a:lnTo>
                  <a:pt x="5458" y="11571"/>
                </a:lnTo>
                <a:lnTo>
                  <a:pt x="5420" y="11552"/>
                </a:lnTo>
                <a:lnTo>
                  <a:pt x="5382" y="11529"/>
                </a:lnTo>
                <a:lnTo>
                  <a:pt x="5344" y="11503"/>
                </a:lnTo>
                <a:lnTo>
                  <a:pt x="5306" y="11473"/>
                </a:lnTo>
                <a:lnTo>
                  <a:pt x="5269" y="11440"/>
                </a:lnTo>
                <a:lnTo>
                  <a:pt x="5233" y="11404"/>
                </a:lnTo>
                <a:lnTo>
                  <a:pt x="5197" y="11365"/>
                </a:lnTo>
                <a:lnTo>
                  <a:pt x="5162" y="11324"/>
                </a:lnTo>
                <a:lnTo>
                  <a:pt x="5128" y="11280"/>
                </a:lnTo>
                <a:lnTo>
                  <a:pt x="5095" y="11235"/>
                </a:lnTo>
                <a:lnTo>
                  <a:pt x="5063" y="11188"/>
                </a:lnTo>
                <a:lnTo>
                  <a:pt x="5033" y="11139"/>
                </a:lnTo>
                <a:lnTo>
                  <a:pt x="5004" y="11089"/>
                </a:lnTo>
                <a:lnTo>
                  <a:pt x="4975" y="11037"/>
                </a:lnTo>
                <a:lnTo>
                  <a:pt x="4950" y="10985"/>
                </a:lnTo>
                <a:lnTo>
                  <a:pt x="4926" y="10931"/>
                </a:lnTo>
                <a:lnTo>
                  <a:pt x="4904" y="10876"/>
                </a:lnTo>
                <a:lnTo>
                  <a:pt x="4883" y="10823"/>
                </a:lnTo>
                <a:lnTo>
                  <a:pt x="4865" y="10768"/>
                </a:lnTo>
                <a:lnTo>
                  <a:pt x="4849" y="10714"/>
                </a:lnTo>
                <a:lnTo>
                  <a:pt x="4835" y="10660"/>
                </a:lnTo>
                <a:lnTo>
                  <a:pt x="4824" y="10607"/>
                </a:lnTo>
                <a:lnTo>
                  <a:pt x="4815" y="10553"/>
                </a:lnTo>
                <a:lnTo>
                  <a:pt x="4809" y="10502"/>
                </a:lnTo>
                <a:lnTo>
                  <a:pt x="4806" y="10451"/>
                </a:lnTo>
                <a:lnTo>
                  <a:pt x="4804" y="10402"/>
                </a:lnTo>
                <a:lnTo>
                  <a:pt x="4801" y="10353"/>
                </a:lnTo>
                <a:lnTo>
                  <a:pt x="4801" y="10307"/>
                </a:lnTo>
                <a:lnTo>
                  <a:pt x="4800" y="10260"/>
                </a:lnTo>
                <a:lnTo>
                  <a:pt x="4801" y="10172"/>
                </a:lnTo>
                <a:lnTo>
                  <a:pt x="4802" y="10090"/>
                </a:lnTo>
                <a:lnTo>
                  <a:pt x="4806" y="10012"/>
                </a:lnTo>
                <a:lnTo>
                  <a:pt x="4810" y="9940"/>
                </a:lnTo>
                <a:lnTo>
                  <a:pt x="4814" y="9874"/>
                </a:lnTo>
                <a:lnTo>
                  <a:pt x="4819" y="9814"/>
                </a:lnTo>
                <a:lnTo>
                  <a:pt x="4824" y="9760"/>
                </a:lnTo>
                <a:lnTo>
                  <a:pt x="4829" y="9713"/>
                </a:lnTo>
                <a:lnTo>
                  <a:pt x="4834" y="9672"/>
                </a:lnTo>
                <a:lnTo>
                  <a:pt x="4838" y="9638"/>
                </a:lnTo>
                <a:lnTo>
                  <a:pt x="4842" y="9612"/>
                </a:lnTo>
                <a:lnTo>
                  <a:pt x="4845" y="9593"/>
                </a:lnTo>
                <a:lnTo>
                  <a:pt x="4847" y="9580"/>
                </a:lnTo>
                <a:lnTo>
                  <a:pt x="4848" y="9576"/>
                </a:lnTo>
                <a:close/>
                <a:moveTo>
                  <a:pt x="2906" y="8446"/>
                </a:moveTo>
                <a:lnTo>
                  <a:pt x="2912" y="8449"/>
                </a:lnTo>
                <a:lnTo>
                  <a:pt x="2930" y="8458"/>
                </a:lnTo>
                <a:lnTo>
                  <a:pt x="2959" y="8472"/>
                </a:lnTo>
                <a:lnTo>
                  <a:pt x="2999" y="8491"/>
                </a:lnTo>
                <a:lnTo>
                  <a:pt x="3046" y="8515"/>
                </a:lnTo>
                <a:lnTo>
                  <a:pt x="3102" y="8542"/>
                </a:lnTo>
                <a:lnTo>
                  <a:pt x="3163" y="8572"/>
                </a:lnTo>
                <a:lnTo>
                  <a:pt x="3231" y="8606"/>
                </a:lnTo>
                <a:lnTo>
                  <a:pt x="3303" y="8641"/>
                </a:lnTo>
                <a:lnTo>
                  <a:pt x="3379" y="8677"/>
                </a:lnTo>
                <a:lnTo>
                  <a:pt x="3456" y="8714"/>
                </a:lnTo>
                <a:lnTo>
                  <a:pt x="3536" y="8751"/>
                </a:lnTo>
                <a:lnTo>
                  <a:pt x="3615" y="8789"/>
                </a:lnTo>
                <a:lnTo>
                  <a:pt x="3694" y="8826"/>
                </a:lnTo>
                <a:lnTo>
                  <a:pt x="3771" y="8860"/>
                </a:lnTo>
                <a:lnTo>
                  <a:pt x="3844" y="8893"/>
                </a:lnTo>
                <a:lnTo>
                  <a:pt x="3880" y="8910"/>
                </a:lnTo>
                <a:lnTo>
                  <a:pt x="3913" y="8926"/>
                </a:lnTo>
                <a:lnTo>
                  <a:pt x="3944" y="8941"/>
                </a:lnTo>
                <a:lnTo>
                  <a:pt x="3975" y="8956"/>
                </a:lnTo>
                <a:lnTo>
                  <a:pt x="4030" y="8986"/>
                </a:lnTo>
                <a:lnTo>
                  <a:pt x="4080" y="9016"/>
                </a:lnTo>
                <a:lnTo>
                  <a:pt x="4123" y="9044"/>
                </a:lnTo>
                <a:lnTo>
                  <a:pt x="4162" y="9070"/>
                </a:lnTo>
                <a:lnTo>
                  <a:pt x="4195" y="9095"/>
                </a:lnTo>
                <a:lnTo>
                  <a:pt x="4223" y="9118"/>
                </a:lnTo>
                <a:lnTo>
                  <a:pt x="4248" y="9139"/>
                </a:lnTo>
                <a:lnTo>
                  <a:pt x="4267" y="9157"/>
                </a:lnTo>
                <a:lnTo>
                  <a:pt x="4283" y="9174"/>
                </a:lnTo>
                <a:lnTo>
                  <a:pt x="4295" y="9187"/>
                </a:lnTo>
                <a:lnTo>
                  <a:pt x="4309" y="9207"/>
                </a:lnTo>
                <a:lnTo>
                  <a:pt x="4314" y="9214"/>
                </a:lnTo>
                <a:lnTo>
                  <a:pt x="4308" y="9226"/>
                </a:lnTo>
                <a:lnTo>
                  <a:pt x="4292" y="9261"/>
                </a:lnTo>
                <a:lnTo>
                  <a:pt x="4281" y="9288"/>
                </a:lnTo>
                <a:lnTo>
                  <a:pt x="4269" y="9320"/>
                </a:lnTo>
                <a:lnTo>
                  <a:pt x="4256" y="9356"/>
                </a:lnTo>
                <a:lnTo>
                  <a:pt x="4241" y="9398"/>
                </a:lnTo>
                <a:lnTo>
                  <a:pt x="4225" y="9444"/>
                </a:lnTo>
                <a:lnTo>
                  <a:pt x="4210" y="9495"/>
                </a:lnTo>
                <a:lnTo>
                  <a:pt x="4194" y="9549"/>
                </a:lnTo>
                <a:lnTo>
                  <a:pt x="4179" y="9609"/>
                </a:lnTo>
                <a:lnTo>
                  <a:pt x="4165" y="9672"/>
                </a:lnTo>
                <a:lnTo>
                  <a:pt x="4151" y="9739"/>
                </a:lnTo>
                <a:lnTo>
                  <a:pt x="4139" y="9810"/>
                </a:lnTo>
                <a:lnTo>
                  <a:pt x="4127" y="9883"/>
                </a:lnTo>
                <a:lnTo>
                  <a:pt x="4118" y="9960"/>
                </a:lnTo>
                <a:lnTo>
                  <a:pt x="4111" y="10040"/>
                </a:lnTo>
                <a:lnTo>
                  <a:pt x="4107" y="10123"/>
                </a:lnTo>
                <a:lnTo>
                  <a:pt x="4106" y="10209"/>
                </a:lnTo>
                <a:lnTo>
                  <a:pt x="4107" y="10297"/>
                </a:lnTo>
                <a:lnTo>
                  <a:pt x="4112" y="10387"/>
                </a:lnTo>
                <a:lnTo>
                  <a:pt x="4121" y="10478"/>
                </a:lnTo>
                <a:lnTo>
                  <a:pt x="4134" y="10572"/>
                </a:lnTo>
                <a:lnTo>
                  <a:pt x="4152" y="10668"/>
                </a:lnTo>
                <a:lnTo>
                  <a:pt x="4173" y="10765"/>
                </a:lnTo>
                <a:lnTo>
                  <a:pt x="4200" y="10864"/>
                </a:lnTo>
                <a:lnTo>
                  <a:pt x="4232" y="10963"/>
                </a:lnTo>
                <a:lnTo>
                  <a:pt x="4270" y="11064"/>
                </a:lnTo>
                <a:lnTo>
                  <a:pt x="4314" y="11165"/>
                </a:lnTo>
                <a:lnTo>
                  <a:pt x="4364" y="11266"/>
                </a:lnTo>
                <a:lnTo>
                  <a:pt x="4420" y="11368"/>
                </a:lnTo>
                <a:lnTo>
                  <a:pt x="4481" y="11467"/>
                </a:lnTo>
                <a:lnTo>
                  <a:pt x="4544" y="11559"/>
                </a:lnTo>
                <a:lnTo>
                  <a:pt x="4605" y="11645"/>
                </a:lnTo>
                <a:lnTo>
                  <a:pt x="4669" y="11724"/>
                </a:lnTo>
                <a:lnTo>
                  <a:pt x="4734" y="11798"/>
                </a:lnTo>
                <a:lnTo>
                  <a:pt x="4798" y="11864"/>
                </a:lnTo>
                <a:lnTo>
                  <a:pt x="4864" y="11926"/>
                </a:lnTo>
                <a:lnTo>
                  <a:pt x="4930" y="11982"/>
                </a:lnTo>
                <a:lnTo>
                  <a:pt x="4996" y="12031"/>
                </a:lnTo>
                <a:lnTo>
                  <a:pt x="5061" y="12075"/>
                </a:lnTo>
                <a:lnTo>
                  <a:pt x="5127" y="12115"/>
                </a:lnTo>
                <a:lnTo>
                  <a:pt x="5192" y="12149"/>
                </a:lnTo>
                <a:lnTo>
                  <a:pt x="5256" y="12179"/>
                </a:lnTo>
                <a:lnTo>
                  <a:pt x="5321" y="12203"/>
                </a:lnTo>
                <a:lnTo>
                  <a:pt x="5385" y="12223"/>
                </a:lnTo>
                <a:lnTo>
                  <a:pt x="5448" y="12238"/>
                </a:lnTo>
                <a:lnTo>
                  <a:pt x="5510" y="12249"/>
                </a:lnTo>
                <a:lnTo>
                  <a:pt x="5571" y="12255"/>
                </a:lnTo>
                <a:lnTo>
                  <a:pt x="5630" y="12258"/>
                </a:lnTo>
                <a:lnTo>
                  <a:pt x="5689" y="12256"/>
                </a:lnTo>
                <a:lnTo>
                  <a:pt x="5746" y="12251"/>
                </a:lnTo>
                <a:lnTo>
                  <a:pt x="5801" y="12242"/>
                </a:lnTo>
                <a:lnTo>
                  <a:pt x="5855" y="12230"/>
                </a:lnTo>
                <a:lnTo>
                  <a:pt x="5907" y="12215"/>
                </a:lnTo>
                <a:lnTo>
                  <a:pt x="5957" y="12196"/>
                </a:lnTo>
                <a:lnTo>
                  <a:pt x="6004" y="12173"/>
                </a:lnTo>
                <a:lnTo>
                  <a:pt x="6049" y="12149"/>
                </a:lnTo>
                <a:lnTo>
                  <a:pt x="6091" y="12122"/>
                </a:lnTo>
                <a:lnTo>
                  <a:pt x="6131" y="12092"/>
                </a:lnTo>
                <a:lnTo>
                  <a:pt x="6169" y="12059"/>
                </a:lnTo>
                <a:lnTo>
                  <a:pt x="6203" y="12024"/>
                </a:lnTo>
                <a:lnTo>
                  <a:pt x="6236" y="11988"/>
                </a:lnTo>
                <a:lnTo>
                  <a:pt x="6292" y="11913"/>
                </a:lnTo>
                <a:lnTo>
                  <a:pt x="6346" y="11843"/>
                </a:lnTo>
                <a:lnTo>
                  <a:pt x="6393" y="11776"/>
                </a:lnTo>
                <a:lnTo>
                  <a:pt x="6437" y="11714"/>
                </a:lnTo>
                <a:lnTo>
                  <a:pt x="6456" y="11684"/>
                </a:lnTo>
                <a:lnTo>
                  <a:pt x="6475" y="11654"/>
                </a:lnTo>
                <a:lnTo>
                  <a:pt x="6492" y="11626"/>
                </a:lnTo>
                <a:lnTo>
                  <a:pt x="6508" y="11599"/>
                </a:lnTo>
                <a:lnTo>
                  <a:pt x="6524" y="11572"/>
                </a:lnTo>
                <a:lnTo>
                  <a:pt x="6538" y="11546"/>
                </a:lnTo>
                <a:lnTo>
                  <a:pt x="6551" y="11521"/>
                </a:lnTo>
                <a:lnTo>
                  <a:pt x="6563" y="11497"/>
                </a:lnTo>
                <a:lnTo>
                  <a:pt x="6574" y="11473"/>
                </a:lnTo>
                <a:lnTo>
                  <a:pt x="6584" y="11450"/>
                </a:lnTo>
                <a:lnTo>
                  <a:pt x="6593" y="11428"/>
                </a:lnTo>
                <a:lnTo>
                  <a:pt x="6600" y="11407"/>
                </a:lnTo>
                <a:lnTo>
                  <a:pt x="6607" y="11386"/>
                </a:lnTo>
                <a:lnTo>
                  <a:pt x="6614" y="11365"/>
                </a:lnTo>
                <a:lnTo>
                  <a:pt x="6619" y="11346"/>
                </a:lnTo>
                <a:lnTo>
                  <a:pt x="6623" y="11327"/>
                </a:lnTo>
                <a:lnTo>
                  <a:pt x="6625" y="11309"/>
                </a:lnTo>
                <a:lnTo>
                  <a:pt x="6627" y="11292"/>
                </a:lnTo>
                <a:lnTo>
                  <a:pt x="6628" y="11274"/>
                </a:lnTo>
                <a:lnTo>
                  <a:pt x="6629" y="11258"/>
                </a:lnTo>
                <a:lnTo>
                  <a:pt x="6628" y="11242"/>
                </a:lnTo>
                <a:lnTo>
                  <a:pt x="6626" y="11227"/>
                </a:lnTo>
                <a:lnTo>
                  <a:pt x="6623" y="11212"/>
                </a:lnTo>
                <a:lnTo>
                  <a:pt x="6620" y="11198"/>
                </a:lnTo>
                <a:lnTo>
                  <a:pt x="6613" y="11170"/>
                </a:lnTo>
                <a:lnTo>
                  <a:pt x="6606" y="11142"/>
                </a:lnTo>
                <a:lnTo>
                  <a:pt x="6601" y="11115"/>
                </a:lnTo>
                <a:lnTo>
                  <a:pt x="6598" y="11089"/>
                </a:lnTo>
                <a:lnTo>
                  <a:pt x="6595" y="11062"/>
                </a:lnTo>
                <a:lnTo>
                  <a:pt x="6594" y="11038"/>
                </a:lnTo>
                <a:lnTo>
                  <a:pt x="6593" y="11015"/>
                </a:lnTo>
                <a:lnTo>
                  <a:pt x="6592" y="10993"/>
                </a:lnTo>
                <a:lnTo>
                  <a:pt x="6593" y="10954"/>
                </a:lnTo>
                <a:lnTo>
                  <a:pt x="6595" y="10925"/>
                </a:lnTo>
                <a:lnTo>
                  <a:pt x="6597" y="10906"/>
                </a:lnTo>
                <a:lnTo>
                  <a:pt x="6598" y="10899"/>
                </a:lnTo>
                <a:lnTo>
                  <a:pt x="7004" y="11176"/>
                </a:lnTo>
                <a:lnTo>
                  <a:pt x="7005" y="11190"/>
                </a:lnTo>
                <a:lnTo>
                  <a:pt x="7008" y="11226"/>
                </a:lnTo>
                <a:lnTo>
                  <a:pt x="7011" y="11286"/>
                </a:lnTo>
                <a:lnTo>
                  <a:pt x="7015" y="11363"/>
                </a:lnTo>
                <a:lnTo>
                  <a:pt x="7018" y="11457"/>
                </a:lnTo>
                <a:lnTo>
                  <a:pt x="7020" y="11567"/>
                </a:lnTo>
                <a:lnTo>
                  <a:pt x="7019" y="11626"/>
                </a:lnTo>
                <a:lnTo>
                  <a:pt x="7018" y="11689"/>
                </a:lnTo>
                <a:lnTo>
                  <a:pt x="7017" y="11753"/>
                </a:lnTo>
                <a:lnTo>
                  <a:pt x="7015" y="11819"/>
                </a:lnTo>
                <a:lnTo>
                  <a:pt x="7011" y="11888"/>
                </a:lnTo>
                <a:lnTo>
                  <a:pt x="7006" y="11957"/>
                </a:lnTo>
                <a:lnTo>
                  <a:pt x="7001" y="12029"/>
                </a:lnTo>
                <a:lnTo>
                  <a:pt x="6994" y="12101"/>
                </a:lnTo>
                <a:lnTo>
                  <a:pt x="6984" y="12173"/>
                </a:lnTo>
                <a:lnTo>
                  <a:pt x="6974" y="12246"/>
                </a:lnTo>
                <a:lnTo>
                  <a:pt x="6963" y="12319"/>
                </a:lnTo>
                <a:lnTo>
                  <a:pt x="6949" y="12392"/>
                </a:lnTo>
                <a:lnTo>
                  <a:pt x="6934" y="12463"/>
                </a:lnTo>
                <a:lnTo>
                  <a:pt x="6917" y="12535"/>
                </a:lnTo>
                <a:lnTo>
                  <a:pt x="6898" y="12605"/>
                </a:lnTo>
                <a:lnTo>
                  <a:pt x="6877" y="12674"/>
                </a:lnTo>
                <a:lnTo>
                  <a:pt x="6853" y="12740"/>
                </a:lnTo>
                <a:lnTo>
                  <a:pt x="6828" y="12805"/>
                </a:lnTo>
                <a:lnTo>
                  <a:pt x="6799" y="12866"/>
                </a:lnTo>
                <a:lnTo>
                  <a:pt x="6769" y="12926"/>
                </a:lnTo>
                <a:lnTo>
                  <a:pt x="6735" y="12985"/>
                </a:lnTo>
                <a:lnTo>
                  <a:pt x="6695" y="13042"/>
                </a:lnTo>
                <a:lnTo>
                  <a:pt x="6653" y="13100"/>
                </a:lnTo>
                <a:lnTo>
                  <a:pt x="6605" y="13157"/>
                </a:lnTo>
                <a:lnTo>
                  <a:pt x="6555" y="13215"/>
                </a:lnTo>
                <a:lnTo>
                  <a:pt x="6500" y="13271"/>
                </a:lnTo>
                <a:lnTo>
                  <a:pt x="6443" y="13325"/>
                </a:lnTo>
                <a:lnTo>
                  <a:pt x="6381" y="13379"/>
                </a:lnTo>
                <a:lnTo>
                  <a:pt x="6317" y="13431"/>
                </a:lnTo>
                <a:lnTo>
                  <a:pt x="6251" y="13481"/>
                </a:lnTo>
                <a:lnTo>
                  <a:pt x="6181" y="13529"/>
                </a:lnTo>
                <a:lnTo>
                  <a:pt x="6109" y="13575"/>
                </a:lnTo>
                <a:lnTo>
                  <a:pt x="6034" y="13618"/>
                </a:lnTo>
                <a:lnTo>
                  <a:pt x="5959" y="13659"/>
                </a:lnTo>
                <a:lnTo>
                  <a:pt x="5880" y="13697"/>
                </a:lnTo>
                <a:lnTo>
                  <a:pt x="5800" y="13731"/>
                </a:lnTo>
                <a:lnTo>
                  <a:pt x="5719" y="13762"/>
                </a:lnTo>
                <a:lnTo>
                  <a:pt x="5636" y="13791"/>
                </a:lnTo>
                <a:lnTo>
                  <a:pt x="5552" y="13814"/>
                </a:lnTo>
                <a:lnTo>
                  <a:pt x="5468" y="13834"/>
                </a:lnTo>
                <a:lnTo>
                  <a:pt x="5384" y="13849"/>
                </a:lnTo>
                <a:lnTo>
                  <a:pt x="5299" y="13860"/>
                </a:lnTo>
                <a:lnTo>
                  <a:pt x="5213" y="13867"/>
                </a:lnTo>
                <a:lnTo>
                  <a:pt x="5127" y="13869"/>
                </a:lnTo>
                <a:lnTo>
                  <a:pt x="5041" y="13864"/>
                </a:lnTo>
                <a:lnTo>
                  <a:pt x="4956" y="13855"/>
                </a:lnTo>
                <a:lnTo>
                  <a:pt x="4871" y="13840"/>
                </a:lnTo>
                <a:lnTo>
                  <a:pt x="4787" y="13819"/>
                </a:lnTo>
                <a:lnTo>
                  <a:pt x="4704" y="13793"/>
                </a:lnTo>
                <a:lnTo>
                  <a:pt x="4623" y="13759"/>
                </a:lnTo>
                <a:lnTo>
                  <a:pt x="4543" y="13719"/>
                </a:lnTo>
                <a:lnTo>
                  <a:pt x="4464" y="13673"/>
                </a:lnTo>
                <a:lnTo>
                  <a:pt x="4386" y="13621"/>
                </a:lnTo>
                <a:lnTo>
                  <a:pt x="4308" y="13566"/>
                </a:lnTo>
                <a:lnTo>
                  <a:pt x="4231" y="13508"/>
                </a:lnTo>
                <a:lnTo>
                  <a:pt x="4156" y="13447"/>
                </a:lnTo>
                <a:lnTo>
                  <a:pt x="4080" y="13383"/>
                </a:lnTo>
                <a:lnTo>
                  <a:pt x="4005" y="13316"/>
                </a:lnTo>
                <a:lnTo>
                  <a:pt x="3932" y="13247"/>
                </a:lnTo>
                <a:lnTo>
                  <a:pt x="3860" y="13175"/>
                </a:lnTo>
                <a:lnTo>
                  <a:pt x="3788" y="13101"/>
                </a:lnTo>
                <a:lnTo>
                  <a:pt x="3718" y="13024"/>
                </a:lnTo>
                <a:lnTo>
                  <a:pt x="3649" y="12945"/>
                </a:lnTo>
                <a:lnTo>
                  <a:pt x="3582" y="12864"/>
                </a:lnTo>
                <a:lnTo>
                  <a:pt x="3516" y="12782"/>
                </a:lnTo>
                <a:lnTo>
                  <a:pt x="3452" y="12698"/>
                </a:lnTo>
                <a:lnTo>
                  <a:pt x="3390" y="12611"/>
                </a:lnTo>
                <a:lnTo>
                  <a:pt x="3330" y="12523"/>
                </a:lnTo>
                <a:lnTo>
                  <a:pt x="3271" y="12434"/>
                </a:lnTo>
                <a:lnTo>
                  <a:pt x="3215" y="12343"/>
                </a:lnTo>
                <a:lnTo>
                  <a:pt x="3160" y="12252"/>
                </a:lnTo>
                <a:lnTo>
                  <a:pt x="3108" y="12159"/>
                </a:lnTo>
                <a:lnTo>
                  <a:pt x="3058" y="12065"/>
                </a:lnTo>
                <a:lnTo>
                  <a:pt x="3011" y="11970"/>
                </a:lnTo>
                <a:lnTo>
                  <a:pt x="2966" y="11875"/>
                </a:lnTo>
                <a:lnTo>
                  <a:pt x="2924" y="11780"/>
                </a:lnTo>
                <a:lnTo>
                  <a:pt x="2884" y="11684"/>
                </a:lnTo>
                <a:lnTo>
                  <a:pt x="2848" y="11587"/>
                </a:lnTo>
                <a:lnTo>
                  <a:pt x="2814" y="11490"/>
                </a:lnTo>
                <a:lnTo>
                  <a:pt x="2783" y="11393"/>
                </a:lnTo>
                <a:lnTo>
                  <a:pt x="2755" y="11296"/>
                </a:lnTo>
                <a:lnTo>
                  <a:pt x="2731" y="11199"/>
                </a:lnTo>
                <a:lnTo>
                  <a:pt x="2709" y="11102"/>
                </a:lnTo>
                <a:lnTo>
                  <a:pt x="2692" y="11006"/>
                </a:lnTo>
                <a:lnTo>
                  <a:pt x="2677" y="10910"/>
                </a:lnTo>
                <a:lnTo>
                  <a:pt x="2663" y="10815"/>
                </a:lnTo>
                <a:lnTo>
                  <a:pt x="2651" y="10721"/>
                </a:lnTo>
                <a:lnTo>
                  <a:pt x="2641" y="10627"/>
                </a:lnTo>
                <a:lnTo>
                  <a:pt x="2631" y="10535"/>
                </a:lnTo>
                <a:lnTo>
                  <a:pt x="2624" y="10443"/>
                </a:lnTo>
                <a:lnTo>
                  <a:pt x="2617" y="10353"/>
                </a:lnTo>
                <a:lnTo>
                  <a:pt x="2611" y="10263"/>
                </a:lnTo>
                <a:lnTo>
                  <a:pt x="2607" y="10176"/>
                </a:lnTo>
                <a:lnTo>
                  <a:pt x="2604" y="10091"/>
                </a:lnTo>
                <a:lnTo>
                  <a:pt x="2602" y="10006"/>
                </a:lnTo>
                <a:lnTo>
                  <a:pt x="2601" y="9924"/>
                </a:lnTo>
                <a:lnTo>
                  <a:pt x="2601" y="9843"/>
                </a:lnTo>
                <a:lnTo>
                  <a:pt x="2602" y="9764"/>
                </a:lnTo>
                <a:lnTo>
                  <a:pt x="2604" y="9687"/>
                </a:lnTo>
                <a:lnTo>
                  <a:pt x="2606" y="9614"/>
                </a:lnTo>
                <a:lnTo>
                  <a:pt x="2609" y="9542"/>
                </a:lnTo>
                <a:lnTo>
                  <a:pt x="2613" y="9472"/>
                </a:lnTo>
                <a:lnTo>
                  <a:pt x="2619" y="9406"/>
                </a:lnTo>
                <a:lnTo>
                  <a:pt x="2624" y="9342"/>
                </a:lnTo>
                <a:lnTo>
                  <a:pt x="2630" y="9280"/>
                </a:lnTo>
                <a:lnTo>
                  <a:pt x="2636" y="9223"/>
                </a:lnTo>
                <a:lnTo>
                  <a:pt x="2643" y="9167"/>
                </a:lnTo>
                <a:lnTo>
                  <a:pt x="2650" y="9116"/>
                </a:lnTo>
                <a:lnTo>
                  <a:pt x="2657" y="9067"/>
                </a:lnTo>
                <a:lnTo>
                  <a:pt x="2665" y="9022"/>
                </a:lnTo>
                <a:lnTo>
                  <a:pt x="2673" y="8980"/>
                </a:lnTo>
                <a:lnTo>
                  <a:pt x="2681" y="8942"/>
                </a:lnTo>
                <a:lnTo>
                  <a:pt x="2689" y="8909"/>
                </a:lnTo>
                <a:lnTo>
                  <a:pt x="2697" y="8878"/>
                </a:lnTo>
                <a:lnTo>
                  <a:pt x="2705" y="8852"/>
                </a:lnTo>
                <a:lnTo>
                  <a:pt x="2714" y="8830"/>
                </a:lnTo>
                <a:lnTo>
                  <a:pt x="2730" y="8790"/>
                </a:lnTo>
                <a:lnTo>
                  <a:pt x="2746" y="8752"/>
                </a:lnTo>
                <a:lnTo>
                  <a:pt x="2763" y="8715"/>
                </a:lnTo>
                <a:lnTo>
                  <a:pt x="2779" y="8679"/>
                </a:lnTo>
                <a:lnTo>
                  <a:pt x="2812" y="8615"/>
                </a:lnTo>
                <a:lnTo>
                  <a:pt x="2842" y="8557"/>
                </a:lnTo>
                <a:lnTo>
                  <a:pt x="2867" y="8511"/>
                </a:lnTo>
                <a:lnTo>
                  <a:pt x="2887" y="8475"/>
                </a:lnTo>
                <a:lnTo>
                  <a:pt x="2900" y="8453"/>
                </a:lnTo>
                <a:lnTo>
                  <a:pt x="2906" y="8446"/>
                </a:lnTo>
                <a:close/>
                <a:moveTo>
                  <a:pt x="2372" y="8211"/>
                </a:moveTo>
                <a:lnTo>
                  <a:pt x="2368" y="8217"/>
                </a:lnTo>
                <a:lnTo>
                  <a:pt x="2356" y="8233"/>
                </a:lnTo>
                <a:lnTo>
                  <a:pt x="2338" y="8260"/>
                </a:lnTo>
                <a:lnTo>
                  <a:pt x="2314" y="8298"/>
                </a:lnTo>
                <a:lnTo>
                  <a:pt x="2300" y="8322"/>
                </a:lnTo>
                <a:lnTo>
                  <a:pt x="2286" y="8348"/>
                </a:lnTo>
                <a:lnTo>
                  <a:pt x="2270" y="8376"/>
                </a:lnTo>
                <a:lnTo>
                  <a:pt x="2254" y="8408"/>
                </a:lnTo>
                <a:lnTo>
                  <a:pt x="2237" y="8442"/>
                </a:lnTo>
                <a:lnTo>
                  <a:pt x="2219" y="8478"/>
                </a:lnTo>
                <a:lnTo>
                  <a:pt x="2201" y="8519"/>
                </a:lnTo>
                <a:lnTo>
                  <a:pt x="2183" y="8560"/>
                </a:lnTo>
                <a:lnTo>
                  <a:pt x="2164" y="8606"/>
                </a:lnTo>
                <a:lnTo>
                  <a:pt x="2146" y="8653"/>
                </a:lnTo>
                <a:lnTo>
                  <a:pt x="2126" y="8703"/>
                </a:lnTo>
                <a:lnTo>
                  <a:pt x="2108" y="8756"/>
                </a:lnTo>
                <a:lnTo>
                  <a:pt x="2090" y="8812"/>
                </a:lnTo>
                <a:lnTo>
                  <a:pt x="2072" y="8869"/>
                </a:lnTo>
                <a:lnTo>
                  <a:pt x="2055" y="8931"/>
                </a:lnTo>
                <a:lnTo>
                  <a:pt x="2038" y="8993"/>
                </a:lnTo>
                <a:lnTo>
                  <a:pt x="2023" y="9060"/>
                </a:lnTo>
                <a:lnTo>
                  <a:pt x="2008" y="9129"/>
                </a:lnTo>
                <a:lnTo>
                  <a:pt x="1994" y="9201"/>
                </a:lnTo>
                <a:lnTo>
                  <a:pt x="1982" y="9274"/>
                </a:lnTo>
                <a:lnTo>
                  <a:pt x="1970" y="9352"/>
                </a:lnTo>
                <a:lnTo>
                  <a:pt x="1961" y="9431"/>
                </a:lnTo>
                <a:lnTo>
                  <a:pt x="1952" y="9513"/>
                </a:lnTo>
                <a:lnTo>
                  <a:pt x="1945" y="9598"/>
                </a:lnTo>
                <a:lnTo>
                  <a:pt x="1940" y="9684"/>
                </a:lnTo>
                <a:lnTo>
                  <a:pt x="1939" y="9772"/>
                </a:lnTo>
                <a:lnTo>
                  <a:pt x="1940" y="9862"/>
                </a:lnTo>
                <a:lnTo>
                  <a:pt x="1944" y="9952"/>
                </a:lnTo>
                <a:lnTo>
                  <a:pt x="1951" y="10042"/>
                </a:lnTo>
                <a:lnTo>
                  <a:pt x="1959" y="10133"/>
                </a:lnTo>
                <a:lnTo>
                  <a:pt x="1969" y="10224"/>
                </a:lnTo>
                <a:lnTo>
                  <a:pt x="1981" y="10315"/>
                </a:lnTo>
                <a:lnTo>
                  <a:pt x="1995" y="10405"/>
                </a:lnTo>
                <a:lnTo>
                  <a:pt x="2010" y="10495"/>
                </a:lnTo>
                <a:lnTo>
                  <a:pt x="2027" y="10582"/>
                </a:lnTo>
                <a:lnTo>
                  <a:pt x="2046" y="10669"/>
                </a:lnTo>
                <a:lnTo>
                  <a:pt x="2064" y="10754"/>
                </a:lnTo>
                <a:lnTo>
                  <a:pt x="2083" y="10838"/>
                </a:lnTo>
                <a:lnTo>
                  <a:pt x="2103" y="10919"/>
                </a:lnTo>
                <a:lnTo>
                  <a:pt x="2123" y="10998"/>
                </a:lnTo>
                <a:lnTo>
                  <a:pt x="2145" y="11074"/>
                </a:lnTo>
                <a:lnTo>
                  <a:pt x="2165" y="11147"/>
                </a:lnTo>
                <a:lnTo>
                  <a:pt x="2185" y="11217"/>
                </a:lnTo>
                <a:lnTo>
                  <a:pt x="2205" y="11284"/>
                </a:lnTo>
                <a:lnTo>
                  <a:pt x="2224" y="11346"/>
                </a:lnTo>
                <a:lnTo>
                  <a:pt x="2244" y="11405"/>
                </a:lnTo>
                <a:lnTo>
                  <a:pt x="2261" y="11459"/>
                </a:lnTo>
                <a:lnTo>
                  <a:pt x="2278" y="11509"/>
                </a:lnTo>
                <a:lnTo>
                  <a:pt x="2307" y="11594"/>
                </a:lnTo>
                <a:lnTo>
                  <a:pt x="2331" y="11656"/>
                </a:lnTo>
                <a:lnTo>
                  <a:pt x="2346" y="11697"/>
                </a:lnTo>
                <a:lnTo>
                  <a:pt x="2351" y="11710"/>
                </a:lnTo>
                <a:lnTo>
                  <a:pt x="2335" y="11704"/>
                </a:lnTo>
                <a:lnTo>
                  <a:pt x="2288" y="11686"/>
                </a:lnTo>
                <a:lnTo>
                  <a:pt x="2255" y="11672"/>
                </a:lnTo>
                <a:lnTo>
                  <a:pt x="2215" y="11656"/>
                </a:lnTo>
                <a:lnTo>
                  <a:pt x="2170" y="11637"/>
                </a:lnTo>
                <a:lnTo>
                  <a:pt x="2119" y="11615"/>
                </a:lnTo>
                <a:lnTo>
                  <a:pt x="2064" y="11591"/>
                </a:lnTo>
                <a:lnTo>
                  <a:pt x="2003" y="11562"/>
                </a:lnTo>
                <a:lnTo>
                  <a:pt x="1938" y="11532"/>
                </a:lnTo>
                <a:lnTo>
                  <a:pt x="1871" y="11499"/>
                </a:lnTo>
                <a:lnTo>
                  <a:pt x="1800" y="11462"/>
                </a:lnTo>
                <a:lnTo>
                  <a:pt x="1726" y="11423"/>
                </a:lnTo>
                <a:lnTo>
                  <a:pt x="1649" y="11382"/>
                </a:lnTo>
                <a:lnTo>
                  <a:pt x="1572" y="11336"/>
                </a:lnTo>
                <a:lnTo>
                  <a:pt x="1492" y="11290"/>
                </a:lnTo>
                <a:lnTo>
                  <a:pt x="1411" y="11239"/>
                </a:lnTo>
                <a:lnTo>
                  <a:pt x="1329" y="11187"/>
                </a:lnTo>
                <a:lnTo>
                  <a:pt x="1248" y="11131"/>
                </a:lnTo>
                <a:lnTo>
                  <a:pt x="1166" y="11072"/>
                </a:lnTo>
                <a:lnTo>
                  <a:pt x="1085" y="11012"/>
                </a:lnTo>
                <a:lnTo>
                  <a:pt x="1006" y="10948"/>
                </a:lnTo>
                <a:lnTo>
                  <a:pt x="928" y="10881"/>
                </a:lnTo>
                <a:lnTo>
                  <a:pt x="851" y="10813"/>
                </a:lnTo>
                <a:lnTo>
                  <a:pt x="777" y="10742"/>
                </a:lnTo>
                <a:lnTo>
                  <a:pt x="706" y="10667"/>
                </a:lnTo>
                <a:lnTo>
                  <a:pt x="639" y="10591"/>
                </a:lnTo>
                <a:lnTo>
                  <a:pt x="574" y="10512"/>
                </a:lnTo>
                <a:lnTo>
                  <a:pt x="514" y="10430"/>
                </a:lnTo>
                <a:lnTo>
                  <a:pt x="459" y="10346"/>
                </a:lnTo>
                <a:lnTo>
                  <a:pt x="408" y="10259"/>
                </a:lnTo>
                <a:lnTo>
                  <a:pt x="361" y="10171"/>
                </a:lnTo>
                <a:lnTo>
                  <a:pt x="316" y="10082"/>
                </a:lnTo>
                <a:lnTo>
                  <a:pt x="273" y="9994"/>
                </a:lnTo>
                <a:lnTo>
                  <a:pt x="232" y="9905"/>
                </a:lnTo>
                <a:lnTo>
                  <a:pt x="195" y="9817"/>
                </a:lnTo>
                <a:lnTo>
                  <a:pt x="160" y="9728"/>
                </a:lnTo>
                <a:lnTo>
                  <a:pt x="128" y="9641"/>
                </a:lnTo>
                <a:lnTo>
                  <a:pt x="99" y="9554"/>
                </a:lnTo>
                <a:lnTo>
                  <a:pt x="74" y="9468"/>
                </a:lnTo>
                <a:lnTo>
                  <a:pt x="52" y="9383"/>
                </a:lnTo>
                <a:lnTo>
                  <a:pt x="33" y="9300"/>
                </a:lnTo>
                <a:lnTo>
                  <a:pt x="18" y="9218"/>
                </a:lnTo>
                <a:lnTo>
                  <a:pt x="8" y="9137"/>
                </a:lnTo>
                <a:lnTo>
                  <a:pt x="2" y="9058"/>
                </a:lnTo>
                <a:lnTo>
                  <a:pt x="0" y="8981"/>
                </a:lnTo>
                <a:lnTo>
                  <a:pt x="3" y="8907"/>
                </a:lnTo>
                <a:lnTo>
                  <a:pt x="10" y="8835"/>
                </a:lnTo>
                <a:lnTo>
                  <a:pt x="22" y="8765"/>
                </a:lnTo>
                <a:lnTo>
                  <a:pt x="39" y="8698"/>
                </a:lnTo>
                <a:lnTo>
                  <a:pt x="63" y="8633"/>
                </a:lnTo>
                <a:lnTo>
                  <a:pt x="91" y="8572"/>
                </a:lnTo>
                <a:lnTo>
                  <a:pt x="124" y="8514"/>
                </a:lnTo>
                <a:lnTo>
                  <a:pt x="165" y="8459"/>
                </a:lnTo>
                <a:lnTo>
                  <a:pt x="210" y="8408"/>
                </a:lnTo>
                <a:lnTo>
                  <a:pt x="262" y="8360"/>
                </a:lnTo>
                <a:lnTo>
                  <a:pt x="320" y="8317"/>
                </a:lnTo>
                <a:lnTo>
                  <a:pt x="385" y="8277"/>
                </a:lnTo>
                <a:lnTo>
                  <a:pt x="457" y="8242"/>
                </a:lnTo>
                <a:lnTo>
                  <a:pt x="535" y="8212"/>
                </a:lnTo>
                <a:lnTo>
                  <a:pt x="621" y="8185"/>
                </a:lnTo>
                <a:lnTo>
                  <a:pt x="714" y="8163"/>
                </a:lnTo>
                <a:lnTo>
                  <a:pt x="814" y="8147"/>
                </a:lnTo>
                <a:lnTo>
                  <a:pt x="916" y="8134"/>
                </a:lnTo>
                <a:lnTo>
                  <a:pt x="1014" y="8123"/>
                </a:lnTo>
                <a:lnTo>
                  <a:pt x="1109" y="8114"/>
                </a:lnTo>
                <a:lnTo>
                  <a:pt x="1200" y="8107"/>
                </a:lnTo>
                <a:lnTo>
                  <a:pt x="1287" y="8102"/>
                </a:lnTo>
                <a:lnTo>
                  <a:pt x="1369" y="8097"/>
                </a:lnTo>
                <a:lnTo>
                  <a:pt x="1449" y="8095"/>
                </a:lnTo>
                <a:lnTo>
                  <a:pt x="1525" y="8093"/>
                </a:lnTo>
                <a:lnTo>
                  <a:pt x="1598" y="8094"/>
                </a:lnTo>
                <a:lnTo>
                  <a:pt x="1667" y="8095"/>
                </a:lnTo>
                <a:lnTo>
                  <a:pt x="1732" y="8098"/>
                </a:lnTo>
                <a:lnTo>
                  <a:pt x="1795" y="8102"/>
                </a:lnTo>
                <a:lnTo>
                  <a:pt x="1852" y="8106"/>
                </a:lnTo>
                <a:lnTo>
                  <a:pt x="1908" y="8111"/>
                </a:lnTo>
                <a:lnTo>
                  <a:pt x="1961" y="8117"/>
                </a:lnTo>
                <a:lnTo>
                  <a:pt x="2009" y="8123"/>
                </a:lnTo>
                <a:lnTo>
                  <a:pt x="2055" y="8130"/>
                </a:lnTo>
                <a:lnTo>
                  <a:pt x="2096" y="8137"/>
                </a:lnTo>
                <a:lnTo>
                  <a:pt x="2135" y="8144"/>
                </a:lnTo>
                <a:lnTo>
                  <a:pt x="2172" y="8151"/>
                </a:lnTo>
                <a:lnTo>
                  <a:pt x="2204" y="8159"/>
                </a:lnTo>
                <a:lnTo>
                  <a:pt x="2233" y="8166"/>
                </a:lnTo>
                <a:lnTo>
                  <a:pt x="2261" y="8173"/>
                </a:lnTo>
                <a:lnTo>
                  <a:pt x="2284" y="8180"/>
                </a:lnTo>
                <a:lnTo>
                  <a:pt x="2323" y="8192"/>
                </a:lnTo>
                <a:lnTo>
                  <a:pt x="2351" y="8203"/>
                </a:lnTo>
                <a:lnTo>
                  <a:pt x="2367" y="8209"/>
                </a:lnTo>
                <a:lnTo>
                  <a:pt x="2372" y="8211"/>
                </a:lnTo>
                <a:close/>
                <a:moveTo>
                  <a:pt x="11913" y="11560"/>
                </a:moveTo>
                <a:lnTo>
                  <a:pt x="13685" y="11069"/>
                </a:lnTo>
                <a:lnTo>
                  <a:pt x="13682" y="11077"/>
                </a:lnTo>
                <a:lnTo>
                  <a:pt x="13676" y="11099"/>
                </a:lnTo>
                <a:lnTo>
                  <a:pt x="13666" y="11133"/>
                </a:lnTo>
                <a:lnTo>
                  <a:pt x="13652" y="11178"/>
                </a:lnTo>
                <a:lnTo>
                  <a:pt x="13632" y="11234"/>
                </a:lnTo>
                <a:lnTo>
                  <a:pt x="13609" y="11297"/>
                </a:lnTo>
                <a:lnTo>
                  <a:pt x="13596" y="11332"/>
                </a:lnTo>
                <a:lnTo>
                  <a:pt x="13581" y="11367"/>
                </a:lnTo>
                <a:lnTo>
                  <a:pt x="13566" y="11405"/>
                </a:lnTo>
                <a:lnTo>
                  <a:pt x="13548" y="11443"/>
                </a:lnTo>
                <a:lnTo>
                  <a:pt x="13530" y="11483"/>
                </a:lnTo>
                <a:lnTo>
                  <a:pt x="13511" y="11523"/>
                </a:lnTo>
                <a:lnTo>
                  <a:pt x="13490" y="11564"/>
                </a:lnTo>
                <a:lnTo>
                  <a:pt x="13469" y="11606"/>
                </a:lnTo>
                <a:lnTo>
                  <a:pt x="13445" y="11647"/>
                </a:lnTo>
                <a:lnTo>
                  <a:pt x="13421" y="11689"/>
                </a:lnTo>
                <a:lnTo>
                  <a:pt x="13396" y="11730"/>
                </a:lnTo>
                <a:lnTo>
                  <a:pt x="13370" y="11771"/>
                </a:lnTo>
                <a:lnTo>
                  <a:pt x="13341" y="11813"/>
                </a:lnTo>
                <a:lnTo>
                  <a:pt x="13312" y="11853"/>
                </a:lnTo>
                <a:lnTo>
                  <a:pt x="13281" y="11893"/>
                </a:lnTo>
                <a:lnTo>
                  <a:pt x="13249" y="11932"/>
                </a:lnTo>
                <a:lnTo>
                  <a:pt x="13216" y="11969"/>
                </a:lnTo>
                <a:lnTo>
                  <a:pt x="13182" y="12005"/>
                </a:lnTo>
                <a:lnTo>
                  <a:pt x="13145" y="12040"/>
                </a:lnTo>
                <a:lnTo>
                  <a:pt x="13108" y="12072"/>
                </a:lnTo>
                <a:lnTo>
                  <a:pt x="13070" y="12104"/>
                </a:lnTo>
                <a:lnTo>
                  <a:pt x="13032" y="12134"/>
                </a:lnTo>
                <a:lnTo>
                  <a:pt x="12995" y="12163"/>
                </a:lnTo>
                <a:lnTo>
                  <a:pt x="12957" y="12191"/>
                </a:lnTo>
                <a:lnTo>
                  <a:pt x="12921" y="12218"/>
                </a:lnTo>
                <a:lnTo>
                  <a:pt x="12884" y="12243"/>
                </a:lnTo>
                <a:lnTo>
                  <a:pt x="12849" y="12267"/>
                </a:lnTo>
                <a:lnTo>
                  <a:pt x="12814" y="12290"/>
                </a:lnTo>
                <a:lnTo>
                  <a:pt x="12779" y="12312"/>
                </a:lnTo>
                <a:lnTo>
                  <a:pt x="12745" y="12333"/>
                </a:lnTo>
                <a:lnTo>
                  <a:pt x="12712" y="12352"/>
                </a:lnTo>
                <a:lnTo>
                  <a:pt x="12680" y="12371"/>
                </a:lnTo>
                <a:lnTo>
                  <a:pt x="12619" y="12405"/>
                </a:lnTo>
                <a:lnTo>
                  <a:pt x="12561" y="12435"/>
                </a:lnTo>
                <a:lnTo>
                  <a:pt x="12509" y="12461"/>
                </a:lnTo>
                <a:lnTo>
                  <a:pt x="12461" y="12484"/>
                </a:lnTo>
                <a:lnTo>
                  <a:pt x="12420" y="12502"/>
                </a:lnTo>
                <a:lnTo>
                  <a:pt x="12384" y="12517"/>
                </a:lnTo>
                <a:lnTo>
                  <a:pt x="12356" y="12528"/>
                </a:lnTo>
                <a:lnTo>
                  <a:pt x="12336" y="12536"/>
                </a:lnTo>
                <a:lnTo>
                  <a:pt x="12323" y="12540"/>
                </a:lnTo>
                <a:lnTo>
                  <a:pt x="12319" y="12542"/>
                </a:lnTo>
                <a:lnTo>
                  <a:pt x="11422" y="12734"/>
                </a:lnTo>
                <a:lnTo>
                  <a:pt x="11425" y="12728"/>
                </a:lnTo>
                <a:lnTo>
                  <a:pt x="11435" y="12710"/>
                </a:lnTo>
                <a:lnTo>
                  <a:pt x="11451" y="12682"/>
                </a:lnTo>
                <a:lnTo>
                  <a:pt x="11473" y="12644"/>
                </a:lnTo>
                <a:lnTo>
                  <a:pt x="11498" y="12599"/>
                </a:lnTo>
                <a:lnTo>
                  <a:pt x="11525" y="12547"/>
                </a:lnTo>
                <a:lnTo>
                  <a:pt x="11555" y="12491"/>
                </a:lnTo>
                <a:lnTo>
                  <a:pt x="11588" y="12430"/>
                </a:lnTo>
                <a:lnTo>
                  <a:pt x="11619" y="12367"/>
                </a:lnTo>
                <a:lnTo>
                  <a:pt x="11651" y="12303"/>
                </a:lnTo>
                <a:lnTo>
                  <a:pt x="11682" y="12239"/>
                </a:lnTo>
                <a:lnTo>
                  <a:pt x="11710" y="12176"/>
                </a:lnTo>
                <a:lnTo>
                  <a:pt x="11723" y="12145"/>
                </a:lnTo>
                <a:lnTo>
                  <a:pt x="11735" y="12116"/>
                </a:lnTo>
                <a:lnTo>
                  <a:pt x="11746" y="12088"/>
                </a:lnTo>
                <a:lnTo>
                  <a:pt x="11757" y="12060"/>
                </a:lnTo>
                <a:lnTo>
                  <a:pt x="11766" y="12034"/>
                </a:lnTo>
                <a:lnTo>
                  <a:pt x="11774" y="12010"/>
                </a:lnTo>
                <a:lnTo>
                  <a:pt x="11780" y="11987"/>
                </a:lnTo>
                <a:lnTo>
                  <a:pt x="11785" y="11965"/>
                </a:lnTo>
                <a:lnTo>
                  <a:pt x="11793" y="11926"/>
                </a:lnTo>
                <a:lnTo>
                  <a:pt x="11802" y="11888"/>
                </a:lnTo>
                <a:lnTo>
                  <a:pt x="11812" y="11849"/>
                </a:lnTo>
                <a:lnTo>
                  <a:pt x="11822" y="11813"/>
                </a:lnTo>
                <a:lnTo>
                  <a:pt x="11833" y="11777"/>
                </a:lnTo>
                <a:lnTo>
                  <a:pt x="11844" y="11744"/>
                </a:lnTo>
                <a:lnTo>
                  <a:pt x="11855" y="11713"/>
                </a:lnTo>
                <a:lnTo>
                  <a:pt x="11865" y="11684"/>
                </a:lnTo>
                <a:lnTo>
                  <a:pt x="11884" y="11633"/>
                </a:lnTo>
                <a:lnTo>
                  <a:pt x="11899" y="11594"/>
                </a:lnTo>
                <a:lnTo>
                  <a:pt x="11909" y="11569"/>
                </a:lnTo>
                <a:lnTo>
                  <a:pt x="11913" y="11560"/>
                </a:lnTo>
                <a:close/>
                <a:moveTo>
                  <a:pt x="7622" y="11497"/>
                </a:moveTo>
                <a:lnTo>
                  <a:pt x="7633" y="11503"/>
                </a:lnTo>
                <a:lnTo>
                  <a:pt x="7663" y="11521"/>
                </a:lnTo>
                <a:lnTo>
                  <a:pt x="7710" y="11549"/>
                </a:lnTo>
                <a:lnTo>
                  <a:pt x="7775" y="11586"/>
                </a:lnTo>
                <a:lnTo>
                  <a:pt x="7812" y="11607"/>
                </a:lnTo>
                <a:lnTo>
                  <a:pt x="7854" y="11629"/>
                </a:lnTo>
                <a:lnTo>
                  <a:pt x="7899" y="11652"/>
                </a:lnTo>
                <a:lnTo>
                  <a:pt x="7947" y="11676"/>
                </a:lnTo>
                <a:lnTo>
                  <a:pt x="7998" y="11702"/>
                </a:lnTo>
                <a:lnTo>
                  <a:pt x="8052" y="11727"/>
                </a:lnTo>
                <a:lnTo>
                  <a:pt x="8108" y="11753"/>
                </a:lnTo>
                <a:lnTo>
                  <a:pt x="8167" y="11780"/>
                </a:lnTo>
                <a:lnTo>
                  <a:pt x="8227" y="11805"/>
                </a:lnTo>
                <a:lnTo>
                  <a:pt x="8291" y="11831"/>
                </a:lnTo>
                <a:lnTo>
                  <a:pt x="8356" y="11855"/>
                </a:lnTo>
                <a:lnTo>
                  <a:pt x="8423" y="11880"/>
                </a:lnTo>
                <a:lnTo>
                  <a:pt x="8491" y="11903"/>
                </a:lnTo>
                <a:lnTo>
                  <a:pt x="8561" y="11925"/>
                </a:lnTo>
                <a:lnTo>
                  <a:pt x="8632" y="11946"/>
                </a:lnTo>
                <a:lnTo>
                  <a:pt x="8704" y="11964"/>
                </a:lnTo>
                <a:lnTo>
                  <a:pt x="8775" y="11982"/>
                </a:lnTo>
                <a:lnTo>
                  <a:pt x="8848" y="11997"/>
                </a:lnTo>
                <a:lnTo>
                  <a:pt x="8922" y="12009"/>
                </a:lnTo>
                <a:lnTo>
                  <a:pt x="8996" y="12019"/>
                </a:lnTo>
                <a:lnTo>
                  <a:pt x="9068" y="12027"/>
                </a:lnTo>
                <a:lnTo>
                  <a:pt x="9142" y="12031"/>
                </a:lnTo>
                <a:lnTo>
                  <a:pt x="9215" y="12032"/>
                </a:lnTo>
                <a:lnTo>
                  <a:pt x="9288" y="12030"/>
                </a:lnTo>
                <a:lnTo>
                  <a:pt x="9360" y="12025"/>
                </a:lnTo>
                <a:lnTo>
                  <a:pt x="9434" y="12020"/>
                </a:lnTo>
                <a:lnTo>
                  <a:pt x="9510" y="12014"/>
                </a:lnTo>
                <a:lnTo>
                  <a:pt x="9586" y="12008"/>
                </a:lnTo>
                <a:lnTo>
                  <a:pt x="9663" y="12001"/>
                </a:lnTo>
                <a:lnTo>
                  <a:pt x="9740" y="11993"/>
                </a:lnTo>
                <a:lnTo>
                  <a:pt x="9817" y="11985"/>
                </a:lnTo>
                <a:lnTo>
                  <a:pt x="9895" y="11975"/>
                </a:lnTo>
                <a:lnTo>
                  <a:pt x="10049" y="11956"/>
                </a:lnTo>
                <a:lnTo>
                  <a:pt x="10199" y="11937"/>
                </a:lnTo>
                <a:lnTo>
                  <a:pt x="10345" y="11917"/>
                </a:lnTo>
                <a:lnTo>
                  <a:pt x="10483" y="11897"/>
                </a:lnTo>
                <a:lnTo>
                  <a:pt x="10612" y="11876"/>
                </a:lnTo>
                <a:lnTo>
                  <a:pt x="10730" y="11858"/>
                </a:lnTo>
                <a:lnTo>
                  <a:pt x="10836" y="11841"/>
                </a:lnTo>
                <a:lnTo>
                  <a:pt x="10926" y="11826"/>
                </a:lnTo>
                <a:lnTo>
                  <a:pt x="11000" y="11813"/>
                </a:lnTo>
                <a:lnTo>
                  <a:pt x="11055" y="11804"/>
                </a:lnTo>
                <a:lnTo>
                  <a:pt x="11090" y="11798"/>
                </a:lnTo>
                <a:lnTo>
                  <a:pt x="11102" y="11795"/>
                </a:lnTo>
                <a:lnTo>
                  <a:pt x="11100" y="11803"/>
                </a:lnTo>
                <a:lnTo>
                  <a:pt x="11093" y="11823"/>
                </a:lnTo>
                <a:lnTo>
                  <a:pt x="11082" y="11856"/>
                </a:lnTo>
                <a:lnTo>
                  <a:pt x="11066" y="11899"/>
                </a:lnTo>
                <a:lnTo>
                  <a:pt x="11048" y="11951"/>
                </a:lnTo>
                <a:lnTo>
                  <a:pt x="11027" y="12010"/>
                </a:lnTo>
                <a:lnTo>
                  <a:pt x="11004" y="12075"/>
                </a:lnTo>
                <a:lnTo>
                  <a:pt x="10979" y="12144"/>
                </a:lnTo>
                <a:lnTo>
                  <a:pt x="10952" y="12217"/>
                </a:lnTo>
                <a:lnTo>
                  <a:pt x="10925" y="12290"/>
                </a:lnTo>
                <a:lnTo>
                  <a:pt x="10897" y="12363"/>
                </a:lnTo>
                <a:lnTo>
                  <a:pt x="10867" y="12434"/>
                </a:lnTo>
                <a:lnTo>
                  <a:pt x="10839" y="12502"/>
                </a:lnTo>
                <a:lnTo>
                  <a:pt x="10812" y="12565"/>
                </a:lnTo>
                <a:lnTo>
                  <a:pt x="10799" y="12595"/>
                </a:lnTo>
                <a:lnTo>
                  <a:pt x="10785" y="12621"/>
                </a:lnTo>
                <a:lnTo>
                  <a:pt x="10772" y="12647"/>
                </a:lnTo>
                <a:lnTo>
                  <a:pt x="10760" y="12669"/>
                </a:lnTo>
                <a:lnTo>
                  <a:pt x="10747" y="12692"/>
                </a:lnTo>
                <a:lnTo>
                  <a:pt x="10733" y="12713"/>
                </a:lnTo>
                <a:lnTo>
                  <a:pt x="10716" y="12734"/>
                </a:lnTo>
                <a:lnTo>
                  <a:pt x="10697" y="12755"/>
                </a:lnTo>
                <a:lnTo>
                  <a:pt x="10678" y="12776"/>
                </a:lnTo>
                <a:lnTo>
                  <a:pt x="10657" y="12796"/>
                </a:lnTo>
                <a:lnTo>
                  <a:pt x="10635" y="12815"/>
                </a:lnTo>
                <a:lnTo>
                  <a:pt x="10611" y="12834"/>
                </a:lnTo>
                <a:lnTo>
                  <a:pt x="10585" y="12853"/>
                </a:lnTo>
                <a:lnTo>
                  <a:pt x="10559" y="12872"/>
                </a:lnTo>
                <a:lnTo>
                  <a:pt x="10531" y="12890"/>
                </a:lnTo>
                <a:lnTo>
                  <a:pt x="10502" y="12907"/>
                </a:lnTo>
                <a:lnTo>
                  <a:pt x="10473" y="12924"/>
                </a:lnTo>
                <a:lnTo>
                  <a:pt x="10442" y="12941"/>
                </a:lnTo>
                <a:lnTo>
                  <a:pt x="10410" y="12957"/>
                </a:lnTo>
                <a:lnTo>
                  <a:pt x="10379" y="12974"/>
                </a:lnTo>
                <a:lnTo>
                  <a:pt x="10346" y="12990"/>
                </a:lnTo>
                <a:lnTo>
                  <a:pt x="10312" y="13005"/>
                </a:lnTo>
                <a:lnTo>
                  <a:pt x="10278" y="13020"/>
                </a:lnTo>
                <a:lnTo>
                  <a:pt x="10244" y="13035"/>
                </a:lnTo>
                <a:lnTo>
                  <a:pt x="10174" y="13063"/>
                </a:lnTo>
                <a:lnTo>
                  <a:pt x="10103" y="13090"/>
                </a:lnTo>
                <a:lnTo>
                  <a:pt x="10031" y="13115"/>
                </a:lnTo>
                <a:lnTo>
                  <a:pt x="9961" y="13139"/>
                </a:lnTo>
                <a:lnTo>
                  <a:pt x="9890" y="13161"/>
                </a:lnTo>
                <a:lnTo>
                  <a:pt x="9821" y="13182"/>
                </a:lnTo>
                <a:lnTo>
                  <a:pt x="9725" y="13209"/>
                </a:lnTo>
                <a:lnTo>
                  <a:pt x="9580" y="13248"/>
                </a:lnTo>
                <a:lnTo>
                  <a:pt x="9393" y="13299"/>
                </a:lnTo>
                <a:lnTo>
                  <a:pt x="9171" y="13357"/>
                </a:lnTo>
                <a:lnTo>
                  <a:pt x="8923" y="13422"/>
                </a:lnTo>
                <a:lnTo>
                  <a:pt x="8655" y="13492"/>
                </a:lnTo>
                <a:lnTo>
                  <a:pt x="8377" y="13564"/>
                </a:lnTo>
                <a:lnTo>
                  <a:pt x="8095" y="13638"/>
                </a:lnTo>
                <a:lnTo>
                  <a:pt x="7817" y="13710"/>
                </a:lnTo>
                <a:lnTo>
                  <a:pt x="7551" y="13779"/>
                </a:lnTo>
                <a:lnTo>
                  <a:pt x="7305" y="13842"/>
                </a:lnTo>
                <a:lnTo>
                  <a:pt x="7087" y="13899"/>
                </a:lnTo>
                <a:lnTo>
                  <a:pt x="6903" y="13946"/>
                </a:lnTo>
                <a:lnTo>
                  <a:pt x="6762" y="13983"/>
                </a:lnTo>
                <a:lnTo>
                  <a:pt x="6672" y="14006"/>
                </a:lnTo>
                <a:lnTo>
                  <a:pt x="6641" y="14014"/>
                </a:lnTo>
                <a:lnTo>
                  <a:pt x="6649" y="14004"/>
                </a:lnTo>
                <a:lnTo>
                  <a:pt x="6673" y="13976"/>
                </a:lnTo>
                <a:lnTo>
                  <a:pt x="6711" y="13930"/>
                </a:lnTo>
                <a:lnTo>
                  <a:pt x="6760" y="13869"/>
                </a:lnTo>
                <a:lnTo>
                  <a:pt x="6820" y="13795"/>
                </a:lnTo>
                <a:lnTo>
                  <a:pt x="6887" y="13709"/>
                </a:lnTo>
                <a:lnTo>
                  <a:pt x="6960" y="13614"/>
                </a:lnTo>
                <a:lnTo>
                  <a:pt x="7038" y="13510"/>
                </a:lnTo>
                <a:lnTo>
                  <a:pt x="7078" y="13455"/>
                </a:lnTo>
                <a:lnTo>
                  <a:pt x="7118" y="13400"/>
                </a:lnTo>
                <a:lnTo>
                  <a:pt x="7158" y="13343"/>
                </a:lnTo>
                <a:lnTo>
                  <a:pt x="7199" y="13286"/>
                </a:lnTo>
                <a:lnTo>
                  <a:pt x="7238" y="13228"/>
                </a:lnTo>
                <a:lnTo>
                  <a:pt x="7277" y="13168"/>
                </a:lnTo>
                <a:lnTo>
                  <a:pt x="7315" y="13110"/>
                </a:lnTo>
                <a:lnTo>
                  <a:pt x="7352" y="13051"/>
                </a:lnTo>
                <a:lnTo>
                  <a:pt x="7388" y="12993"/>
                </a:lnTo>
                <a:lnTo>
                  <a:pt x="7422" y="12934"/>
                </a:lnTo>
                <a:lnTo>
                  <a:pt x="7454" y="12877"/>
                </a:lnTo>
                <a:lnTo>
                  <a:pt x="7485" y="12820"/>
                </a:lnTo>
                <a:lnTo>
                  <a:pt x="7512" y="12764"/>
                </a:lnTo>
                <a:lnTo>
                  <a:pt x="7537" y="12710"/>
                </a:lnTo>
                <a:lnTo>
                  <a:pt x="7560" y="12657"/>
                </a:lnTo>
                <a:lnTo>
                  <a:pt x="7580" y="12606"/>
                </a:lnTo>
                <a:lnTo>
                  <a:pt x="7597" y="12556"/>
                </a:lnTo>
                <a:lnTo>
                  <a:pt x="7612" y="12506"/>
                </a:lnTo>
                <a:lnTo>
                  <a:pt x="7625" y="12455"/>
                </a:lnTo>
                <a:lnTo>
                  <a:pt x="7637" y="12405"/>
                </a:lnTo>
                <a:lnTo>
                  <a:pt x="7646" y="12355"/>
                </a:lnTo>
                <a:lnTo>
                  <a:pt x="7654" y="12306"/>
                </a:lnTo>
                <a:lnTo>
                  <a:pt x="7662" y="12256"/>
                </a:lnTo>
                <a:lnTo>
                  <a:pt x="7668" y="12208"/>
                </a:lnTo>
                <a:lnTo>
                  <a:pt x="7672" y="12159"/>
                </a:lnTo>
                <a:lnTo>
                  <a:pt x="7675" y="12113"/>
                </a:lnTo>
                <a:lnTo>
                  <a:pt x="7677" y="12066"/>
                </a:lnTo>
                <a:lnTo>
                  <a:pt x="7678" y="12021"/>
                </a:lnTo>
                <a:lnTo>
                  <a:pt x="7678" y="11976"/>
                </a:lnTo>
                <a:lnTo>
                  <a:pt x="7677" y="11933"/>
                </a:lnTo>
                <a:lnTo>
                  <a:pt x="7676" y="11892"/>
                </a:lnTo>
                <a:lnTo>
                  <a:pt x="7674" y="11851"/>
                </a:lnTo>
                <a:lnTo>
                  <a:pt x="7671" y="11813"/>
                </a:lnTo>
                <a:lnTo>
                  <a:pt x="7668" y="11775"/>
                </a:lnTo>
                <a:lnTo>
                  <a:pt x="7664" y="11740"/>
                </a:lnTo>
                <a:lnTo>
                  <a:pt x="7660" y="11707"/>
                </a:lnTo>
                <a:lnTo>
                  <a:pt x="7651" y="11646"/>
                </a:lnTo>
                <a:lnTo>
                  <a:pt x="7643" y="11595"/>
                </a:lnTo>
                <a:lnTo>
                  <a:pt x="7635" y="11553"/>
                </a:lnTo>
                <a:lnTo>
                  <a:pt x="7628" y="11522"/>
                </a:lnTo>
                <a:lnTo>
                  <a:pt x="7624" y="11503"/>
                </a:lnTo>
                <a:lnTo>
                  <a:pt x="7622" y="11497"/>
                </a:lnTo>
                <a:close/>
                <a:moveTo>
                  <a:pt x="14393" y="10247"/>
                </a:moveTo>
                <a:lnTo>
                  <a:pt x="14396" y="10218"/>
                </a:lnTo>
                <a:lnTo>
                  <a:pt x="14405" y="10135"/>
                </a:lnTo>
                <a:lnTo>
                  <a:pt x="14412" y="10074"/>
                </a:lnTo>
                <a:lnTo>
                  <a:pt x="14418" y="10003"/>
                </a:lnTo>
                <a:lnTo>
                  <a:pt x="14423" y="9921"/>
                </a:lnTo>
                <a:lnTo>
                  <a:pt x="14429" y="9828"/>
                </a:lnTo>
                <a:lnTo>
                  <a:pt x="14433" y="9727"/>
                </a:lnTo>
                <a:lnTo>
                  <a:pt x="14436" y="9616"/>
                </a:lnTo>
                <a:lnTo>
                  <a:pt x="14438" y="9498"/>
                </a:lnTo>
                <a:lnTo>
                  <a:pt x="14437" y="9372"/>
                </a:lnTo>
                <a:lnTo>
                  <a:pt x="14435" y="9240"/>
                </a:lnTo>
                <a:lnTo>
                  <a:pt x="14429" y="9103"/>
                </a:lnTo>
                <a:lnTo>
                  <a:pt x="14421" y="8960"/>
                </a:lnTo>
                <a:lnTo>
                  <a:pt x="14408" y="8812"/>
                </a:lnTo>
                <a:lnTo>
                  <a:pt x="14393" y="8661"/>
                </a:lnTo>
                <a:lnTo>
                  <a:pt x="14373" y="8508"/>
                </a:lnTo>
                <a:lnTo>
                  <a:pt x="14349" y="8351"/>
                </a:lnTo>
                <a:lnTo>
                  <a:pt x="14321" y="8192"/>
                </a:lnTo>
                <a:lnTo>
                  <a:pt x="14286" y="8034"/>
                </a:lnTo>
                <a:lnTo>
                  <a:pt x="14246" y="7875"/>
                </a:lnTo>
                <a:lnTo>
                  <a:pt x="14200" y="7717"/>
                </a:lnTo>
                <a:lnTo>
                  <a:pt x="14148" y="7559"/>
                </a:lnTo>
                <a:lnTo>
                  <a:pt x="14089" y="7404"/>
                </a:lnTo>
                <a:lnTo>
                  <a:pt x="14022" y="7251"/>
                </a:lnTo>
                <a:lnTo>
                  <a:pt x="13949" y="7101"/>
                </a:lnTo>
                <a:lnTo>
                  <a:pt x="13868" y="6956"/>
                </a:lnTo>
                <a:lnTo>
                  <a:pt x="13779" y="6816"/>
                </a:lnTo>
                <a:lnTo>
                  <a:pt x="13681" y="6680"/>
                </a:lnTo>
                <a:lnTo>
                  <a:pt x="13574" y="6552"/>
                </a:lnTo>
                <a:lnTo>
                  <a:pt x="13457" y="6429"/>
                </a:lnTo>
                <a:lnTo>
                  <a:pt x="13339" y="6315"/>
                </a:lnTo>
                <a:lnTo>
                  <a:pt x="13226" y="6207"/>
                </a:lnTo>
                <a:lnTo>
                  <a:pt x="13119" y="6107"/>
                </a:lnTo>
                <a:lnTo>
                  <a:pt x="13016" y="6014"/>
                </a:lnTo>
                <a:lnTo>
                  <a:pt x="12918" y="5928"/>
                </a:lnTo>
                <a:lnTo>
                  <a:pt x="12825" y="5847"/>
                </a:lnTo>
                <a:lnTo>
                  <a:pt x="12735" y="5773"/>
                </a:lnTo>
                <a:lnTo>
                  <a:pt x="12650" y="5704"/>
                </a:lnTo>
                <a:lnTo>
                  <a:pt x="12568" y="5642"/>
                </a:lnTo>
                <a:lnTo>
                  <a:pt x="12490" y="5585"/>
                </a:lnTo>
                <a:lnTo>
                  <a:pt x="12416" y="5533"/>
                </a:lnTo>
                <a:lnTo>
                  <a:pt x="12344" y="5484"/>
                </a:lnTo>
                <a:lnTo>
                  <a:pt x="12274" y="5442"/>
                </a:lnTo>
                <a:lnTo>
                  <a:pt x="12208" y="5402"/>
                </a:lnTo>
                <a:lnTo>
                  <a:pt x="12144" y="5367"/>
                </a:lnTo>
                <a:lnTo>
                  <a:pt x="12082" y="5336"/>
                </a:lnTo>
                <a:lnTo>
                  <a:pt x="12021" y="5308"/>
                </a:lnTo>
                <a:lnTo>
                  <a:pt x="11963" y="5283"/>
                </a:lnTo>
                <a:lnTo>
                  <a:pt x="11906" y="5261"/>
                </a:lnTo>
                <a:lnTo>
                  <a:pt x="11850" y="5242"/>
                </a:lnTo>
                <a:lnTo>
                  <a:pt x="11795" y="5225"/>
                </a:lnTo>
                <a:lnTo>
                  <a:pt x="11740" y="5209"/>
                </a:lnTo>
                <a:lnTo>
                  <a:pt x="11687" y="5196"/>
                </a:lnTo>
                <a:lnTo>
                  <a:pt x="11632" y="5185"/>
                </a:lnTo>
                <a:lnTo>
                  <a:pt x="11579" y="5175"/>
                </a:lnTo>
                <a:lnTo>
                  <a:pt x="11524" y="5165"/>
                </a:lnTo>
                <a:lnTo>
                  <a:pt x="11470" y="5157"/>
                </a:lnTo>
                <a:lnTo>
                  <a:pt x="11415" y="5149"/>
                </a:lnTo>
                <a:lnTo>
                  <a:pt x="11301" y="5133"/>
                </a:lnTo>
                <a:lnTo>
                  <a:pt x="11182" y="5114"/>
                </a:lnTo>
                <a:lnTo>
                  <a:pt x="11119" y="5105"/>
                </a:lnTo>
                <a:lnTo>
                  <a:pt x="11057" y="5098"/>
                </a:lnTo>
                <a:lnTo>
                  <a:pt x="10995" y="5092"/>
                </a:lnTo>
                <a:lnTo>
                  <a:pt x="10933" y="5087"/>
                </a:lnTo>
                <a:lnTo>
                  <a:pt x="10870" y="5083"/>
                </a:lnTo>
                <a:lnTo>
                  <a:pt x="10808" y="5080"/>
                </a:lnTo>
                <a:lnTo>
                  <a:pt x="10746" y="5078"/>
                </a:lnTo>
                <a:lnTo>
                  <a:pt x="10684" y="5077"/>
                </a:lnTo>
                <a:lnTo>
                  <a:pt x="10623" y="5077"/>
                </a:lnTo>
                <a:lnTo>
                  <a:pt x="10561" y="5077"/>
                </a:lnTo>
                <a:lnTo>
                  <a:pt x="10500" y="5079"/>
                </a:lnTo>
                <a:lnTo>
                  <a:pt x="10440" y="5081"/>
                </a:lnTo>
                <a:lnTo>
                  <a:pt x="10380" y="5084"/>
                </a:lnTo>
                <a:lnTo>
                  <a:pt x="10321" y="5087"/>
                </a:lnTo>
                <a:lnTo>
                  <a:pt x="10262" y="5091"/>
                </a:lnTo>
                <a:lnTo>
                  <a:pt x="10204" y="5095"/>
                </a:lnTo>
                <a:lnTo>
                  <a:pt x="10090" y="5106"/>
                </a:lnTo>
                <a:lnTo>
                  <a:pt x="9981" y="5117"/>
                </a:lnTo>
                <a:lnTo>
                  <a:pt x="9876" y="5131"/>
                </a:lnTo>
                <a:lnTo>
                  <a:pt x="9776" y="5143"/>
                </a:lnTo>
                <a:lnTo>
                  <a:pt x="9681" y="5156"/>
                </a:lnTo>
                <a:lnTo>
                  <a:pt x="9593" y="5169"/>
                </a:lnTo>
                <a:lnTo>
                  <a:pt x="9511" y="5180"/>
                </a:lnTo>
                <a:lnTo>
                  <a:pt x="9436" y="5190"/>
                </a:lnTo>
                <a:lnTo>
                  <a:pt x="9379" y="5201"/>
                </a:lnTo>
                <a:lnTo>
                  <a:pt x="9280" y="5224"/>
                </a:lnTo>
                <a:lnTo>
                  <a:pt x="9143" y="5257"/>
                </a:lnTo>
                <a:lnTo>
                  <a:pt x="8970" y="5299"/>
                </a:lnTo>
                <a:lnTo>
                  <a:pt x="8764" y="5352"/>
                </a:lnTo>
                <a:lnTo>
                  <a:pt x="8529" y="5412"/>
                </a:lnTo>
                <a:lnTo>
                  <a:pt x="8266" y="5480"/>
                </a:lnTo>
                <a:lnTo>
                  <a:pt x="7980" y="5556"/>
                </a:lnTo>
                <a:lnTo>
                  <a:pt x="7343" y="5724"/>
                </a:lnTo>
                <a:lnTo>
                  <a:pt x="6644" y="5908"/>
                </a:lnTo>
                <a:lnTo>
                  <a:pt x="5904" y="6106"/>
                </a:lnTo>
                <a:lnTo>
                  <a:pt x="5145" y="6309"/>
                </a:lnTo>
                <a:lnTo>
                  <a:pt x="4391" y="6512"/>
                </a:lnTo>
                <a:lnTo>
                  <a:pt x="3665" y="6707"/>
                </a:lnTo>
                <a:lnTo>
                  <a:pt x="2987" y="6890"/>
                </a:lnTo>
                <a:lnTo>
                  <a:pt x="2382" y="7053"/>
                </a:lnTo>
                <a:lnTo>
                  <a:pt x="1873" y="7191"/>
                </a:lnTo>
                <a:lnTo>
                  <a:pt x="1481" y="7297"/>
                </a:lnTo>
                <a:lnTo>
                  <a:pt x="1229" y="7366"/>
                </a:lnTo>
                <a:lnTo>
                  <a:pt x="1140" y="7390"/>
                </a:lnTo>
                <a:lnTo>
                  <a:pt x="1167" y="7393"/>
                </a:lnTo>
                <a:lnTo>
                  <a:pt x="1246" y="7406"/>
                </a:lnTo>
                <a:lnTo>
                  <a:pt x="1303" y="7415"/>
                </a:lnTo>
                <a:lnTo>
                  <a:pt x="1371" y="7427"/>
                </a:lnTo>
                <a:lnTo>
                  <a:pt x="1451" y="7441"/>
                </a:lnTo>
                <a:lnTo>
                  <a:pt x="1540" y="7458"/>
                </a:lnTo>
                <a:lnTo>
                  <a:pt x="1638" y="7477"/>
                </a:lnTo>
                <a:lnTo>
                  <a:pt x="1745" y="7499"/>
                </a:lnTo>
                <a:lnTo>
                  <a:pt x="1861" y="7526"/>
                </a:lnTo>
                <a:lnTo>
                  <a:pt x="1984" y="7554"/>
                </a:lnTo>
                <a:lnTo>
                  <a:pt x="2113" y="7586"/>
                </a:lnTo>
                <a:lnTo>
                  <a:pt x="2251" y="7622"/>
                </a:lnTo>
                <a:lnTo>
                  <a:pt x="2392" y="7660"/>
                </a:lnTo>
                <a:lnTo>
                  <a:pt x="2540" y="7702"/>
                </a:lnTo>
                <a:lnTo>
                  <a:pt x="2692" y="7749"/>
                </a:lnTo>
                <a:lnTo>
                  <a:pt x="2849" y="7799"/>
                </a:lnTo>
                <a:lnTo>
                  <a:pt x="3009" y="7854"/>
                </a:lnTo>
                <a:lnTo>
                  <a:pt x="3171" y="7913"/>
                </a:lnTo>
                <a:lnTo>
                  <a:pt x="3336" y="7975"/>
                </a:lnTo>
                <a:lnTo>
                  <a:pt x="3503" y="8042"/>
                </a:lnTo>
                <a:lnTo>
                  <a:pt x="3671" y="8114"/>
                </a:lnTo>
                <a:lnTo>
                  <a:pt x="3839" y="8190"/>
                </a:lnTo>
                <a:lnTo>
                  <a:pt x="4007" y="8271"/>
                </a:lnTo>
                <a:lnTo>
                  <a:pt x="4175" y="8357"/>
                </a:lnTo>
                <a:lnTo>
                  <a:pt x="4342" y="8448"/>
                </a:lnTo>
                <a:lnTo>
                  <a:pt x="4506" y="8544"/>
                </a:lnTo>
                <a:lnTo>
                  <a:pt x="4669" y="8646"/>
                </a:lnTo>
                <a:lnTo>
                  <a:pt x="4829" y="8752"/>
                </a:lnTo>
                <a:lnTo>
                  <a:pt x="4984" y="8865"/>
                </a:lnTo>
                <a:lnTo>
                  <a:pt x="5136" y="8982"/>
                </a:lnTo>
                <a:lnTo>
                  <a:pt x="5285" y="9103"/>
                </a:lnTo>
                <a:lnTo>
                  <a:pt x="5433" y="9222"/>
                </a:lnTo>
                <a:lnTo>
                  <a:pt x="5581" y="9338"/>
                </a:lnTo>
                <a:lnTo>
                  <a:pt x="5727" y="9453"/>
                </a:lnTo>
                <a:lnTo>
                  <a:pt x="5873" y="9566"/>
                </a:lnTo>
                <a:lnTo>
                  <a:pt x="6017" y="9676"/>
                </a:lnTo>
                <a:lnTo>
                  <a:pt x="6160" y="9784"/>
                </a:lnTo>
                <a:lnTo>
                  <a:pt x="6302" y="9891"/>
                </a:lnTo>
                <a:lnTo>
                  <a:pt x="6442" y="9994"/>
                </a:lnTo>
                <a:lnTo>
                  <a:pt x="6581" y="10095"/>
                </a:lnTo>
                <a:lnTo>
                  <a:pt x="6718" y="10193"/>
                </a:lnTo>
                <a:lnTo>
                  <a:pt x="6852" y="10286"/>
                </a:lnTo>
                <a:lnTo>
                  <a:pt x="6985" y="10378"/>
                </a:lnTo>
                <a:lnTo>
                  <a:pt x="7116" y="10466"/>
                </a:lnTo>
                <a:lnTo>
                  <a:pt x="7245" y="10551"/>
                </a:lnTo>
                <a:lnTo>
                  <a:pt x="7371" y="10632"/>
                </a:lnTo>
                <a:lnTo>
                  <a:pt x="7495" y="10710"/>
                </a:lnTo>
                <a:lnTo>
                  <a:pt x="7616" y="10783"/>
                </a:lnTo>
                <a:lnTo>
                  <a:pt x="7734" y="10853"/>
                </a:lnTo>
                <a:lnTo>
                  <a:pt x="7851" y="10919"/>
                </a:lnTo>
                <a:lnTo>
                  <a:pt x="7964" y="10980"/>
                </a:lnTo>
                <a:lnTo>
                  <a:pt x="8073" y="11037"/>
                </a:lnTo>
                <a:lnTo>
                  <a:pt x="8180" y="11090"/>
                </a:lnTo>
                <a:lnTo>
                  <a:pt x="8284" y="11137"/>
                </a:lnTo>
                <a:lnTo>
                  <a:pt x="8384" y="11180"/>
                </a:lnTo>
                <a:lnTo>
                  <a:pt x="8480" y="11218"/>
                </a:lnTo>
                <a:lnTo>
                  <a:pt x="8573" y="11251"/>
                </a:lnTo>
                <a:lnTo>
                  <a:pt x="8663" y="11278"/>
                </a:lnTo>
                <a:lnTo>
                  <a:pt x="8748" y="11301"/>
                </a:lnTo>
                <a:lnTo>
                  <a:pt x="8830" y="11318"/>
                </a:lnTo>
                <a:lnTo>
                  <a:pt x="8907" y="11329"/>
                </a:lnTo>
                <a:lnTo>
                  <a:pt x="8980" y="11334"/>
                </a:lnTo>
                <a:lnTo>
                  <a:pt x="9120" y="11338"/>
                </a:lnTo>
                <a:lnTo>
                  <a:pt x="9254" y="11341"/>
                </a:lnTo>
                <a:lnTo>
                  <a:pt x="9384" y="11342"/>
                </a:lnTo>
                <a:lnTo>
                  <a:pt x="9510" y="11342"/>
                </a:lnTo>
                <a:lnTo>
                  <a:pt x="9572" y="11341"/>
                </a:lnTo>
                <a:lnTo>
                  <a:pt x="9633" y="11340"/>
                </a:lnTo>
                <a:lnTo>
                  <a:pt x="9694" y="11338"/>
                </a:lnTo>
                <a:lnTo>
                  <a:pt x="9754" y="11336"/>
                </a:lnTo>
                <a:lnTo>
                  <a:pt x="9814" y="11333"/>
                </a:lnTo>
                <a:lnTo>
                  <a:pt x="9873" y="11330"/>
                </a:lnTo>
                <a:lnTo>
                  <a:pt x="9932" y="11326"/>
                </a:lnTo>
                <a:lnTo>
                  <a:pt x="9992" y="11321"/>
                </a:lnTo>
                <a:lnTo>
                  <a:pt x="10052" y="11317"/>
                </a:lnTo>
                <a:lnTo>
                  <a:pt x="10110" y="11311"/>
                </a:lnTo>
                <a:lnTo>
                  <a:pt x="10170" y="11305"/>
                </a:lnTo>
                <a:lnTo>
                  <a:pt x="10231" y="11298"/>
                </a:lnTo>
                <a:lnTo>
                  <a:pt x="10290" y="11290"/>
                </a:lnTo>
                <a:lnTo>
                  <a:pt x="10351" y="11282"/>
                </a:lnTo>
                <a:lnTo>
                  <a:pt x="10412" y="11272"/>
                </a:lnTo>
                <a:lnTo>
                  <a:pt x="10474" y="11263"/>
                </a:lnTo>
                <a:lnTo>
                  <a:pt x="10537" y="11252"/>
                </a:lnTo>
                <a:lnTo>
                  <a:pt x="10600" y="11241"/>
                </a:lnTo>
                <a:lnTo>
                  <a:pt x="10665" y="11229"/>
                </a:lnTo>
                <a:lnTo>
                  <a:pt x="10730" y="11217"/>
                </a:lnTo>
                <a:lnTo>
                  <a:pt x="10797" y="11203"/>
                </a:lnTo>
                <a:lnTo>
                  <a:pt x="10864" y="11189"/>
                </a:lnTo>
                <a:lnTo>
                  <a:pt x="10934" y="11173"/>
                </a:lnTo>
                <a:lnTo>
                  <a:pt x="11004" y="11157"/>
                </a:lnTo>
                <a:lnTo>
                  <a:pt x="11167" y="11118"/>
                </a:lnTo>
                <a:lnTo>
                  <a:pt x="11368" y="11067"/>
                </a:lnTo>
                <a:lnTo>
                  <a:pt x="11598" y="11008"/>
                </a:lnTo>
                <a:lnTo>
                  <a:pt x="11854" y="10940"/>
                </a:lnTo>
                <a:lnTo>
                  <a:pt x="12126" y="10867"/>
                </a:lnTo>
                <a:lnTo>
                  <a:pt x="12409" y="10792"/>
                </a:lnTo>
                <a:lnTo>
                  <a:pt x="12697" y="10714"/>
                </a:lnTo>
                <a:lnTo>
                  <a:pt x="12983" y="10636"/>
                </a:lnTo>
                <a:lnTo>
                  <a:pt x="13259" y="10560"/>
                </a:lnTo>
                <a:lnTo>
                  <a:pt x="13521" y="10489"/>
                </a:lnTo>
                <a:lnTo>
                  <a:pt x="13760" y="10423"/>
                </a:lnTo>
                <a:lnTo>
                  <a:pt x="13970" y="10364"/>
                </a:lnTo>
                <a:lnTo>
                  <a:pt x="14146" y="10316"/>
                </a:lnTo>
                <a:lnTo>
                  <a:pt x="14279" y="10278"/>
                </a:lnTo>
                <a:lnTo>
                  <a:pt x="14363" y="10255"/>
                </a:lnTo>
                <a:lnTo>
                  <a:pt x="14393" y="10247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lIns="68562" tIns="34281" rIns="68562" bIns="34281"/>
          <a:lstStyle/>
          <a:p>
            <a:pPr>
              <a:buClr>
                <a:srgbClr val="CC9900"/>
              </a:buClr>
              <a:buFont typeface="Wingdings" pitchFamily="2" charset="2"/>
              <a:buChar char="n"/>
              <a:defRPr/>
            </a:pPr>
            <a:endParaRPr lang="zh-CN" altLang="en-US">
              <a:latin typeface="Arial" charset="0"/>
              <a:ea typeface="宋体" charset="-122"/>
            </a:endParaRPr>
          </a:p>
        </p:txBody>
      </p:sp>
      <p:pic>
        <p:nvPicPr>
          <p:cNvPr id="56377" name="Picture 11"/>
          <p:cNvPicPr>
            <a:picLocks noChangeAspect="1" noChangeArrowheads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881438" y="3571875"/>
            <a:ext cx="487362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12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709738" y="3476625"/>
            <a:ext cx="1001712" cy="60642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sp>
        <p:nvSpPr>
          <p:cNvPr id="86" name="矩形 85"/>
          <p:cNvSpPr/>
          <p:nvPr/>
        </p:nvSpPr>
        <p:spPr>
          <a:xfrm>
            <a:off x="1515641" y="4088804"/>
            <a:ext cx="1400175" cy="4271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Arial" pitchFamily="34" charset="0"/>
              </a:rPr>
              <a:t>Panoramic Monitoring</a:t>
            </a:r>
          </a:p>
        </p:txBody>
      </p:sp>
      <p:pic>
        <p:nvPicPr>
          <p:cNvPr id="87" name="Picture 124"/>
          <p:cNvPicPr>
            <a:picLocks noChangeAspect="1" noChangeArrowheads="1"/>
          </p:cNvPicPr>
          <p:nvPr/>
        </p:nvPicPr>
        <p:blipFill>
          <a:blip r:embed="rId16" cstate="print"/>
          <a:srcRect b="10660"/>
          <a:stretch>
            <a:fillRect/>
          </a:stretch>
        </p:blipFill>
        <p:spPr bwMode="auto">
          <a:xfrm>
            <a:off x="4391025" y="3476625"/>
            <a:ext cx="1020763" cy="60642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8" name="Picture 125"/>
          <p:cNvPicPr>
            <a:picLocks noChangeAspect="1" noChangeArrowheads="1"/>
          </p:cNvPicPr>
          <p:nvPr/>
        </p:nvPicPr>
        <p:blipFill>
          <a:blip r:embed="rId17" cstate="print"/>
          <a:srcRect b="4341"/>
          <a:stretch>
            <a:fillRect/>
          </a:stretch>
        </p:blipFill>
        <p:spPr bwMode="auto">
          <a:xfrm>
            <a:off x="6921500" y="3476625"/>
            <a:ext cx="1017588" cy="60642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pic>
      <p:sp>
        <p:nvSpPr>
          <p:cNvPr id="89" name="矩形 88"/>
          <p:cNvSpPr/>
          <p:nvPr/>
        </p:nvSpPr>
        <p:spPr>
          <a:xfrm>
            <a:off x="3794125" y="4083918"/>
            <a:ext cx="1638300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" rIns="3600" anchor="ctr"/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Arial" pitchFamily="34" charset="0"/>
              </a:rPr>
              <a:t>Integration </a:t>
            </a:r>
            <a:endParaRPr lang="en-US" altLang="zh-CN" sz="14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algn="ctr">
              <a:defRPr/>
            </a:pPr>
            <a:r>
              <a:rPr lang="en-US" altLang="zh-CN" sz="1400" b="1" dirty="0" smtClean="0">
                <a:solidFill>
                  <a:schemeClr val="bg1"/>
                </a:solidFill>
                <a:cs typeface="Arial" pitchFamily="34" charset="0"/>
              </a:rPr>
              <a:t>Command</a:t>
            </a:r>
            <a:endParaRPr lang="en-US" altLang="zh-CN" sz="1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6383" name="文本框 5"/>
          <p:cNvSpPr txBox="1">
            <a:spLocks noChangeArrowheads="1"/>
          </p:cNvSpPr>
          <p:nvPr/>
        </p:nvSpPr>
        <p:spPr bwMode="auto">
          <a:xfrm>
            <a:off x="239713" y="212725"/>
            <a:ext cx="8904287" cy="411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5452" tIns="37726" rIns="75452" bIns="37726">
            <a:spAutoFit/>
          </a:bodyPr>
          <a:lstStyle/>
          <a:p>
            <a:pPr marL="0" lvl="1" defTabSz="912813" eaLnBrk="0" hangingPunct="0">
              <a:lnSpc>
                <a:spcPct val="120000"/>
              </a:lnSpc>
              <a:buClr>
                <a:srgbClr val="5F5F5F"/>
              </a:buClr>
              <a:buSzPct val="80000"/>
            </a:pPr>
            <a:r>
              <a:rPr lang="en-US" altLang="zh-CN" sz="20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sym typeface="Calibri" pitchFamily="34" charset="0"/>
              </a:rPr>
              <a:t>Leading Huawei eLTE Solution Supports Multi-services in One Network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" hidden="1"/>
          <p:cNvGraphicFramePr>
            <a:graphicFrameLocks noChangeAspect="1"/>
          </p:cNvGraphicFramePr>
          <p:nvPr/>
        </p:nvGraphicFramePr>
        <p:xfrm>
          <a:off x="1588" y="1588"/>
          <a:ext cx="0" cy="1587"/>
        </p:xfrm>
        <a:graphic>
          <a:graphicData uri="http://schemas.openxmlformats.org/presentationml/2006/ole">
            <p:oleObj spid="_x0000_s146434" name="think-cell Slide" r:id="rId8" imgW="360" imgH="360" progId="">
              <p:embed/>
            </p:oleObj>
          </a:graphicData>
        </a:graphic>
      </p:graphicFrame>
      <p:sp>
        <p:nvSpPr>
          <p:cNvPr id="46" name="圆角矩形 277"/>
          <p:cNvSpPr/>
          <p:nvPr/>
        </p:nvSpPr>
        <p:spPr bwMode="auto">
          <a:xfrm>
            <a:off x="6503988" y="2713038"/>
            <a:ext cx="2393950" cy="1858962"/>
          </a:xfrm>
          <a:prstGeom prst="roundRect">
            <a:avLst>
              <a:gd name="adj" fmla="val 4215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FFFFF"/>
              </a:gs>
            </a:gsLst>
            <a:lin ang="16200000" scaled="0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</p:spPr>
        <p:txBody>
          <a:bodyPr lIns="91374" tIns="45687" rIns="91374" bIns="45687"/>
          <a:lstStyle/>
          <a:p>
            <a:pPr defTabSz="912813">
              <a:buClr>
                <a:srgbClr val="CC9900"/>
              </a:buClr>
              <a:buFont typeface="Wingdings" pitchFamily="2" charset="2"/>
              <a:buNone/>
            </a:pPr>
            <a:endParaRPr lang="en-US" altLang="zh-CN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44" name="图片 25" descr="E05-b-接线员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45400" y="3352800"/>
            <a:ext cx="168275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5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951663" y="3275013"/>
            <a:ext cx="247650" cy="446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6" name="Rectangle 2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523288" y="3470275"/>
            <a:ext cx="153987" cy="241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247" name="图片 25" descr="未标题-1 拷贝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532813" y="3835400"/>
            <a:ext cx="90487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248" name="直接箭头连接符 286"/>
          <p:cNvCxnSpPr>
            <a:cxnSpLocks noChangeShapeType="1"/>
          </p:cNvCxnSpPr>
          <p:nvPr/>
        </p:nvCxnSpPr>
        <p:spPr bwMode="auto">
          <a:xfrm flipV="1">
            <a:off x="7894638" y="3198813"/>
            <a:ext cx="434975" cy="244475"/>
          </a:xfrm>
          <a:prstGeom prst="straightConnector1">
            <a:avLst/>
          </a:prstGeom>
          <a:noFill/>
          <a:ln w="19050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10249" name="直接箭头连接符 286"/>
          <p:cNvCxnSpPr>
            <a:cxnSpLocks noChangeShapeType="1"/>
          </p:cNvCxnSpPr>
          <p:nvPr/>
        </p:nvCxnSpPr>
        <p:spPr bwMode="auto">
          <a:xfrm>
            <a:off x="7894638" y="3741738"/>
            <a:ext cx="430212" cy="157162"/>
          </a:xfrm>
          <a:prstGeom prst="straightConnector1">
            <a:avLst/>
          </a:prstGeom>
          <a:noFill/>
          <a:ln w="19050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cxnSp>
        <p:nvCxnSpPr>
          <p:cNvPr id="10250" name="直接箭头连接符 286"/>
          <p:cNvCxnSpPr>
            <a:cxnSpLocks noChangeShapeType="1"/>
          </p:cNvCxnSpPr>
          <p:nvPr/>
        </p:nvCxnSpPr>
        <p:spPr bwMode="auto">
          <a:xfrm flipV="1">
            <a:off x="7223125" y="3571875"/>
            <a:ext cx="382588" cy="6350"/>
          </a:xfrm>
          <a:prstGeom prst="straightConnector1">
            <a:avLst/>
          </a:prstGeom>
          <a:noFill/>
          <a:ln w="19050">
            <a:solidFill>
              <a:srgbClr val="C00000"/>
            </a:solidFill>
            <a:round/>
            <a:headEnd/>
            <a:tailEnd type="arrow" w="med" len="med"/>
          </a:ln>
        </p:spPr>
      </p:cxnSp>
      <p:cxnSp>
        <p:nvCxnSpPr>
          <p:cNvPr id="10251" name="直接箭头连接符 286"/>
          <p:cNvCxnSpPr>
            <a:cxnSpLocks noChangeShapeType="1"/>
          </p:cNvCxnSpPr>
          <p:nvPr/>
        </p:nvCxnSpPr>
        <p:spPr bwMode="auto">
          <a:xfrm flipV="1">
            <a:off x="7918450" y="3589338"/>
            <a:ext cx="382588" cy="6350"/>
          </a:xfrm>
          <a:prstGeom prst="straightConnector1">
            <a:avLst/>
          </a:prstGeom>
          <a:noFill/>
          <a:ln w="19050">
            <a:solidFill>
              <a:srgbClr val="C00000"/>
            </a:solidFill>
            <a:prstDash val="dash"/>
            <a:round/>
            <a:headEnd/>
            <a:tailEnd type="arrow" w="med" len="med"/>
          </a:ln>
        </p:spPr>
      </p:cxnSp>
      <p:sp>
        <p:nvSpPr>
          <p:cNvPr id="10252" name="TextBox 323"/>
          <p:cNvSpPr txBox="1">
            <a:spLocks noChangeArrowheads="1"/>
          </p:cNvSpPr>
          <p:nvPr/>
        </p:nvSpPr>
        <p:spPr bwMode="auto">
          <a:xfrm>
            <a:off x="6546850" y="3890963"/>
            <a:ext cx="17430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200">
                <a:latin typeface="Arial" pitchFamily="34" charset="0"/>
                <a:cs typeface="Arial" pitchFamily="34" charset="0"/>
              </a:rPr>
              <a:t>I am going to call ***</a:t>
            </a:r>
            <a:endParaRPr lang="zh-CN" altLang="en-US" sz="120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53" name="Picture 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451850" y="2978150"/>
            <a:ext cx="1524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4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447088" y="3527425"/>
            <a:ext cx="8413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55" name="Picture 4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447088" y="3881438"/>
            <a:ext cx="88900" cy="20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" name="矩形 202"/>
          <p:cNvSpPr/>
          <p:nvPr>
            <p:custDataLst>
              <p:tags r:id="rId2"/>
            </p:custDataLst>
          </p:nvPr>
        </p:nvSpPr>
        <p:spPr bwMode="auto">
          <a:xfrm>
            <a:off x="6511925" y="2719388"/>
            <a:ext cx="2395538" cy="3111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427" tIns="45714" rIns="91427" bIns="45714" anchor="ctr"/>
          <a:lstStyle/>
          <a:p>
            <a:pPr algn="ctr" eaLnBrk="0" hangingPunct="0">
              <a:defRPr/>
            </a:pPr>
            <a:r>
              <a:rPr lang="en-US" altLang="zh-CN" sz="1200" b="1" dirty="0">
                <a:solidFill>
                  <a:srgbClr val="FFFFFF"/>
                </a:solidFill>
                <a:latin typeface="Arial" pitchFamily="34" charset="0"/>
                <a:ea typeface="微软雅黑" pitchFamily="34" charset="-122"/>
              </a:rPr>
              <a:t>Attendant Forwarding</a:t>
            </a:r>
          </a:p>
        </p:txBody>
      </p:sp>
      <p:sp>
        <p:nvSpPr>
          <p:cNvPr id="252" name="标题 1"/>
          <p:cNvSpPr txBox="1">
            <a:spLocks/>
          </p:cNvSpPr>
          <p:nvPr/>
        </p:nvSpPr>
        <p:spPr bwMode="auto">
          <a:xfrm>
            <a:off x="192088" y="298450"/>
            <a:ext cx="9144000" cy="6540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altLang="zh-CN" sz="1900" b="1" dirty="0">
                <a:solidFill>
                  <a:srgbClr val="FFC000"/>
                </a:solidFill>
                <a:latin typeface="FrutigerNext LT Medium" pitchFamily="34" charset="0"/>
                <a:ea typeface="黑体" pitchFamily="49" charset="-122"/>
              </a:rPr>
              <a:t>Enhanced Trunking Features for Higher Efficiency and Better Experience</a:t>
            </a:r>
          </a:p>
          <a:p>
            <a:pPr eaLnBrk="0" hangingPunct="0"/>
            <a:endParaRPr lang="en-US" altLang="zh-CN" sz="1900" b="1" dirty="0">
              <a:solidFill>
                <a:srgbClr val="FFC000"/>
              </a:solidFill>
              <a:latin typeface="FrutigerNext LT Medium" pitchFamily="34" charset="0"/>
              <a:ea typeface="黑体" pitchFamily="49" charset="-122"/>
            </a:endParaRPr>
          </a:p>
        </p:txBody>
      </p:sp>
      <p:sp>
        <p:nvSpPr>
          <p:cNvPr id="246" name="圆角矩形 277"/>
          <p:cNvSpPr/>
          <p:nvPr/>
        </p:nvSpPr>
        <p:spPr bwMode="auto">
          <a:xfrm>
            <a:off x="3709988" y="2700338"/>
            <a:ext cx="2714625" cy="1885950"/>
          </a:xfrm>
          <a:prstGeom prst="roundRect">
            <a:avLst>
              <a:gd name="adj" fmla="val 4215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FFFFF"/>
              </a:gs>
            </a:gsLst>
            <a:lin ang="16200000" scaled="0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</p:spPr>
        <p:txBody>
          <a:bodyPr lIns="91374" tIns="45687" rIns="91374" bIns="45687"/>
          <a:lstStyle/>
          <a:p>
            <a:pPr defTabSz="912813">
              <a:buClr>
                <a:srgbClr val="CC9900"/>
              </a:buClr>
              <a:buFont typeface="Wingdings" pitchFamily="2" charset="2"/>
              <a:buNone/>
            </a:pPr>
            <a:endParaRPr lang="en-US" altLang="zh-CN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259" name="Rectangle 21"/>
          <p:cNvSpPr>
            <a:spLocks noChangeArrowheads="1"/>
          </p:cNvSpPr>
          <p:nvPr/>
        </p:nvSpPr>
        <p:spPr bwMode="auto">
          <a:xfrm>
            <a:off x="3716338" y="2716213"/>
            <a:ext cx="1271587" cy="277812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92075" tIns="46038" rIns="92075" bIns="46038">
            <a:spAutoFit/>
          </a:bodyPr>
          <a:lstStyle/>
          <a:p>
            <a:pPr defTabSz="762000"/>
            <a:r>
              <a:rPr lang="en-GB" altLang="zh-CN" sz="1200" b="1">
                <a:latin typeface="Arial" pitchFamily="34" charset="0"/>
                <a:ea typeface="微软雅黑" pitchFamily="34" charset="-122"/>
              </a:rPr>
              <a:t>Analogy DMO</a:t>
            </a:r>
          </a:p>
        </p:txBody>
      </p:sp>
      <p:sp>
        <p:nvSpPr>
          <p:cNvPr id="287" name="Rectangle 21"/>
          <p:cNvSpPr>
            <a:spLocks noChangeArrowheads="1"/>
          </p:cNvSpPr>
          <p:nvPr/>
        </p:nvSpPr>
        <p:spPr bwMode="auto">
          <a:xfrm>
            <a:off x="3676650" y="4079875"/>
            <a:ext cx="16446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defTabSz="762000">
              <a:defRPr/>
            </a:pPr>
            <a:r>
              <a:rPr lang="en-GB" altLang="zh-CN" sz="1000" dirty="0"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rPr>
              <a:t>Vulnerable to noise signal</a:t>
            </a:r>
            <a:endParaRPr lang="en-GB" altLang="zh-CN" sz="1000" dirty="0"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  <a:ea typeface="宋体" charset="-122"/>
              <a:cs typeface="Arial" pitchFamily="34" charset="0"/>
            </a:endParaRPr>
          </a:p>
        </p:txBody>
      </p:sp>
      <p:sp>
        <p:nvSpPr>
          <p:cNvPr id="288" name="Rectangle 21"/>
          <p:cNvSpPr>
            <a:spLocks noChangeArrowheads="1"/>
          </p:cNvSpPr>
          <p:nvPr/>
        </p:nvSpPr>
        <p:spPr bwMode="auto">
          <a:xfrm>
            <a:off x="5283200" y="4087813"/>
            <a:ext cx="11938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defTabSz="762000">
              <a:defRPr/>
            </a:pPr>
            <a:r>
              <a:rPr lang="en-GB" altLang="zh-CN" sz="1000" dirty="0">
                <a:solidFill>
                  <a:srgbClr val="C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rPr>
              <a:t>Anti-interference</a:t>
            </a:r>
            <a:endParaRPr lang="en-GB" altLang="zh-CN" sz="10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  <a:ea typeface="宋体" charset="-122"/>
              <a:cs typeface="Arial" pitchFamily="34" charset="0"/>
            </a:endParaRPr>
          </a:p>
        </p:txBody>
      </p:sp>
      <p:sp>
        <p:nvSpPr>
          <p:cNvPr id="290" name="矩形 289"/>
          <p:cNvSpPr/>
          <p:nvPr>
            <p:custDataLst>
              <p:tags r:id="rId3"/>
            </p:custDataLst>
          </p:nvPr>
        </p:nvSpPr>
        <p:spPr bwMode="auto">
          <a:xfrm>
            <a:off x="5283200" y="2716213"/>
            <a:ext cx="1141413" cy="3111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427" tIns="45714" rIns="91427" bIns="45714" anchor="ctr"/>
          <a:lstStyle/>
          <a:p>
            <a:pPr algn="ctr" eaLnBrk="0" hangingPunct="0">
              <a:defRPr/>
            </a:pPr>
            <a:r>
              <a:rPr lang="en-US" altLang="zh-CN" sz="1200" b="1" dirty="0">
                <a:solidFill>
                  <a:schemeClr val="bg1"/>
                </a:solidFill>
                <a:latin typeface="Arial" charset="0"/>
                <a:ea typeface="微软雅黑" pitchFamily="34" charset="-122"/>
              </a:rPr>
              <a:t>Digital DMO</a:t>
            </a:r>
          </a:p>
        </p:txBody>
      </p:sp>
      <p:grpSp>
        <p:nvGrpSpPr>
          <p:cNvPr id="2" name="组合 333"/>
          <p:cNvGrpSpPr>
            <a:grpSpLocks/>
          </p:cNvGrpSpPr>
          <p:nvPr/>
        </p:nvGrpSpPr>
        <p:grpSpPr bwMode="auto">
          <a:xfrm>
            <a:off x="3773488" y="3017838"/>
            <a:ext cx="2446337" cy="941387"/>
            <a:chOff x="3773193" y="3017182"/>
            <a:chExt cx="2446582" cy="1176822"/>
          </a:xfrm>
        </p:grpSpPr>
        <p:sp>
          <p:nvSpPr>
            <p:cNvPr id="10341" name="Oval 2"/>
            <p:cNvSpPr>
              <a:spLocks noChangeArrowheads="1"/>
            </p:cNvSpPr>
            <p:nvPr/>
          </p:nvSpPr>
          <p:spPr bwMode="auto">
            <a:xfrm>
              <a:off x="3773193" y="3017182"/>
              <a:ext cx="905222" cy="1157777"/>
            </a:xfrm>
            <a:prstGeom prst="ellipse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51DC00"/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" name="Group 8"/>
            <p:cNvGrpSpPr>
              <a:grpSpLocks/>
            </p:cNvGrpSpPr>
            <p:nvPr/>
          </p:nvGrpSpPr>
          <p:grpSpPr bwMode="auto">
            <a:xfrm>
              <a:off x="3973611" y="3144460"/>
              <a:ext cx="204988" cy="269084"/>
              <a:chOff x="4379" y="2459"/>
              <a:chExt cx="476" cy="489"/>
            </a:xfrm>
          </p:grpSpPr>
          <p:sp>
            <p:nvSpPr>
              <p:cNvPr id="10407" name="Freeform 9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" name="Group 10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409" name="Freeform 11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0" name="Freeform 12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1" name="Freeform 13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2" name="Freeform 14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3" name="Freeform 15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4" name="Freeform 16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5" name="Freeform 17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6" name="Freeform 18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17" name="Freeform 19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5" name="Group 3031"/>
            <p:cNvGrpSpPr>
              <a:grpSpLocks/>
            </p:cNvGrpSpPr>
            <p:nvPr/>
          </p:nvGrpSpPr>
          <p:grpSpPr bwMode="auto">
            <a:xfrm>
              <a:off x="3979904" y="3795266"/>
              <a:ext cx="204988" cy="269084"/>
              <a:chOff x="4379" y="2459"/>
              <a:chExt cx="476" cy="489"/>
            </a:xfrm>
          </p:grpSpPr>
          <p:sp>
            <p:nvSpPr>
              <p:cNvPr id="10396" name="Freeform 3032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6" name="Group 3033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398" name="Freeform 3034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9" name="Freeform 3035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0" name="Freeform 3036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1" name="Freeform 3037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2" name="Freeform 3038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3" name="Freeform 3039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4" name="Freeform 3040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5" name="Freeform 3041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406" name="Freeform 3042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7" name="Group 3031"/>
            <p:cNvGrpSpPr>
              <a:grpSpLocks/>
            </p:cNvGrpSpPr>
            <p:nvPr/>
          </p:nvGrpSpPr>
          <p:grpSpPr bwMode="auto">
            <a:xfrm>
              <a:off x="4428150" y="3429385"/>
              <a:ext cx="204988" cy="269084"/>
              <a:chOff x="4379" y="2459"/>
              <a:chExt cx="476" cy="489"/>
            </a:xfrm>
          </p:grpSpPr>
          <p:sp>
            <p:nvSpPr>
              <p:cNvPr id="10385" name="Freeform 3032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8" name="Group 3033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387" name="Freeform 3034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8" name="Freeform 3035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9" name="Freeform 3036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0" name="Freeform 3037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1" name="Freeform 3038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2" name="Freeform 3039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3" name="Freeform 3040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4" name="Freeform 3041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95" name="Freeform 3042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10345" name="右箭头 309"/>
            <p:cNvSpPr>
              <a:spLocks noChangeArrowheads="1"/>
            </p:cNvSpPr>
            <p:nvPr/>
          </p:nvSpPr>
          <p:spPr bwMode="auto">
            <a:xfrm>
              <a:off x="4845776" y="3522514"/>
              <a:ext cx="336185" cy="156806"/>
            </a:xfrm>
            <a:prstGeom prst="rightArrow">
              <a:avLst>
                <a:gd name="adj1" fmla="val 50000"/>
                <a:gd name="adj2" fmla="val 49996"/>
              </a:avLst>
            </a:prstGeom>
            <a:noFill/>
            <a:ln w="9525">
              <a:solidFill>
                <a:srgbClr val="FF0000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buClr>
                  <a:srgbClr val="CC9900"/>
                </a:buClr>
                <a:buFont typeface="Wingdings" pitchFamily="2" charset="2"/>
                <a:buChar char="n"/>
              </a:pPr>
              <a:endParaRPr lang="zh-CN" altLang="en-US">
                <a:latin typeface="Arial" pitchFamily="34" charset="0"/>
              </a:endParaRPr>
            </a:p>
          </p:txBody>
        </p:sp>
        <p:pic>
          <p:nvPicPr>
            <p:cNvPr id="10346" name="Picture 3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4043845" y="3443194"/>
              <a:ext cx="349164" cy="3361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47" name="Oval 2"/>
            <p:cNvSpPr>
              <a:spLocks noChangeArrowheads="1"/>
            </p:cNvSpPr>
            <p:nvPr/>
          </p:nvSpPr>
          <p:spPr bwMode="auto">
            <a:xfrm>
              <a:off x="5314553" y="3036227"/>
              <a:ext cx="905222" cy="1157777"/>
            </a:xfrm>
            <a:prstGeom prst="ellipse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51DC00"/>
                </a:gs>
              </a:gsLst>
              <a:path path="shape">
                <a:fillToRect l="50000" t="50000" r="50000" b="50000"/>
              </a:path>
            </a:gradFill>
            <a:ln w="12700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5514972" y="3163506"/>
              <a:ext cx="204988" cy="269084"/>
              <a:chOff x="4379" y="2459"/>
              <a:chExt cx="476" cy="489"/>
            </a:xfrm>
          </p:grpSpPr>
          <p:sp>
            <p:nvSpPr>
              <p:cNvPr id="10374" name="Freeform 9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0" name="Group 10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376" name="Freeform 11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7" name="Freeform 12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8" name="Freeform 13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9" name="Freeform 14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0" name="Freeform 15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1" name="Freeform 16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2" name="Freeform 17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3" name="Freeform 18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84" name="Freeform 19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1" name="Group 3031"/>
            <p:cNvGrpSpPr>
              <a:grpSpLocks/>
            </p:cNvGrpSpPr>
            <p:nvPr/>
          </p:nvGrpSpPr>
          <p:grpSpPr bwMode="auto">
            <a:xfrm>
              <a:off x="5521264" y="3814311"/>
              <a:ext cx="204988" cy="269084"/>
              <a:chOff x="4379" y="2459"/>
              <a:chExt cx="476" cy="489"/>
            </a:xfrm>
          </p:grpSpPr>
          <p:sp>
            <p:nvSpPr>
              <p:cNvPr id="10363" name="Freeform 3032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2" name="Group 3033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365" name="Freeform 3034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6" name="Freeform 3035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7" name="Freeform 3036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8" name="Freeform 3037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9" name="Freeform 3038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0" name="Freeform 3039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1" name="Freeform 3040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2" name="Freeform 3041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73" name="Freeform 3042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13" name="Group 3031"/>
            <p:cNvGrpSpPr>
              <a:grpSpLocks/>
            </p:cNvGrpSpPr>
            <p:nvPr/>
          </p:nvGrpSpPr>
          <p:grpSpPr bwMode="auto">
            <a:xfrm>
              <a:off x="5969511" y="3448431"/>
              <a:ext cx="204988" cy="269084"/>
              <a:chOff x="4379" y="2459"/>
              <a:chExt cx="476" cy="489"/>
            </a:xfrm>
          </p:grpSpPr>
          <p:sp>
            <p:nvSpPr>
              <p:cNvPr id="10352" name="Freeform 3032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14" name="Group 3033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0354" name="Freeform 3034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55" name="Freeform 3035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56" name="Freeform 3036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57" name="Freeform 3037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58" name="Freeform 3038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59" name="Freeform 3039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0" name="Freeform 3040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1" name="Freeform 3041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362" name="Freeform 3042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pic>
          <p:nvPicPr>
            <p:cNvPr id="10351" name="Picture 5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541167" y="3469814"/>
              <a:ext cx="393204" cy="333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4" name="圆角矩形 277"/>
          <p:cNvSpPr/>
          <p:nvPr/>
        </p:nvSpPr>
        <p:spPr bwMode="auto">
          <a:xfrm>
            <a:off x="3722688" y="800100"/>
            <a:ext cx="2687637" cy="1858963"/>
          </a:xfrm>
          <a:prstGeom prst="roundRect">
            <a:avLst>
              <a:gd name="adj" fmla="val 4215"/>
            </a:avLst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FFFFF"/>
              </a:gs>
            </a:gsLst>
            <a:lin ang="16200000" scaled="0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</p:spPr>
        <p:txBody>
          <a:bodyPr lIns="91374" tIns="45687" rIns="91374" bIns="45687"/>
          <a:lstStyle/>
          <a:p>
            <a:pPr>
              <a:defRPr/>
            </a:pPr>
            <a:r>
              <a:rPr lang="en-US" altLang="zh-CN" sz="1400" dirty="0"/>
              <a:t>Dynamic change crew</a:t>
            </a:r>
          </a:p>
        </p:txBody>
      </p:sp>
      <p:sp>
        <p:nvSpPr>
          <p:cNvPr id="10265" name="TextBox 37"/>
          <p:cNvSpPr txBox="1">
            <a:spLocks noChangeArrowheads="1"/>
          </p:cNvSpPr>
          <p:nvPr/>
        </p:nvSpPr>
        <p:spPr bwMode="auto">
          <a:xfrm>
            <a:off x="3760788" y="2454275"/>
            <a:ext cx="2462212" cy="255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eaLnBrk="0" hangingPunct="0">
              <a:lnSpc>
                <a:spcPct val="85000"/>
              </a:lnSpc>
              <a:buFont typeface="Arial" pitchFamily="34" charset="0"/>
              <a:buChar char="•"/>
            </a:pPr>
            <a:endParaRPr lang="en-US" altLang="zh-CN" sz="1400">
              <a:latin typeface="Arial" pitchFamily="34" charset="0"/>
              <a:ea typeface="微软雅黑" pitchFamily="34" charset="-122"/>
            </a:endParaRPr>
          </a:p>
        </p:txBody>
      </p:sp>
      <p:sp>
        <p:nvSpPr>
          <p:cNvPr id="216" name="矩形 215"/>
          <p:cNvSpPr/>
          <p:nvPr>
            <p:custDataLst>
              <p:tags r:id="rId4"/>
            </p:custDataLst>
          </p:nvPr>
        </p:nvSpPr>
        <p:spPr bwMode="auto">
          <a:xfrm>
            <a:off x="3719513" y="814388"/>
            <a:ext cx="2681287" cy="309562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91427" tIns="45714" rIns="91427" bIns="45714" anchor="ctr"/>
          <a:lstStyle/>
          <a:p>
            <a:pPr algn="ctr" eaLnBrk="0" hangingPunct="0"/>
            <a:r>
              <a:rPr lang="en-US" altLang="zh-CN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sym typeface="宋体" pitchFamily="2" charset="-122"/>
              </a:rPr>
              <a:t>Enhanced Dynamic Regrouping</a:t>
            </a:r>
            <a:endParaRPr lang="en-US" altLang="zh-CN" sz="1200" b="1">
              <a:solidFill>
                <a:schemeClr val="bg1"/>
              </a:solidFill>
              <a:latin typeface="Arial" pitchFamily="34" charset="0"/>
              <a:ea typeface="微软雅黑" pitchFamily="34" charset="-122"/>
            </a:endParaRPr>
          </a:p>
        </p:txBody>
      </p:sp>
      <p:grpSp>
        <p:nvGrpSpPr>
          <p:cNvPr id="15" name="组合 44"/>
          <p:cNvGrpSpPr>
            <a:grpSpLocks/>
          </p:cNvGrpSpPr>
          <p:nvPr/>
        </p:nvGrpSpPr>
        <p:grpSpPr bwMode="auto">
          <a:xfrm>
            <a:off x="3979863" y="1208088"/>
            <a:ext cx="1941512" cy="1100137"/>
            <a:chOff x="5411302" y="3627655"/>
            <a:chExt cx="2878891" cy="1110995"/>
          </a:xfrm>
        </p:grpSpPr>
        <p:grpSp>
          <p:nvGrpSpPr>
            <p:cNvPr id="16" name="组合 3045"/>
            <p:cNvGrpSpPr>
              <a:grpSpLocks/>
            </p:cNvGrpSpPr>
            <p:nvPr/>
          </p:nvGrpSpPr>
          <p:grpSpPr bwMode="auto">
            <a:xfrm>
              <a:off x="5411302" y="4315829"/>
              <a:ext cx="2878891" cy="422821"/>
              <a:chOff x="554572" y="1793875"/>
              <a:chExt cx="3710573" cy="985430"/>
            </a:xfrm>
          </p:grpSpPr>
          <p:pic>
            <p:nvPicPr>
              <p:cNvPr id="10329" name="Picture 3"/>
              <p:cNvPicPr>
                <a:picLocks noChangeAspect="1" noChangeArrowheads="1"/>
              </p:cNvPicPr>
              <p:nvPr/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3498094" y="2076450"/>
                <a:ext cx="314325" cy="542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0" name="Picture 5"/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643472" y="1944717"/>
                <a:ext cx="303212" cy="6223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1" name="Picture 6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2294665" y="1819320"/>
                <a:ext cx="257175" cy="517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2" name="Picture 5"/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1321557" y="1832480"/>
                <a:ext cx="303212" cy="622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3" name="Picture 5"/>
              <p:cNvPicPr>
                <a:picLocks noChangeAspect="1" noChangeArrowheads="1"/>
              </p:cNvPicPr>
              <p:nvPr/>
            </p:nvPicPr>
            <p:blipFill>
              <a:blip r:embed="rId19" cstate="print"/>
              <a:srcRect/>
              <a:stretch>
                <a:fillRect/>
              </a:stretch>
            </p:blipFill>
            <p:spPr bwMode="auto">
              <a:xfrm>
                <a:off x="970497" y="2085975"/>
                <a:ext cx="303212" cy="6223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4" name="Picture 3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3151069" y="1793875"/>
                <a:ext cx="312738" cy="542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5" name="Picture 3"/>
              <p:cNvPicPr>
                <a:picLocks noChangeAspect="1" noChangeArrowheads="1"/>
              </p:cNvPicPr>
              <p:nvPr/>
            </p:nvPicPr>
            <p:blipFill>
              <a:blip r:embed="rId21" cstate="print"/>
              <a:srcRect/>
              <a:stretch>
                <a:fillRect/>
              </a:stretch>
            </p:blipFill>
            <p:spPr bwMode="auto">
              <a:xfrm>
                <a:off x="3871156" y="1957388"/>
                <a:ext cx="312738" cy="542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6" name="Picture 6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1974579" y="2165396"/>
                <a:ext cx="257175" cy="517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37" name="Picture 6"/>
              <p:cNvPicPr>
                <a:picLocks noChangeAspect="1" noChangeArrowheads="1"/>
              </p:cNvPicPr>
              <p:nvPr/>
            </p:nvPicPr>
            <p:blipFill>
              <a:blip r:embed="rId20" cstate="print"/>
              <a:srcRect/>
              <a:stretch>
                <a:fillRect/>
              </a:stretch>
            </p:blipFill>
            <p:spPr bwMode="auto">
              <a:xfrm>
                <a:off x="2678294" y="2113054"/>
                <a:ext cx="258762" cy="5175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56" name="Oval 46"/>
              <p:cNvSpPr/>
              <p:nvPr/>
            </p:nvSpPr>
            <p:spPr>
              <a:xfrm>
                <a:off x="554572" y="1845217"/>
                <a:ext cx="1192358" cy="930353"/>
              </a:xfrm>
              <a:prstGeom prst="ellipse">
                <a:avLst/>
              </a:prstGeom>
              <a:no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57" name="Oval 46"/>
              <p:cNvSpPr/>
              <p:nvPr/>
            </p:nvSpPr>
            <p:spPr>
              <a:xfrm>
                <a:off x="1822781" y="1848954"/>
                <a:ext cx="1192358" cy="930351"/>
              </a:xfrm>
              <a:prstGeom prst="ellipse">
                <a:avLst/>
              </a:prstGeom>
              <a:no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  <p:sp>
            <p:nvSpPr>
              <p:cNvPr id="258" name="Oval 46"/>
              <p:cNvSpPr/>
              <p:nvPr/>
            </p:nvSpPr>
            <p:spPr>
              <a:xfrm>
                <a:off x="3072787" y="1848954"/>
                <a:ext cx="1192358" cy="926616"/>
              </a:xfrm>
              <a:prstGeom prst="ellipse">
                <a:avLst/>
              </a:prstGeom>
              <a:noFill/>
              <a:ln w="127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lang="zh-CN" altLang="en-US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0323" name="Picture 528" descr="图片131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6610203" y="3929048"/>
              <a:ext cx="334979" cy="410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7" name="组合 282"/>
            <p:cNvGrpSpPr>
              <a:grpSpLocks/>
            </p:cNvGrpSpPr>
            <p:nvPr/>
          </p:nvGrpSpPr>
          <p:grpSpPr bwMode="auto">
            <a:xfrm>
              <a:off x="6386142" y="3627655"/>
              <a:ext cx="784266" cy="323578"/>
              <a:chOff x="4530064" y="2913668"/>
              <a:chExt cx="1219200" cy="525007"/>
            </a:xfrm>
          </p:grpSpPr>
          <p:sp>
            <p:nvSpPr>
              <p:cNvPr id="236" name="Rounded Rectangle 44"/>
              <p:cNvSpPr/>
              <p:nvPr/>
            </p:nvSpPr>
            <p:spPr>
              <a:xfrm>
                <a:off x="4529596" y="2913668"/>
                <a:ext cx="1218580" cy="525431"/>
              </a:xfrm>
              <a:prstGeom prst="round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/>
                <a:endParaRPr lang="zh-CN" altLang="en-US" sz="1400">
                  <a:solidFill>
                    <a:srgbClr val="000000"/>
                  </a:solidFill>
                  <a:latin typeface="微软雅黑" pitchFamily="34" charset="-122"/>
                  <a:ea typeface="微软雅黑" pitchFamily="34" charset="-122"/>
                </a:endParaRPr>
              </a:p>
            </p:txBody>
          </p:sp>
          <p:pic>
            <p:nvPicPr>
              <p:cNvPr id="10326" name="Picture 37"/>
              <p:cNvPicPr>
                <a:picLocks noChangeAspect="1"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4581697" y="2988156"/>
                <a:ext cx="651101" cy="4080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27" name="图片 25" descr="E05-b-接线员.png"/>
              <p:cNvPicPr>
                <a:picLocks noChangeAspect="1"/>
              </p:cNvPicPr>
              <p:nvPr/>
            </p:nvPicPr>
            <p:blipFill>
              <a:blip r:embed="rId24" cstate="print"/>
              <a:srcRect/>
              <a:stretch>
                <a:fillRect/>
              </a:stretch>
            </p:blipFill>
            <p:spPr bwMode="auto">
              <a:xfrm>
                <a:off x="5281732" y="2982283"/>
                <a:ext cx="403026" cy="4274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328" name="Picture 6"/>
              <p:cNvPicPr>
                <a:picLocks noChangeAspect="1" noChangeArrowheads="1"/>
              </p:cNvPicPr>
              <p:nvPr/>
            </p:nvPicPr>
            <p:blipFill>
              <a:blip r:embed="rId25" cstate="print"/>
              <a:srcRect/>
              <a:stretch>
                <a:fillRect/>
              </a:stretch>
            </p:blipFill>
            <p:spPr bwMode="auto">
              <a:xfrm>
                <a:off x="4639806" y="3033261"/>
                <a:ext cx="553084" cy="33042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10268" name="椭圆 219"/>
          <p:cNvSpPr>
            <a:spLocks noChangeArrowheads="1"/>
          </p:cNvSpPr>
          <p:nvPr/>
        </p:nvSpPr>
        <p:spPr bwMode="auto">
          <a:xfrm>
            <a:off x="5022850" y="1851025"/>
            <a:ext cx="687388" cy="425450"/>
          </a:xfrm>
          <a:prstGeom prst="ellipse">
            <a:avLst/>
          </a:prstGeom>
          <a:noFill/>
          <a:ln w="9525">
            <a:solidFill>
              <a:srgbClr val="FF0000"/>
            </a:solidFill>
            <a:prstDash val="dash"/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</a:endParaRPr>
          </a:p>
        </p:txBody>
      </p:sp>
      <p:pic>
        <p:nvPicPr>
          <p:cNvPr id="10269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213350" y="1590675"/>
            <a:ext cx="163513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270" name="直接箭头连接符 223"/>
          <p:cNvCxnSpPr>
            <a:cxnSpLocks noChangeShapeType="1"/>
          </p:cNvCxnSpPr>
          <p:nvPr/>
        </p:nvCxnSpPr>
        <p:spPr bwMode="auto">
          <a:xfrm flipH="1">
            <a:off x="5283200" y="1839913"/>
            <a:ext cx="7938" cy="131762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</p:spPr>
      </p:cxnSp>
      <p:cxnSp>
        <p:nvCxnSpPr>
          <p:cNvPr id="10271" name="直接箭头连接符 226"/>
          <p:cNvCxnSpPr>
            <a:cxnSpLocks noChangeShapeType="1"/>
          </p:cNvCxnSpPr>
          <p:nvPr/>
        </p:nvCxnSpPr>
        <p:spPr bwMode="auto">
          <a:xfrm flipH="1">
            <a:off x="5387975" y="1824038"/>
            <a:ext cx="6350" cy="131762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 type="triangle" w="med" len="med"/>
            <a:tailEnd/>
          </a:ln>
        </p:spPr>
      </p:cxnSp>
      <p:sp>
        <p:nvSpPr>
          <p:cNvPr id="10272" name="矩形 227"/>
          <p:cNvSpPr>
            <a:spLocks noChangeArrowheads="1"/>
          </p:cNvSpPr>
          <p:nvPr/>
        </p:nvSpPr>
        <p:spPr bwMode="auto">
          <a:xfrm>
            <a:off x="5235575" y="1573213"/>
            <a:ext cx="11842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80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Dynamic change group member</a:t>
            </a:r>
          </a:p>
        </p:txBody>
      </p:sp>
      <p:sp>
        <p:nvSpPr>
          <p:cNvPr id="10273" name="TextBox 37"/>
          <p:cNvSpPr txBox="1">
            <a:spLocks noChangeArrowheads="1"/>
          </p:cNvSpPr>
          <p:nvPr/>
        </p:nvSpPr>
        <p:spPr bwMode="auto">
          <a:xfrm>
            <a:off x="3748088" y="2303463"/>
            <a:ext cx="2633662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eaLnBrk="0" hangingPunct="0">
              <a:lnSpc>
                <a:spcPct val="85000"/>
              </a:lnSpc>
            </a:pPr>
            <a:r>
              <a:rPr lang="en-US" altLang="zh-CN" sz="1000">
                <a:latin typeface="Arial" pitchFamily="34" charset="0"/>
                <a:ea typeface="微软雅黑" pitchFamily="34" charset="-122"/>
              </a:rPr>
              <a:t>Dispatcher dynamic group modification, add or delete the temporary group members </a:t>
            </a:r>
          </a:p>
        </p:txBody>
      </p:sp>
      <p:grpSp>
        <p:nvGrpSpPr>
          <p:cNvPr id="18" name="组合 259"/>
          <p:cNvGrpSpPr>
            <a:grpSpLocks/>
          </p:cNvGrpSpPr>
          <p:nvPr/>
        </p:nvGrpSpPr>
        <p:grpSpPr bwMode="auto">
          <a:xfrm>
            <a:off x="6486525" y="809625"/>
            <a:ext cx="2419350" cy="2006600"/>
            <a:chOff x="596330" y="1056720"/>
            <a:chExt cx="3588409" cy="3544188"/>
          </a:xfrm>
        </p:grpSpPr>
        <p:sp>
          <p:nvSpPr>
            <p:cNvPr id="261" name="圆角矩形 277"/>
            <p:cNvSpPr/>
            <p:nvPr/>
          </p:nvSpPr>
          <p:spPr bwMode="auto">
            <a:xfrm>
              <a:off x="601039" y="1056720"/>
              <a:ext cx="3583700" cy="3213322"/>
            </a:xfrm>
            <a:prstGeom prst="roundRect">
              <a:avLst>
                <a:gd name="adj" fmla="val 4215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rgbClr val="FFFFFF"/>
                </a:gs>
              </a:gsLst>
              <a:lin ang="16200000" scaled="0"/>
            </a:gradFill>
            <a:ln>
              <a:solidFill>
                <a:schemeClr val="bg1">
                  <a:lumMod val="50000"/>
                </a:schemeClr>
              </a:solidFill>
            </a:ln>
            <a:effectLst>
              <a:outerShdw blurRad="63500" sx="101000" sy="101000" algn="ctr" rotWithShape="0">
                <a:prstClr val="black">
                  <a:alpha val="30000"/>
                </a:prstClr>
              </a:outerShdw>
            </a:effectLst>
          </p:spPr>
          <p:txBody>
            <a:bodyPr lIns="91374" tIns="45687" rIns="91374" bIns="45687"/>
            <a:lstStyle/>
            <a:p>
              <a:pPr defTabSz="912813">
                <a:buClr>
                  <a:srgbClr val="CC9900"/>
                </a:buClr>
                <a:buFont typeface="Wingdings" pitchFamily="2" charset="2"/>
                <a:buNone/>
              </a:pPr>
              <a:endParaRPr lang="en-US" altLang="zh-CN" sz="140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18" name="TextBox 37"/>
            <p:cNvSpPr txBox="1">
              <a:spLocks noChangeArrowheads="1"/>
            </p:cNvSpPr>
            <p:nvPr/>
          </p:nvSpPr>
          <p:spPr bwMode="auto">
            <a:xfrm>
              <a:off x="611763" y="3762276"/>
              <a:ext cx="3432621" cy="838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1628" tIns="40814" rIns="81628" bIns="40814">
              <a:spAutoFit/>
            </a:bodyPr>
            <a:lstStyle/>
            <a:p>
              <a:pPr eaLnBrk="0" hangingPunct="0">
                <a:lnSpc>
                  <a:spcPct val="85000"/>
                </a:lnSpc>
              </a:pPr>
              <a:r>
                <a:rPr lang="en-US" altLang="zh-CN" sz="1000">
                  <a:latin typeface="Arial" pitchFamily="34" charset="0"/>
                  <a:ea typeface="微软雅黑" pitchFamily="34" charset="-122"/>
                </a:rPr>
                <a:t>Half-duplex P2P calling consistent with user habits</a:t>
              </a:r>
            </a:p>
            <a:p>
              <a:pPr eaLnBrk="0" hangingPunct="0">
                <a:lnSpc>
                  <a:spcPct val="85000"/>
                </a:lnSpc>
                <a:buFont typeface="Arial" pitchFamily="34" charset="0"/>
                <a:buChar char="•"/>
              </a:pPr>
              <a:endParaRPr lang="en-US" altLang="zh-CN" sz="1000"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263" name="矩形 262"/>
            <p:cNvSpPr/>
            <p:nvPr>
              <p:custDataLst>
                <p:tags r:id="rId5"/>
              </p:custDataLst>
            </p:nvPr>
          </p:nvSpPr>
          <p:spPr bwMode="auto">
            <a:xfrm>
              <a:off x="596330" y="1065133"/>
              <a:ext cx="3576637" cy="529945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txBody>
            <a:bodyPr lIns="91427" tIns="45714" rIns="91427" bIns="45714" anchor="ctr"/>
            <a:lstStyle/>
            <a:p>
              <a:pPr algn="ctr" eaLnBrk="0" hangingPunct="0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sym typeface="宋体" pitchFamily="2" charset="-122"/>
                </a:rPr>
                <a:t>Half-duplex P2P Voice Call</a:t>
              </a:r>
              <a:endParaRPr lang="en-US" altLang="zh-CN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pic>
          <p:nvPicPr>
            <p:cNvPr id="10320" name="Picture 3"/>
            <p:cNvPicPr>
              <a:picLocks noChangeAspect="1" noChangeArrowheads="1"/>
            </p:cNvPicPr>
            <p:nvPr/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720757" y="1660223"/>
              <a:ext cx="3290942" cy="18718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321" name="矩形 264"/>
            <p:cNvSpPr>
              <a:spLocks noChangeArrowheads="1"/>
            </p:cNvSpPr>
            <p:nvPr/>
          </p:nvSpPr>
          <p:spPr bwMode="auto">
            <a:xfrm>
              <a:off x="791178" y="2434082"/>
              <a:ext cx="1723985" cy="4348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00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PTT for talking</a:t>
              </a:r>
            </a:p>
          </p:txBody>
        </p:sp>
      </p:grpSp>
      <p:grpSp>
        <p:nvGrpSpPr>
          <p:cNvPr id="19" name="组合 267"/>
          <p:cNvGrpSpPr>
            <a:grpSpLocks/>
          </p:cNvGrpSpPr>
          <p:nvPr/>
        </p:nvGrpSpPr>
        <p:grpSpPr bwMode="auto">
          <a:xfrm>
            <a:off x="125413" y="785813"/>
            <a:ext cx="3735387" cy="3843337"/>
            <a:chOff x="125413" y="785813"/>
            <a:chExt cx="3735387" cy="4171950"/>
          </a:xfrm>
        </p:grpSpPr>
        <p:sp>
          <p:nvSpPr>
            <p:cNvPr id="217" name="同侧圆角矩形 216"/>
            <p:cNvSpPr/>
            <p:nvPr/>
          </p:nvSpPr>
          <p:spPr bwMode="auto">
            <a:xfrm rot="5400000">
              <a:off x="1864271" y="-748625"/>
              <a:ext cx="248146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18" name="同侧圆角矩形 217"/>
            <p:cNvSpPr/>
            <p:nvPr/>
          </p:nvSpPr>
          <p:spPr bwMode="auto">
            <a:xfrm rot="5400000">
              <a:off x="1865994" y="-493585"/>
              <a:ext cx="244699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284" name="TextBox 68"/>
            <p:cNvSpPr txBox="1">
              <a:spLocks noChangeArrowheads="1"/>
            </p:cNvSpPr>
            <p:nvPr/>
          </p:nvSpPr>
          <p:spPr bwMode="auto">
            <a:xfrm>
              <a:off x="305779" y="785813"/>
              <a:ext cx="3344297" cy="243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Group Call</a:t>
              </a:r>
              <a:endParaRPr lang="zh-CN" altLang="en-US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10285" name="TextBox 69"/>
            <p:cNvSpPr txBox="1">
              <a:spLocks noChangeArrowheads="1"/>
            </p:cNvSpPr>
            <p:nvPr/>
          </p:nvSpPr>
          <p:spPr bwMode="auto">
            <a:xfrm>
              <a:off x="318074" y="1030947"/>
              <a:ext cx="3344296" cy="2432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Broadcast Call</a:t>
              </a:r>
              <a:endParaRPr lang="zh-CN" altLang="en-US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221" name="同侧圆角矩形 220"/>
            <p:cNvSpPr/>
            <p:nvPr/>
          </p:nvSpPr>
          <p:spPr bwMode="auto">
            <a:xfrm rot="5400000">
              <a:off x="1865994" y="-231653"/>
              <a:ext cx="244699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22" name="同侧圆角矩形 221"/>
            <p:cNvSpPr/>
            <p:nvPr/>
          </p:nvSpPr>
          <p:spPr bwMode="auto">
            <a:xfrm rot="5400000">
              <a:off x="1865132" y="22524"/>
              <a:ext cx="246423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288" name="TextBox 90"/>
            <p:cNvSpPr txBox="1">
              <a:spLocks noChangeArrowheads="1"/>
            </p:cNvSpPr>
            <p:nvPr/>
          </p:nvSpPr>
          <p:spPr bwMode="auto">
            <a:xfrm>
              <a:off x="305774" y="1302387"/>
              <a:ext cx="3344297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Emergency Call</a:t>
              </a:r>
              <a:endParaRPr lang="zh-CN" altLang="en-US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10289" name="TextBox 91"/>
            <p:cNvSpPr txBox="1">
              <a:spLocks noChangeArrowheads="1"/>
            </p:cNvSpPr>
            <p:nvPr/>
          </p:nvSpPr>
          <p:spPr bwMode="auto">
            <a:xfrm>
              <a:off x="318070" y="1547521"/>
              <a:ext cx="3344296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Pre-emptive Priority Call</a:t>
              </a:r>
            </a:p>
          </p:txBody>
        </p:sp>
        <p:sp>
          <p:nvSpPr>
            <p:cNvPr id="225" name="同侧圆角矩形 224"/>
            <p:cNvSpPr/>
            <p:nvPr/>
          </p:nvSpPr>
          <p:spPr bwMode="auto">
            <a:xfrm rot="5400000">
              <a:off x="1865132" y="542940"/>
              <a:ext cx="246423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26" name="同侧圆角矩形 225"/>
            <p:cNvSpPr/>
            <p:nvPr/>
          </p:nvSpPr>
          <p:spPr bwMode="auto">
            <a:xfrm rot="5400000">
              <a:off x="1865133" y="796255"/>
              <a:ext cx="246422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292" name="TextBox 94"/>
            <p:cNvSpPr txBox="1">
              <a:spLocks noChangeArrowheads="1"/>
            </p:cNvSpPr>
            <p:nvPr/>
          </p:nvSpPr>
          <p:spPr bwMode="auto">
            <a:xfrm>
              <a:off x="281060" y="2076140"/>
              <a:ext cx="342416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Enhanced Dynamic Regrouping</a:t>
              </a:r>
            </a:p>
          </p:txBody>
        </p:sp>
        <p:sp>
          <p:nvSpPr>
            <p:cNvPr id="10293" name="TextBox 95"/>
            <p:cNvSpPr txBox="1">
              <a:spLocks noChangeArrowheads="1"/>
            </p:cNvSpPr>
            <p:nvPr/>
          </p:nvSpPr>
          <p:spPr bwMode="auto">
            <a:xfrm>
              <a:off x="318070" y="2321274"/>
              <a:ext cx="3344296" cy="276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endParaRPr lang="en-US" altLang="zh-CN" sz="1200" b="1">
                <a:solidFill>
                  <a:srgbClr val="FFFFFF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229" name="同侧圆角矩形 228"/>
            <p:cNvSpPr/>
            <p:nvPr/>
          </p:nvSpPr>
          <p:spPr bwMode="auto">
            <a:xfrm rot="5400000">
              <a:off x="1865133" y="1058187"/>
              <a:ext cx="246422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30" name="同侧圆角矩形 229"/>
            <p:cNvSpPr/>
            <p:nvPr/>
          </p:nvSpPr>
          <p:spPr bwMode="auto">
            <a:xfrm rot="5400000">
              <a:off x="1865132" y="1314949"/>
              <a:ext cx="246423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296" name="TextBox 98"/>
            <p:cNvSpPr txBox="1">
              <a:spLocks noChangeArrowheads="1"/>
            </p:cNvSpPr>
            <p:nvPr/>
          </p:nvSpPr>
          <p:spPr bwMode="auto">
            <a:xfrm>
              <a:off x="305770" y="2592714"/>
              <a:ext cx="3344297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Force Release/ Insert</a:t>
              </a:r>
            </a:p>
          </p:txBody>
        </p:sp>
        <p:sp>
          <p:nvSpPr>
            <p:cNvPr id="10297" name="TextBox 99"/>
            <p:cNvSpPr txBox="1">
              <a:spLocks noChangeArrowheads="1"/>
            </p:cNvSpPr>
            <p:nvPr/>
          </p:nvSpPr>
          <p:spPr bwMode="auto">
            <a:xfrm>
              <a:off x="318065" y="4654074"/>
              <a:ext cx="3344296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Imperceptible Monitoring</a:t>
              </a:r>
            </a:p>
          </p:txBody>
        </p:sp>
        <p:sp>
          <p:nvSpPr>
            <p:cNvPr id="233" name="同侧圆角矩形 232"/>
            <p:cNvSpPr/>
            <p:nvPr/>
          </p:nvSpPr>
          <p:spPr bwMode="auto">
            <a:xfrm rot="5400000">
              <a:off x="1864271" y="1576019"/>
              <a:ext cx="248146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34" name="同侧圆角矩形 233"/>
            <p:cNvSpPr/>
            <p:nvPr/>
          </p:nvSpPr>
          <p:spPr bwMode="auto">
            <a:xfrm rot="5400000">
              <a:off x="1865133" y="1830196"/>
              <a:ext cx="246422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300" name="TextBox 102"/>
            <p:cNvSpPr txBox="1">
              <a:spLocks noChangeArrowheads="1"/>
            </p:cNvSpPr>
            <p:nvPr/>
          </p:nvSpPr>
          <p:spPr bwMode="auto">
            <a:xfrm>
              <a:off x="305774" y="3109297"/>
              <a:ext cx="3344297" cy="276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Digital DMO</a:t>
              </a:r>
            </a:p>
          </p:txBody>
        </p:sp>
        <p:sp>
          <p:nvSpPr>
            <p:cNvPr id="10301" name="TextBox 103"/>
            <p:cNvSpPr txBox="1">
              <a:spLocks noChangeArrowheads="1"/>
            </p:cNvSpPr>
            <p:nvPr/>
          </p:nvSpPr>
          <p:spPr bwMode="auto">
            <a:xfrm>
              <a:off x="318070" y="3354431"/>
              <a:ext cx="3344296" cy="276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Remote Activation &amp; Deactivation</a:t>
              </a:r>
            </a:p>
          </p:txBody>
        </p:sp>
        <p:sp>
          <p:nvSpPr>
            <p:cNvPr id="237" name="同侧圆角矩形 236"/>
            <p:cNvSpPr/>
            <p:nvPr/>
          </p:nvSpPr>
          <p:spPr bwMode="auto">
            <a:xfrm rot="5400000">
              <a:off x="1864271" y="2091266"/>
              <a:ext cx="248146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38" name="同侧圆角矩形 237"/>
            <p:cNvSpPr/>
            <p:nvPr/>
          </p:nvSpPr>
          <p:spPr bwMode="auto">
            <a:xfrm rot="5400000">
              <a:off x="1865994" y="2346306"/>
              <a:ext cx="244699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39" name="同侧圆角矩形 238"/>
            <p:cNvSpPr/>
            <p:nvPr/>
          </p:nvSpPr>
          <p:spPr bwMode="auto">
            <a:xfrm rot="5400000">
              <a:off x="1865994" y="2608237"/>
              <a:ext cx="244699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240" name="同侧圆角矩形 239"/>
            <p:cNvSpPr/>
            <p:nvPr/>
          </p:nvSpPr>
          <p:spPr bwMode="auto">
            <a:xfrm rot="5400000">
              <a:off x="1865132" y="2862414"/>
              <a:ext cx="246423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306" name="TextBox 110"/>
            <p:cNvSpPr txBox="1">
              <a:spLocks noChangeArrowheads="1"/>
            </p:cNvSpPr>
            <p:nvPr/>
          </p:nvSpPr>
          <p:spPr bwMode="auto">
            <a:xfrm>
              <a:off x="147638" y="4132924"/>
              <a:ext cx="3713162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Restriction on Incoming &amp; Outgoing Call</a:t>
              </a:r>
              <a:endParaRPr lang="zh-CN" altLang="en-US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10307" name="TextBox 111"/>
            <p:cNvSpPr txBox="1">
              <a:spLocks noChangeArrowheads="1"/>
            </p:cNvSpPr>
            <p:nvPr/>
          </p:nvSpPr>
          <p:spPr bwMode="auto">
            <a:xfrm>
              <a:off x="318065" y="4387581"/>
              <a:ext cx="3344296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User Status Display</a:t>
              </a:r>
            </a:p>
          </p:txBody>
        </p:sp>
        <p:sp>
          <p:nvSpPr>
            <p:cNvPr id="243" name="同侧圆角矩形 242"/>
            <p:cNvSpPr/>
            <p:nvPr/>
          </p:nvSpPr>
          <p:spPr bwMode="auto">
            <a:xfrm rot="5400000">
              <a:off x="1865133" y="3126068"/>
              <a:ext cx="246422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buFont typeface="Wingdings" pitchFamily="2" charset="2"/>
                <a:buNone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309" name="TextBox 114"/>
            <p:cNvSpPr txBox="1">
              <a:spLocks noChangeArrowheads="1"/>
            </p:cNvSpPr>
            <p:nvPr/>
          </p:nvSpPr>
          <p:spPr bwMode="auto">
            <a:xfrm>
              <a:off x="305765" y="4659023"/>
              <a:ext cx="3344297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endParaRPr lang="zh-CN" altLang="en-US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</a:endParaRPr>
            </a:p>
          </p:txBody>
        </p:sp>
        <p:sp>
          <p:nvSpPr>
            <p:cNvPr id="10310" name="矩形 117"/>
            <p:cNvSpPr>
              <a:spLocks noChangeArrowheads="1"/>
            </p:cNvSpPr>
            <p:nvPr/>
          </p:nvSpPr>
          <p:spPr bwMode="auto">
            <a:xfrm>
              <a:off x="634913" y="4650562"/>
              <a:ext cx="2737547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Display of Group &amp; Speaker Name</a:t>
              </a:r>
            </a:p>
          </p:txBody>
        </p:sp>
        <p:sp>
          <p:nvSpPr>
            <p:cNvPr id="10311" name="矩形 118"/>
            <p:cNvSpPr>
              <a:spLocks noChangeArrowheads="1"/>
            </p:cNvSpPr>
            <p:nvPr/>
          </p:nvSpPr>
          <p:spPr bwMode="auto">
            <a:xfrm>
              <a:off x="1326494" y="3617432"/>
              <a:ext cx="1398864" cy="298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Time Based Call</a:t>
              </a:r>
            </a:p>
          </p:txBody>
        </p:sp>
        <p:sp>
          <p:nvSpPr>
            <p:cNvPr id="10312" name="矩形 119"/>
            <p:cNvSpPr>
              <a:spLocks noChangeArrowheads="1"/>
            </p:cNvSpPr>
            <p:nvPr/>
          </p:nvSpPr>
          <p:spPr bwMode="auto">
            <a:xfrm>
              <a:off x="1181683" y="3852232"/>
              <a:ext cx="1710725" cy="300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Group Call Scanning</a:t>
              </a:r>
            </a:p>
          </p:txBody>
        </p:sp>
        <p:sp>
          <p:nvSpPr>
            <p:cNvPr id="10313" name="TextBox 94"/>
            <p:cNvSpPr txBox="1">
              <a:spLocks noChangeArrowheads="1"/>
            </p:cNvSpPr>
            <p:nvPr/>
          </p:nvSpPr>
          <p:spPr bwMode="auto">
            <a:xfrm>
              <a:off x="125413" y="2305050"/>
              <a:ext cx="3548062" cy="300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Multiple Call On-hold</a:t>
              </a:r>
            </a:p>
          </p:txBody>
        </p:sp>
        <p:sp>
          <p:nvSpPr>
            <p:cNvPr id="10314" name="TextBox 98"/>
            <p:cNvSpPr txBox="1">
              <a:spLocks noChangeArrowheads="1"/>
            </p:cNvSpPr>
            <p:nvPr/>
          </p:nvSpPr>
          <p:spPr bwMode="auto">
            <a:xfrm>
              <a:off x="295275" y="2832100"/>
              <a:ext cx="3344863" cy="3006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</a:rPr>
                <a:t>Attendant Forwarding</a:t>
              </a:r>
            </a:p>
          </p:txBody>
        </p:sp>
        <p:sp>
          <p:nvSpPr>
            <p:cNvPr id="266" name="同侧圆角矩形 265"/>
            <p:cNvSpPr/>
            <p:nvPr/>
          </p:nvSpPr>
          <p:spPr bwMode="auto">
            <a:xfrm rot="5400000">
              <a:off x="1865133" y="279285"/>
              <a:ext cx="246422" cy="3348038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>
                <a:lumMod val="65000"/>
              </a:schemeClr>
            </a:solidFill>
            <a:ln w="12700" algn="ctr">
              <a:noFill/>
              <a:round/>
              <a:headEnd/>
              <a:tailEnd/>
            </a:ln>
            <a:effectLst>
              <a:outerShdw blurRad="63500" sx="101000" sy="101000" algn="ctr" rotWithShape="0">
                <a:prstClr val="black">
                  <a:alpha val="20000"/>
                </a:prstClr>
              </a:outerShdw>
            </a:effectLst>
          </p:spPr>
          <p:txBody>
            <a:bodyPr wrap="none" lIns="68562" tIns="34281" rIns="68562" bIns="34281" anchor="ctr"/>
            <a:lstStyle/>
            <a:p>
              <a:pPr eaLnBrk="0" hangingPunct="0">
                <a:buClr>
                  <a:srgbClr val="990000"/>
                </a:buClr>
                <a:buSzPct val="60000"/>
                <a:defRPr/>
              </a:pPr>
              <a:endParaRPr lang="zh-CN" altLang="en-US" sz="1200" dirty="0">
                <a:solidFill>
                  <a:srgbClr val="000000"/>
                </a:solidFill>
                <a:latin typeface="Arial" charset="0"/>
                <a:ea typeface="Arial Unicode MS" pitchFamily="34" charset="-122"/>
                <a:cs typeface="Arial" pitchFamily="34" charset="0"/>
              </a:endParaRPr>
            </a:p>
          </p:txBody>
        </p:sp>
        <p:sp>
          <p:nvSpPr>
            <p:cNvPr id="10316" name="TextBox 91"/>
            <p:cNvSpPr txBox="1">
              <a:spLocks noChangeArrowheads="1"/>
            </p:cNvSpPr>
            <p:nvPr/>
          </p:nvSpPr>
          <p:spPr bwMode="auto">
            <a:xfrm>
              <a:off x="308545" y="1804696"/>
              <a:ext cx="3344296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/>
              <a:r>
                <a:rPr lang="en-US" altLang="zh-CN" sz="1200" b="1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</a:rPr>
                <a:t>Half-duplex P2P Voice Call</a:t>
              </a:r>
            </a:p>
          </p:txBody>
        </p:sp>
      </p:grp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矩形 322"/>
          <p:cNvSpPr/>
          <p:nvPr>
            <p:custDataLst>
              <p:tags r:id="rId1"/>
            </p:custDataLst>
          </p:nvPr>
        </p:nvSpPr>
        <p:spPr bwMode="auto">
          <a:xfrm>
            <a:off x="5105400" y="635000"/>
            <a:ext cx="3844925" cy="4114800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</p:spPr>
        <p:txBody>
          <a:bodyPr lIns="91374" tIns="45687" rIns="91374" bIns="45687"/>
          <a:lstStyle/>
          <a:p>
            <a:pPr marL="201613" indent="-201613" defTabSz="912813" eaLnBrk="0" hangingPunct="0">
              <a:buClr>
                <a:srgbClr val="CC9900"/>
              </a:buClr>
              <a:buSzPct val="60000"/>
              <a:buFont typeface="Wingdings" pitchFamily="2" charset="2"/>
              <a:buChar char="§"/>
            </a:pPr>
            <a:endParaRPr lang="zh-CN" altLang="en-US" sz="1400" dirty="0">
              <a:solidFill>
                <a:srgbClr val="FFC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27" name="Title 2"/>
          <p:cNvSpPr txBox="1">
            <a:spLocks/>
          </p:cNvSpPr>
          <p:nvPr/>
        </p:nvSpPr>
        <p:spPr bwMode="auto">
          <a:xfrm>
            <a:off x="203200" y="176213"/>
            <a:ext cx="8915400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7" tIns="45714" rIns="91427" bIns="45714"/>
          <a:lstStyle/>
          <a:p>
            <a:pPr eaLnBrk="0" hangingPunct="0"/>
            <a:r>
              <a:rPr lang="en-US" altLang="zh-CN" sz="2000" b="1" noProof="1">
                <a:solidFill>
                  <a:srgbClr val="FFC000"/>
                </a:solidFill>
                <a:latin typeface="Arial" pitchFamily="34" charset="0"/>
                <a:ea typeface="黑体" pitchFamily="49" charset="-122"/>
                <a:cs typeface="Arial" pitchFamily="34" charset="0"/>
                <a:sym typeface="Calibri" pitchFamily="34" charset="0"/>
              </a:rPr>
              <a:t>eLTE Rapid for Emergency Dispatching</a:t>
            </a:r>
            <a:endParaRPr lang="en-US" altLang="en-US" sz="2000" b="1" noProof="1">
              <a:solidFill>
                <a:srgbClr val="FFC000"/>
              </a:solidFill>
              <a:latin typeface="Arial" pitchFamily="34" charset="0"/>
              <a:ea typeface="黑体" pitchFamily="49" charset="-122"/>
              <a:cs typeface="Arial" pitchFamily="34" charset="0"/>
              <a:sym typeface="Calibri" pitchFamily="34" charset="0"/>
            </a:endParaRPr>
          </a:p>
        </p:txBody>
      </p:sp>
      <p:grpSp>
        <p:nvGrpSpPr>
          <p:cNvPr id="2" name="组合 104"/>
          <p:cNvGrpSpPr>
            <a:grpSpLocks/>
          </p:cNvGrpSpPr>
          <p:nvPr/>
        </p:nvGrpSpPr>
        <p:grpSpPr bwMode="auto">
          <a:xfrm>
            <a:off x="5156200" y="728663"/>
            <a:ext cx="3481388" cy="1492250"/>
            <a:chOff x="5155829" y="1167656"/>
            <a:chExt cx="3481985" cy="1163799"/>
          </a:xfrm>
        </p:grpSpPr>
        <p:sp>
          <p:nvSpPr>
            <p:cNvPr id="52273" name="TextBox 101"/>
            <p:cNvSpPr txBox="1">
              <a:spLocks noChangeArrowheads="1"/>
            </p:cNvSpPr>
            <p:nvPr/>
          </p:nvSpPr>
          <p:spPr bwMode="auto">
            <a:xfrm>
              <a:off x="5159856" y="1167656"/>
              <a:ext cx="2148829" cy="2399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400" b="1" noProof="1">
                  <a:solidFill>
                    <a:srgbClr val="FFC000"/>
                  </a:solidFill>
                  <a:latin typeface="Arial" pitchFamily="34" charset="0"/>
                  <a:ea typeface="黑体" pitchFamily="49" charset="-122"/>
                  <a:cs typeface="Arial" pitchFamily="34" charset="0"/>
                  <a:sym typeface="Calibri" pitchFamily="34" charset="0"/>
                </a:rPr>
                <a:t>Fast Deployment</a:t>
              </a:r>
              <a:endParaRPr lang="en-US" altLang="en-US" sz="1400" b="1" noProof="1">
                <a:solidFill>
                  <a:srgbClr val="FFC000"/>
                </a:solidFill>
                <a:latin typeface="Arial" pitchFamily="34" charset="0"/>
                <a:ea typeface="黑体" pitchFamily="49" charset="-122"/>
                <a:cs typeface="Arial" pitchFamily="34" charset="0"/>
                <a:sym typeface="Calibri" pitchFamily="34" charset="0"/>
              </a:endParaRPr>
            </a:p>
          </p:txBody>
        </p:sp>
        <p:cxnSp>
          <p:nvCxnSpPr>
            <p:cNvPr id="103" name="直接连接符 102"/>
            <p:cNvCxnSpPr/>
            <p:nvPr/>
          </p:nvCxnSpPr>
          <p:spPr bwMode="auto">
            <a:xfrm flipV="1">
              <a:off x="5249508" y="1401653"/>
              <a:ext cx="3388306" cy="14857"/>
            </a:xfrm>
            <a:prstGeom prst="lin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</p:cxnSp>
        <p:sp>
          <p:nvSpPr>
            <p:cNvPr id="104" name="Text Box 11"/>
            <p:cNvSpPr txBox="1">
              <a:spLocks noChangeArrowheads="1"/>
            </p:cNvSpPr>
            <p:nvPr/>
          </p:nvSpPr>
          <p:spPr bwMode="auto">
            <a:xfrm>
              <a:off x="5155829" y="1395463"/>
              <a:ext cx="2297507" cy="9359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Deployment in 15 minutes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Roller and backpack design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No car-tuning for all mainstream SUVs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ECV communication in both static and moving state</a:t>
              </a:r>
              <a:endParaRPr lang="zh-CN" altLang="en-US" sz="12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3" name="组合 105"/>
          <p:cNvGrpSpPr>
            <a:grpSpLocks/>
          </p:cNvGrpSpPr>
          <p:nvPr/>
        </p:nvGrpSpPr>
        <p:grpSpPr bwMode="auto">
          <a:xfrm>
            <a:off x="5156200" y="2498725"/>
            <a:ext cx="3497263" cy="1033463"/>
            <a:chOff x="5180321" y="1488606"/>
            <a:chExt cx="3498314" cy="1034177"/>
          </a:xfrm>
        </p:grpSpPr>
        <p:cxnSp>
          <p:nvCxnSpPr>
            <p:cNvPr id="108" name="直接连接符 107"/>
            <p:cNvCxnSpPr/>
            <p:nvPr/>
          </p:nvCxnSpPr>
          <p:spPr bwMode="auto">
            <a:xfrm flipV="1">
              <a:off x="5248605" y="1488606"/>
              <a:ext cx="3430030" cy="15886"/>
            </a:xfrm>
            <a:prstGeom prst="lin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</p:cxnSp>
        <p:sp>
          <p:nvSpPr>
            <p:cNvPr id="109" name="Text Box 11"/>
            <p:cNvSpPr txBox="1">
              <a:spLocks noChangeArrowheads="1"/>
            </p:cNvSpPr>
            <p:nvPr/>
          </p:nvSpPr>
          <p:spPr bwMode="auto">
            <a:xfrm>
              <a:off x="5180321" y="1507669"/>
              <a:ext cx="2219992" cy="10151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40 groups, 100 users and 20 video uploading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Group setup time &lt; 300 ms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r>
                <a:rPr lang="en-US" altLang="zh-CN" sz="1200" dirty="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3~5km coverage</a:t>
              </a:r>
            </a:p>
            <a:p>
              <a:pPr marL="117475" indent="-117475" defTabSz="684213">
                <a:buClr>
                  <a:srgbClr val="7F7F7F"/>
                </a:buClr>
                <a:buFontTx/>
                <a:buChar char="•"/>
              </a:pPr>
              <a:endParaRPr lang="en-US" altLang="zh-CN" sz="12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4" name="组合 109"/>
          <p:cNvGrpSpPr>
            <a:grpSpLocks/>
          </p:cNvGrpSpPr>
          <p:nvPr/>
        </p:nvGrpSpPr>
        <p:grpSpPr bwMode="auto">
          <a:xfrm>
            <a:off x="5194300" y="3690938"/>
            <a:ext cx="3484563" cy="406400"/>
            <a:chOff x="5249085" y="1564820"/>
            <a:chExt cx="3483955" cy="407071"/>
          </a:xfrm>
        </p:grpSpPr>
        <p:cxnSp>
          <p:nvCxnSpPr>
            <p:cNvPr id="112" name="直接连接符 111"/>
            <p:cNvCxnSpPr/>
            <p:nvPr/>
          </p:nvCxnSpPr>
          <p:spPr bwMode="auto">
            <a:xfrm flipV="1">
              <a:off x="5249085" y="1564820"/>
              <a:ext cx="3483955" cy="4770"/>
            </a:xfrm>
            <a:prstGeom prst="line">
              <a:avLst/>
            </a:prstGeom>
            <a:noFill/>
            <a:ln>
              <a:solidFill>
                <a:schemeClr val="bg1">
                  <a:lumMod val="50000"/>
                </a:schemeClr>
              </a:solidFill>
            </a:ln>
            <a:effectLst/>
            <a:extLst>
              <a:ext uri="{909E8E84-426E-40DD-AFC4-6F175D3DCCD1}"/>
              <a:ext uri="{91240B29-F687-4F45-9708-019B960494DF}"/>
              <a:ext uri="{AF507438-7753-43E0-B8FC-AC1667EBCBE1}"/>
            </a:extLst>
          </p:spPr>
        </p:cxnSp>
        <p:sp>
          <p:nvSpPr>
            <p:cNvPr id="52270" name="Text Box 11"/>
            <p:cNvSpPr txBox="1">
              <a:spLocks noChangeArrowheads="1"/>
            </p:cNvSpPr>
            <p:nvPr/>
          </p:nvSpPr>
          <p:spPr bwMode="auto">
            <a:xfrm>
              <a:off x="5433405" y="1694892"/>
              <a:ext cx="2079415" cy="276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139700" indent="-139700" defTabSz="814388">
                <a:buFontTx/>
                <a:buChar char="•"/>
              </a:pPr>
              <a:endParaRPr lang="en-US" altLang="zh-CN" sz="1200"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sp>
        <p:nvSpPr>
          <p:cNvPr id="52231" name="TextBox 113"/>
          <p:cNvSpPr txBox="1">
            <a:spLocks noChangeArrowheads="1"/>
          </p:cNvSpPr>
          <p:nvPr/>
        </p:nvSpPr>
        <p:spPr bwMode="auto">
          <a:xfrm>
            <a:off x="5151438" y="2228850"/>
            <a:ext cx="2595562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400" b="1" noProof="1">
                <a:solidFill>
                  <a:srgbClr val="FFC000"/>
                </a:solidFill>
                <a:latin typeface="Arial" pitchFamily="34" charset="0"/>
                <a:ea typeface="黑体" pitchFamily="49" charset="-122"/>
                <a:cs typeface="Arial" pitchFamily="34" charset="0"/>
                <a:sym typeface="Calibri" pitchFamily="34" charset="0"/>
              </a:rPr>
              <a:t>Professional Performance</a:t>
            </a:r>
            <a:endParaRPr lang="en-US" altLang="en-US" sz="1400" b="1" noProof="1">
              <a:solidFill>
                <a:srgbClr val="FFC000"/>
              </a:solidFill>
              <a:latin typeface="Arial" pitchFamily="34" charset="0"/>
              <a:ea typeface="黑体" pitchFamily="49" charset="-122"/>
              <a:cs typeface="Arial" pitchFamily="34" charset="0"/>
              <a:sym typeface="Calibri" pitchFamily="34" charset="0"/>
            </a:endParaRPr>
          </a:p>
        </p:txBody>
      </p:sp>
      <p:sp>
        <p:nvSpPr>
          <p:cNvPr id="52232" name="TextBox 114"/>
          <p:cNvSpPr txBox="1">
            <a:spLocks noChangeArrowheads="1"/>
          </p:cNvSpPr>
          <p:nvPr/>
        </p:nvSpPr>
        <p:spPr bwMode="auto">
          <a:xfrm>
            <a:off x="5159375" y="3425825"/>
            <a:ext cx="25955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400" b="1" noProof="1">
                <a:solidFill>
                  <a:srgbClr val="FFC000"/>
                </a:solidFill>
                <a:latin typeface="Arial" pitchFamily="34" charset="0"/>
                <a:ea typeface="黑体" pitchFamily="49" charset="-122"/>
                <a:cs typeface="Arial" pitchFamily="34" charset="0"/>
                <a:sym typeface="Calibri" pitchFamily="34" charset="0"/>
              </a:rPr>
              <a:t>Rich Services</a:t>
            </a:r>
            <a:endParaRPr lang="en-US" altLang="en-US" sz="1400" b="1" noProof="1">
              <a:solidFill>
                <a:srgbClr val="FFC000"/>
              </a:solidFill>
              <a:latin typeface="Arial" pitchFamily="34" charset="0"/>
              <a:ea typeface="黑体" pitchFamily="49" charset="-122"/>
              <a:cs typeface="Arial" pitchFamily="34" charset="0"/>
              <a:sym typeface="Calibri" pitchFamily="34" charset="0"/>
            </a:endParaRPr>
          </a:p>
        </p:txBody>
      </p:sp>
      <p:pic>
        <p:nvPicPr>
          <p:cNvPr id="116" name="图片 115" descr="门卫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7455144" y="3783535"/>
            <a:ext cx="1239820" cy="889199"/>
          </a:xfrm>
          <a:prstGeom prst="roundRect">
            <a:avLst>
              <a:gd name="adj" fmla="val 5483"/>
            </a:avLst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7" name="Picture 1" descr="C:\Users\h51326\AppData\Local\Microsoft\Windows\Temporary Internet Files\Content.Outlook\TJCNZV22\照片 (5).JP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455144" y="1219931"/>
            <a:ext cx="1200081" cy="941393"/>
          </a:xfrm>
          <a:prstGeom prst="roundRect">
            <a:avLst>
              <a:gd name="adj" fmla="val 5483"/>
            </a:avLst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8" name="Text Box 11"/>
          <p:cNvSpPr txBox="1">
            <a:spLocks noChangeArrowheads="1"/>
          </p:cNvSpPr>
          <p:nvPr/>
        </p:nvSpPr>
        <p:spPr bwMode="auto">
          <a:xfrm>
            <a:off x="5100638" y="3716338"/>
            <a:ext cx="2274887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684213">
              <a:buClr>
                <a:srgbClr val="7F7F7F"/>
              </a:buClr>
              <a:buFontTx/>
              <a:buChar char="•"/>
            </a:pP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runking voice</a:t>
            </a:r>
          </a:p>
          <a:p>
            <a:pPr marL="117475" indent="-117475" defTabSz="684213">
              <a:buClr>
                <a:srgbClr val="7F7F7F"/>
              </a:buClr>
              <a:buFontTx/>
              <a:buChar char="•"/>
            </a:pP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ideo dispatching</a:t>
            </a:r>
          </a:p>
          <a:p>
            <a:pPr marL="117475" indent="-117475" defTabSz="684213">
              <a:buClr>
                <a:srgbClr val="7F7F7F"/>
              </a:buClr>
              <a:buFontTx/>
              <a:buChar char="•"/>
            </a:pPr>
            <a:r>
              <a:rPr lang="en-US" altLang="zh-CN" sz="12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Data access</a:t>
            </a:r>
          </a:p>
          <a:p>
            <a:pPr marL="117475" indent="-117475" defTabSz="684213">
              <a:buClr>
                <a:srgbClr val="7F7F7F"/>
              </a:buClr>
              <a:buFontTx/>
              <a:buChar char="•"/>
            </a:pPr>
            <a:endParaRPr lang="en-US" altLang="zh-CN" sz="12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5" name="组合 118"/>
          <p:cNvGrpSpPr>
            <a:grpSpLocks/>
          </p:cNvGrpSpPr>
          <p:nvPr/>
        </p:nvGrpSpPr>
        <p:grpSpPr bwMode="auto">
          <a:xfrm>
            <a:off x="7454900" y="2562225"/>
            <a:ext cx="1206500" cy="976313"/>
            <a:chOff x="3810784" y="706057"/>
            <a:chExt cx="3359963" cy="4112955"/>
          </a:xfrm>
        </p:grpSpPr>
        <p:pic>
          <p:nvPicPr>
            <p:cNvPr id="120" name="Picture 2" descr="C:\Users\h51326\Pictures\Rapid 野外部署照片.JPG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810784" y="706057"/>
              <a:ext cx="3359963" cy="3958540"/>
            </a:xfrm>
            <a:prstGeom prst="roundRect">
              <a:avLst>
                <a:gd name="adj" fmla="val 5483"/>
              </a:avLst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2268" name="矩形 123"/>
            <p:cNvSpPr>
              <a:spLocks noChangeArrowheads="1"/>
            </p:cNvSpPr>
            <p:nvPr/>
          </p:nvSpPr>
          <p:spPr bwMode="auto">
            <a:xfrm>
              <a:off x="4593525" y="3523372"/>
              <a:ext cx="514602" cy="12956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endParaRPr lang="zh-CN" altLang="en-US" sz="14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sp>
        <p:nvSpPr>
          <p:cNvPr id="45" name="矩形 322"/>
          <p:cNvSpPr/>
          <p:nvPr>
            <p:custDataLst>
              <p:tags r:id="rId2"/>
            </p:custDataLst>
          </p:nvPr>
        </p:nvSpPr>
        <p:spPr bwMode="auto">
          <a:xfrm>
            <a:off x="341313" y="617538"/>
            <a:ext cx="4616450" cy="416083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</p:spPr>
        <p:txBody>
          <a:bodyPr lIns="91374" tIns="45687" rIns="91374" bIns="45687"/>
          <a:lstStyle/>
          <a:p>
            <a:pPr marL="201613" indent="-201613" defTabSz="912813" eaLnBrk="0" hangingPunct="0">
              <a:buClr>
                <a:srgbClr val="CC9900"/>
              </a:buClr>
              <a:buSzPct val="60000"/>
              <a:buFont typeface="Wingdings" pitchFamily="2" charset="2"/>
              <a:buChar char="§"/>
            </a:pPr>
            <a:endParaRPr lang="zh-CN" altLang="en-US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238" name="椭圆 45"/>
          <p:cNvSpPr>
            <a:spLocks noChangeArrowheads="1"/>
          </p:cNvSpPr>
          <p:nvPr/>
        </p:nvSpPr>
        <p:spPr bwMode="auto">
          <a:xfrm>
            <a:off x="1312863" y="1146175"/>
            <a:ext cx="2730500" cy="3168650"/>
          </a:xfrm>
          <a:prstGeom prst="ellipse">
            <a:avLst/>
          </a:prstGeom>
          <a:gradFill rotWithShape="0"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/>
          </a:gra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</a:endParaRPr>
          </a:p>
        </p:txBody>
      </p:sp>
      <p:grpSp>
        <p:nvGrpSpPr>
          <p:cNvPr id="6" name="组合 62"/>
          <p:cNvGrpSpPr>
            <a:grpSpLocks/>
          </p:cNvGrpSpPr>
          <p:nvPr/>
        </p:nvGrpSpPr>
        <p:grpSpPr bwMode="auto">
          <a:xfrm>
            <a:off x="1427163" y="1308100"/>
            <a:ext cx="2359025" cy="2506663"/>
            <a:chOff x="1350339" y="1359749"/>
            <a:chExt cx="2358776" cy="2506663"/>
          </a:xfrm>
        </p:grpSpPr>
        <p:pic>
          <p:nvPicPr>
            <p:cNvPr id="48" name="图片 47"/>
            <p:cNvPicPr/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350339" y="1359749"/>
              <a:ext cx="1668286" cy="2506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2255" name="Freeform 10"/>
            <p:cNvSpPr>
              <a:spLocks/>
            </p:cNvSpPr>
            <p:nvPr/>
          </p:nvSpPr>
          <p:spPr bwMode="auto">
            <a:xfrm flipH="1">
              <a:off x="1966518" y="2232022"/>
              <a:ext cx="1272175" cy="86175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  <p:sp>
          <p:nvSpPr>
            <p:cNvPr id="52256" name="Freeform 10"/>
            <p:cNvSpPr>
              <a:spLocks/>
            </p:cNvSpPr>
            <p:nvPr/>
          </p:nvSpPr>
          <p:spPr bwMode="auto">
            <a:xfrm flipH="1">
              <a:off x="1700011" y="1946938"/>
              <a:ext cx="1287886" cy="45719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  <p:sp>
          <p:nvSpPr>
            <p:cNvPr id="52257" name="TextBox 46"/>
            <p:cNvSpPr txBox="1">
              <a:spLocks noChangeArrowheads="1"/>
            </p:cNvSpPr>
            <p:nvPr/>
          </p:nvSpPr>
          <p:spPr bwMode="auto">
            <a:xfrm>
              <a:off x="2985834" y="1857770"/>
              <a:ext cx="697523" cy="164213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Antenna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58" name="Freeform 10"/>
            <p:cNvSpPr>
              <a:spLocks/>
            </p:cNvSpPr>
            <p:nvPr/>
          </p:nvSpPr>
          <p:spPr bwMode="auto">
            <a:xfrm flipH="1">
              <a:off x="1710880" y="2540899"/>
              <a:ext cx="1548457" cy="393716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  <p:sp>
          <p:nvSpPr>
            <p:cNvPr id="52259" name="TextBox 48"/>
            <p:cNvSpPr txBox="1">
              <a:spLocks noChangeArrowheads="1"/>
            </p:cNvSpPr>
            <p:nvPr/>
          </p:nvSpPr>
          <p:spPr bwMode="auto">
            <a:xfrm>
              <a:off x="3005914" y="2164286"/>
              <a:ext cx="690321" cy="166791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Bracket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60" name="TextBox 49"/>
            <p:cNvSpPr txBox="1">
              <a:spLocks noChangeArrowheads="1"/>
            </p:cNvSpPr>
            <p:nvPr/>
          </p:nvSpPr>
          <p:spPr bwMode="auto">
            <a:xfrm>
              <a:off x="3007550" y="2446372"/>
              <a:ext cx="701565" cy="193797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Antenna Box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61" name="Freeform 10"/>
            <p:cNvSpPr>
              <a:spLocks/>
            </p:cNvSpPr>
            <p:nvPr/>
          </p:nvSpPr>
          <p:spPr bwMode="auto">
            <a:xfrm flipH="1">
              <a:off x="2704562" y="3072248"/>
              <a:ext cx="334851" cy="45719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  <p:sp>
          <p:nvSpPr>
            <p:cNvPr id="52262" name="TextBox 11"/>
            <p:cNvSpPr txBox="1">
              <a:spLocks noChangeArrowheads="1"/>
            </p:cNvSpPr>
            <p:nvPr/>
          </p:nvSpPr>
          <p:spPr bwMode="auto">
            <a:xfrm>
              <a:off x="3064653" y="3180583"/>
              <a:ext cx="631584" cy="180804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pPr>
                <a:lnSpc>
                  <a:spcPts val="1200"/>
                </a:lnSpc>
              </a:pPr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Main Box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63" name="TextBox 12"/>
            <p:cNvSpPr txBox="1">
              <a:spLocks noChangeArrowheads="1"/>
            </p:cNvSpPr>
            <p:nvPr/>
          </p:nvSpPr>
          <p:spPr bwMode="auto">
            <a:xfrm>
              <a:off x="3064654" y="2961604"/>
              <a:ext cx="618704" cy="167961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pPr>
                <a:lnSpc>
                  <a:spcPts val="1200"/>
                </a:lnSpc>
              </a:pPr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RF Box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64" name="TextBox 13"/>
            <p:cNvSpPr txBox="1">
              <a:spLocks noChangeArrowheads="1"/>
            </p:cNvSpPr>
            <p:nvPr/>
          </p:nvSpPr>
          <p:spPr bwMode="auto">
            <a:xfrm>
              <a:off x="3064653" y="3425781"/>
              <a:ext cx="631583" cy="193184"/>
            </a:xfrm>
            <a:prstGeom prst="rect">
              <a:avLst/>
            </a:prstGeom>
            <a:solidFill>
              <a:srgbClr val="990000"/>
            </a:solidFill>
            <a:ln w="25400">
              <a:solidFill>
                <a:srgbClr val="990000">
                  <a:alpha val="90195"/>
                </a:srgbClr>
              </a:solidFill>
              <a:round/>
              <a:headEnd/>
              <a:tailEnd type="oval" w="lg" len="lg"/>
            </a:ln>
          </p:spPr>
          <p:txBody>
            <a:bodyPr lIns="36000" tIns="40005" rIns="36000" bIns="40005"/>
            <a:lstStyle/>
            <a:p>
              <a:r>
                <a:rPr lang="en-US" altLang="zh-CN" sz="800">
                  <a:solidFill>
                    <a:schemeClr val="bg1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Power Box</a:t>
              </a:r>
              <a:endParaRPr lang="zh-CN" altLang="en-US" sz="8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2265" name="Freeform 10"/>
            <p:cNvSpPr>
              <a:spLocks/>
            </p:cNvSpPr>
            <p:nvPr/>
          </p:nvSpPr>
          <p:spPr bwMode="auto">
            <a:xfrm flipH="1">
              <a:off x="2728172" y="3301922"/>
              <a:ext cx="334851" cy="45719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  <p:sp>
          <p:nvSpPr>
            <p:cNvPr id="52266" name="Freeform 10"/>
            <p:cNvSpPr>
              <a:spLocks/>
            </p:cNvSpPr>
            <p:nvPr/>
          </p:nvSpPr>
          <p:spPr bwMode="auto">
            <a:xfrm flipH="1">
              <a:off x="2715293" y="3546623"/>
              <a:ext cx="334851" cy="45719"/>
            </a:xfrm>
            <a:custGeom>
              <a:avLst/>
              <a:gdLst>
                <a:gd name="T0" fmla="*/ 0 w 10052"/>
                <a:gd name="T1" fmla="*/ 0 h 11241"/>
                <a:gd name="T2" fmla="*/ 2147483647 w 10052"/>
                <a:gd name="T3" fmla="*/ 0 h 11241"/>
                <a:gd name="T4" fmla="*/ 2147483647 w 10052"/>
                <a:gd name="T5" fmla="*/ 2147483647 h 11241"/>
                <a:gd name="T6" fmla="*/ 0 60000 65536"/>
                <a:gd name="T7" fmla="*/ 0 60000 65536"/>
                <a:gd name="T8" fmla="*/ 0 60000 65536"/>
                <a:gd name="T9" fmla="*/ 0 w 10052"/>
                <a:gd name="T10" fmla="*/ 0 h 11241"/>
                <a:gd name="T11" fmla="*/ 10052 w 10052"/>
                <a:gd name="T12" fmla="*/ 11241 h 1124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052" h="11241">
                  <a:moveTo>
                    <a:pt x="0" y="0"/>
                  </a:moveTo>
                  <a:lnTo>
                    <a:pt x="8900" y="0"/>
                  </a:lnTo>
                  <a:cubicBezTo>
                    <a:pt x="9275" y="3747"/>
                    <a:pt x="8924" y="-68"/>
                    <a:pt x="10052" y="11241"/>
                  </a:cubicBezTo>
                </a:path>
              </a:pathLst>
            </a:custGeom>
            <a:noFill/>
            <a:ln w="31750">
              <a:solidFill>
                <a:srgbClr val="990000">
                  <a:alpha val="90195"/>
                </a:srgbClr>
              </a:solidFill>
              <a:prstDash val="solid"/>
              <a:round/>
              <a:headEnd/>
              <a:tailEnd type="oval" w="med" len="med"/>
            </a:ln>
          </p:spPr>
          <p:txBody>
            <a:bodyPr lIns="80010" tIns="40005" rIns="80010" bIns="40005"/>
            <a:lstStyle/>
            <a:p>
              <a:endParaRPr lang="en-US"/>
            </a:p>
          </p:txBody>
        </p:sp>
      </p:grpSp>
      <p:sp>
        <p:nvSpPr>
          <p:cNvPr id="52240" name="椭圆 28"/>
          <p:cNvSpPr>
            <a:spLocks noChangeArrowheads="1"/>
          </p:cNvSpPr>
          <p:nvPr/>
        </p:nvSpPr>
        <p:spPr bwMode="auto">
          <a:xfrm>
            <a:off x="458788" y="758825"/>
            <a:ext cx="1241425" cy="1160463"/>
          </a:xfrm>
          <a:prstGeom prst="ellipse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2241" name="椭圆 25"/>
          <p:cNvSpPr>
            <a:spLocks noChangeArrowheads="1"/>
          </p:cNvSpPr>
          <p:nvPr/>
        </p:nvSpPr>
        <p:spPr bwMode="auto">
          <a:xfrm>
            <a:off x="422275" y="3463925"/>
            <a:ext cx="1217613" cy="1135063"/>
          </a:xfrm>
          <a:prstGeom prst="ellipse">
            <a:avLst/>
          </a:prstGeom>
          <a:blipFill dpi="0" rotWithShape="1">
            <a:blip r:embed="rId9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2242" name="椭圆 27"/>
          <p:cNvSpPr>
            <a:spLocks noChangeArrowheads="1"/>
          </p:cNvSpPr>
          <p:nvPr/>
        </p:nvSpPr>
        <p:spPr bwMode="auto">
          <a:xfrm>
            <a:off x="3616325" y="735013"/>
            <a:ext cx="1266825" cy="1200150"/>
          </a:xfrm>
          <a:prstGeom prst="ellipse">
            <a:avLst/>
          </a:prstGeom>
          <a:blipFill dpi="0" rotWithShape="1">
            <a:blip r:embed="rId10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2243" name="TextBox 63"/>
          <p:cNvSpPr txBox="1">
            <a:spLocks noChangeArrowheads="1"/>
          </p:cNvSpPr>
          <p:nvPr/>
        </p:nvSpPr>
        <p:spPr bwMode="auto">
          <a:xfrm>
            <a:off x="485775" y="1917700"/>
            <a:ext cx="1052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>
                <a:solidFill>
                  <a:srgbClr val="C00000"/>
                </a:solidFill>
                <a:latin typeface="Arial Unicode MS" pitchFamily="34" charset="-128"/>
                <a:ea typeface="Arial Unicode MS" pitchFamily="34" charset="-128"/>
                <a:cs typeface="Arial" pitchFamily="34" charset="0"/>
              </a:rPr>
              <a:t>Incidents</a:t>
            </a:r>
            <a:endParaRPr lang="zh-CN" altLang="en-US" sz="1200">
              <a:solidFill>
                <a:srgbClr val="C00000"/>
              </a:solidFill>
              <a:latin typeface="Arial Unicode MS" pitchFamily="34" charset="-128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52244" name="TextBox 63"/>
          <p:cNvSpPr txBox="1">
            <a:spLocks noChangeArrowheads="1"/>
          </p:cNvSpPr>
          <p:nvPr/>
        </p:nvSpPr>
        <p:spPr bwMode="auto">
          <a:xfrm>
            <a:off x="3792538" y="1901825"/>
            <a:ext cx="10525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>
                <a:solidFill>
                  <a:srgbClr val="C00000"/>
                </a:solidFill>
                <a:latin typeface="Arial Unicode MS" pitchFamily="34" charset="-128"/>
                <a:ea typeface="Arial Unicode MS" pitchFamily="34" charset="-128"/>
                <a:cs typeface="Arial" pitchFamily="34" charset="0"/>
              </a:rPr>
              <a:t>Disaster</a:t>
            </a:r>
            <a:endParaRPr lang="zh-CN" altLang="en-US" sz="1200">
              <a:solidFill>
                <a:srgbClr val="C00000"/>
              </a:solidFill>
              <a:latin typeface="Arial Unicode MS" pitchFamily="34" charset="-128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52245" name="TextBox 63"/>
          <p:cNvSpPr txBox="1">
            <a:spLocks noChangeArrowheads="1"/>
          </p:cNvSpPr>
          <p:nvPr/>
        </p:nvSpPr>
        <p:spPr bwMode="auto">
          <a:xfrm>
            <a:off x="482600" y="4541838"/>
            <a:ext cx="10525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>
                <a:solidFill>
                  <a:srgbClr val="C00000"/>
                </a:solidFill>
                <a:latin typeface="Arial Unicode MS" pitchFamily="34" charset="-128"/>
                <a:ea typeface="Arial Unicode MS" pitchFamily="34" charset="-128"/>
                <a:cs typeface="Arial" pitchFamily="34" charset="0"/>
              </a:rPr>
              <a:t>Events</a:t>
            </a:r>
            <a:endParaRPr lang="zh-CN" altLang="en-US" sz="1200">
              <a:solidFill>
                <a:srgbClr val="C00000"/>
              </a:solidFill>
              <a:latin typeface="Arial Unicode MS" pitchFamily="34" charset="-128"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60461" name="图片 1" descr="image001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3670480" y="3503053"/>
            <a:ext cx="1200240" cy="1094704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47" name="TextBox 63"/>
          <p:cNvSpPr txBox="1">
            <a:spLocks noChangeArrowheads="1"/>
          </p:cNvSpPr>
          <p:nvPr/>
        </p:nvSpPr>
        <p:spPr bwMode="auto">
          <a:xfrm>
            <a:off x="3738563" y="4565650"/>
            <a:ext cx="10525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>
                <a:solidFill>
                  <a:srgbClr val="C00000"/>
                </a:solidFill>
                <a:latin typeface="Arial Unicode MS" pitchFamily="34" charset="-128"/>
                <a:ea typeface="Arial Unicode MS" pitchFamily="34" charset="-128"/>
                <a:cs typeface="Arial" pitchFamily="34" charset="0"/>
              </a:rPr>
              <a:t>VIP</a:t>
            </a:r>
            <a:endParaRPr lang="zh-CN" altLang="en-US" sz="1200">
              <a:solidFill>
                <a:srgbClr val="C00000"/>
              </a:solidFill>
              <a:latin typeface="Arial Unicode MS" pitchFamily="34" charset="-128"/>
              <a:ea typeface="Arial Unicode MS" pitchFamily="34" charset="-128"/>
              <a:cs typeface="Arial" pitchFamily="34" charset="0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4" hidden="1"/>
          <p:cNvGraphicFramePr>
            <a:graphicFrameLocks noChangeAspect="1"/>
          </p:cNvGraphicFramePr>
          <p:nvPr/>
        </p:nvGraphicFramePr>
        <p:xfrm>
          <a:off x="1588" y="1588"/>
          <a:ext cx="0" cy="1587"/>
        </p:xfrm>
        <a:graphic>
          <a:graphicData uri="http://schemas.openxmlformats.org/presentationml/2006/ole">
            <p:oleObj spid="_x0000_s147458" name="think-cell Slide" r:id="rId5" imgW="360" imgH="360" progId="">
              <p:embed/>
            </p:oleObj>
          </a:graphicData>
        </a:graphic>
      </p:graphicFrame>
      <p:sp>
        <p:nvSpPr>
          <p:cNvPr id="58" name="Title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2913" y="314325"/>
            <a:ext cx="8875712" cy="558800"/>
          </a:xfrm>
          <a:prstGeom prst="rect">
            <a:avLst/>
          </a:prstGeom>
        </p:spPr>
        <p:txBody>
          <a:bodyPr lIns="68562" tIns="34281" rIns="68562" bIns="34281"/>
          <a:lstStyle/>
          <a:p>
            <a:pPr eaLnBrk="0" hangingPunct="0">
              <a:defRPr/>
            </a:pPr>
            <a:r>
              <a:rPr lang="en-US" altLang="zh-CN" sz="2100" b="1" kern="0" dirty="0">
                <a:solidFill>
                  <a:srgbClr val="FFC000"/>
                </a:solidFill>
                <a:latin typeface="FrutigerNext LT Medium" pitchFamily="34" charset="0"/>
                <a:ea typeface="黑体" pitchFamily="49" charset="-122"/>
              </a:rPr>
              <a:t>High Network Resilience, Available Communication in Disaster</a:t>
            </a:r>
          </a:p>
        </p:txBody>
      </p:sp>
      <p:cxnSp>
        <p:nvCxnSpPr>
          <p:cNvPr id="15364" name="直接连接符 98"/>
          <p:cNvCxnSpPr>
            <a:cxnSpLocks noChangeShapeType="1"/>
          </p:cNvCxnSpPr>
          <p:nvPr/>
        </p:nvCxnSpPr>
        <p:spPr bwMode="auto">
          <a:xfrm>
            <a:off x="2322513" y="1355725"/>
            <a:ext cx="609600" cy="666750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</p:cxnSp>
      <p:sp>
        <p:nvSpPr>
          <p:cNvPr id="42" name="矩形 41"/>
          <p:cNvSpPr/>
          <p:nvPr/>
        </p:nvSpPr>
        <p:spPr bwMode="auto">
          <a:xfrm>
            <a:off x="520700" y="1241425"/>
            <a:ext cx="3892550" cy="2474913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FFFFF"/>
              </a:gs>
            </a:gsLst>
            <a:lin ang="16200000" scaled="0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1374" tIns="45687" rIns="91374" bIns="45687"/>
          <a:lstStyle/>
          <a:p>
            <a:pPr defTabSz="912813">
              <a:buClr>
                <a:srgbClr val="CC9900"/>
              </a:buClr>
            </a:pPr>
            <a:endParaRPr lang="zh-CN" altLang="en-US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矩形 42"/>
          <p:cNvSpPr/>
          <p:nvPr/>
        </p:nvSpPr>
        <p:spPr bwMode="auto">
          <a:xfrm>
            <a:off x="4689475" y="1241425"/>
            <a:ext cx="3924300" cy="2474913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100000">
                <a:srgbClr val="FFFFFF"/>
              </a:gs>
            </a:gsLst>
            <a:lin ang="16200000" scaled="0"/>
          </a:gradFill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30000"/>
              </a:prstClr>
            </a:outerShdw>
          </a:effectLst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lIns="91374" tIns="45687" rIns="91374" bIns="45687"/>
          <a:lstStyle/>
          <a:p>
            <a:pPr defTabSz="912813">
              <a:buClr>
                <a:srgbClr val="CC9900"/>
              </a:buClr>
              <a:buFont typeface="Wingdings" pitchFamily="2" charset="2"/>
              <a:buChar char="n"/>
            </a:pPr>
            <a:endParaRPr lang="zh-CN" altLang="en-US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67" name="Oval 3"/>
          <p:cNvSpPr>
            <a:spLocks noChangeArrowheads="1"/>
          </p:cNvSpPr>
          <p:nvPr/>
        </p:nvSpPr>
        <p:spPr bwMode="auto">
          <a:xfrm>
            <a:off x="2760663" y="1928813"/>
            <a:ext cx="1392237" cy="1401762"/>
          </a:xfrm>
          <a:prstGeom prst="ellipse">
            <a:avLst/>
          </a:prstGeom>
          <a:gradFill rotWithShape="0">
            <a:gsLst>
              <a:gs pos="0">
                <a:srgbClr val="FFFFFF"/>
              </a:gs>
              <a:gs pos="100000">
                <a:srgbClr val="51DC00"/>
              </a:gs>
            </a:gsLst>
            <a:path path="shape">
              <a:fillToRect l="50000" t="50000" r="50000" b="50000"/>
            </a:path>
          </a:gradFill>
          <a:ln w="12700">
            <a:noFill/>
            <a:round/>
            <a:headEnd/>
            <a:tailEnd/>
          </a:ln>
        </p:spPr>
        <p:txBody>
          <a:bodyPr wrap="none" anchor="ctr"/>
          <a:lstStyle/>
          <a:p>
            <a:endParaRPr lang="zh-CN" alt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le 152"/>
          <p:cNvSpPr>
            <a:spLocks noChangeArrowheads="1"/>
          </p:cNvSpPr>
          <p:nvPr/>
        </p:nvSpPr>
        <p:spPr bwMode="auto">
          <a:xfrm>
            <a:off x="3184525" y="2835275"/>
            <a:ext cx="54451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defTabSz="762000"/>
            <a:r>
              <a:rPr lang="en-GB" altLang="zh-CN" sz="12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cs typeface="Arial" pitchFamily="34" charset="0"/>
              </a:rPr>
              <a:t>DMO</a:t>
            </a:r>
            <a:endParaRPr lang="en-GB" altLang="zh-CN" sz="1200" b="1">
              <a:solidFill>
                <a:srgbClr val="FFFFFF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489"/>
          <p:cNvGrpSpPr>
            <a:grpSpLocks/>
          </p:cNvGrpSpPr>
          <p:nvPr/>
        </p:nvGrpSpPr>
        <p:grpSpPr bwMode="auto">
          <a:xfrm>
            <a:off x="2655888" y="1817688"/>
            <a:ext cx="1157287" cy="1076325"/>
            <a:chOff x="3107" y="1797"/>
            <a:chExt cx="1748" cy="1614"/>
          </a:xfrm>
        </p:grpSpPr>
        <p:grpSp>
          <p:nvGrpSpPr>
            <p:cNvPr id="3" name="Group 408"/>
            <p:cNvGrpSpPr>
              <a:grpSpLocks/>
            </p:cNvGrpSpPr>
            <p:nvPr/>
          </p:nvGrpSpPr>
          <p:grpSpPr bwMode="auto">
            <a:xfrm>
              <a:off x="4379" y="2803"/>
              <a:ext cx="476" cy="489"/>
              <a:chOff x="4379" y="2459"/>
              <a:chExt cx="476" cy="489"/>
            </a:xfrm>
          </p:grpSpPr>
          <p:sp>
            <p:nvSpPr>
              <p:cNvPr id="15441" name="Freeform 393"/>
              <p:cNvSpPr>
                <a:spLocks/>
              </p:cNvSpPr>
              <p:nvPr/>
            </p:nvSpPr>
            <p:spPr bwMode="auto">
              <a:xfrm>
                <a:off x="4379" y="2459"/>
                <a:ext cx="476" cy="489"/>
              </a:xfrm>
              <a:custGeom>
                <a:avLst/>
                <a:gdLst>
                  <a:gd name="T0" fmla="*/ 0 w 4761"/>
                  <a:gd name="T1" fmla="*/ 0 h 4892"/>
                  <a:gd name="T2" fmla="*/ 0 w 4761"/>
                  <a:gd name="T3" fmla="*/ 0 h 4892"/>
                  <a:gd name="T4" fmla="*/ 0 w 4761"/>
                  <a:gd name="T5" fmla="*/ 0 h 4892"/>
                  <a:gd name="T6" fmla="*/ 0 w 4761"/>
                  <a:gd name="T7" fmla="*/ 0 h 4892"/>
                  <a:gd name="T8" fmla="*/ 0 w 4761"/>
                  <a:gd name="T9" fmla="*/ 0 h 4892"/>
                  <a:gd name="T10" fmla="*/ 0 w 4761"/>
                  <a:gd name="T11" fmla="*/ 0 h 4892"/>
                  <a:gd name="T12" fmla="*/ 0 w 4761"/>
                  <a:gd name="T13" fmla="*/ 0 h 4892"/>
                  <a:gd name="T14" fmla="*/ 0 w 4761"/>
                  <a:gd name="T15" fmla="*/ 0 h 4892"/>
                  <a:gd name="T16" fmla="*/ 0 w 4761"/>
                  <a:gd name="T17" fmla="*/ 0 h 4892"/>
                  <a:gd name="T18" fmla="*/ 0 w 4761"/>
                  <a:gd name="T19" fmla="*/ 0 h 4892"/>
                  <a:gd name="T20" fmla="*/ 0 w 4761"/>
                  <a:gd name="T21" fmla="*/ 0 h 4892"/>
                  <a:gd name="T22" fmla="*/ 0 w 4761"/>
                  <a:gd name="T23" fmla="*/ 0 h 4892"/>
                  <a:gd name="T24" fmla="*/ 0 w 4761"/>
                  <a:gd name="T25" fmla="*/ 0 h 4892"/>
                  <a:gd name="T26" fmla="*/ 0 w 4761"/>
                  <a:gd name="T27" fmla="*/ 0 h 4892"/>
                  <a:gd name="T28" fmla="*/ 0 w 4761"/>
                  <a:gd name="T29" fmla="*/ 0 h 4892"/>
                  <a:gd name="T30" fmla="*/ 0 w 4761"/>
                  <a:gd name="T31" fmla="*/ 0 h 4892"/>
                  <a:gd name="T32" fmla="*/ 0 w 4761"/>
                  <a:gd name="T33" fmla="*/ 0 h 4892"/>
                  <a:gd name="T34" fmla="*/ 0 w 4761"/>
                  <a:gd name="T35" fmla="*/ 0 h 4892"/>
                  <a:gd name="T36" fmla="*/ 0 w 4761"/>
                  <a:gd name="T37" fmla="*/ 0 h 4892"/>
                  <a:gd name="T38" fmla="*/ 0 w 4761"/>
                  <a:gd name="T39" fmla="*/ 0 h 4892"/>
                  <a:gd name="T40" fmla="*/ 0 w 4761"/>
                  <a:gd name="T41" fmla="*/ 0 h 4892"/>
                  <a:gd name="T42" fmla="*/ 0 w 4761"/>
                  <a:gd name="T43" fmla="*/ 0 h 4892"/>
                  <a:gd name="T44" fmla="*/ 0 w 4761"/>
                  <a:gd name="T45" fmla="*/ 0 h 4892"/>
                  <a:gd name="T46" fmla="*/ 0 w 4761"/>
                  <a:gd name="T47" fmla="*/ 0 h 4892"/>
                  <a:gd name="T48" fmla="*/ 0 w 4761"/>
                  <a:gd name="T49" fmla="*/ 0 h 4892"/>
                  <a:gd name="T50" fmla="*/ 0 w 4761"/>
                  <a:gd name="T51" fmla="*/ 0 h 4892"/>
                  <a:gd name="T52" fmla="*/ 0 w 4761"/>
                  <a:gd name="T53" fmla="*/ 0 h 4892"/>
                  <a:gd name="T54" fmla="*/ 0 w 4761"/>
                  <a:gd name="T55" fmla="*/ 0 h 4892"/>
                  <a:gd name="T56" fmla="*/ 0 w 4761"/>
                  <a:gd name="T57" fmla="*/ 0 h 4892"/>
                  <a:gd name="T58" fmla="*/ 0 w 4761"/>
                  <a:gd name="T59" fmla="*/ 0 h 4892"/>
                  <a:gd name="T60" fmla="*/ 0 w 4761"/>
                  <a:gd name="T61" fmla="*/ 0 h 4892"/>
                  <a:gd name="T62" fmla="*/ 0 w 4761"/>
                  <a:gd name="T63" fmla="*/ 0 h 4892"/>
                  <a:gd name="T64" fmla="*/ 0 w 4761"/>
                  <a:gd name="T65" fmla="*/ 0 h 4892"/>
                  <a:gd name="T66" fmla="*/ 0 w 4761"/>
                  <a:gd name="T67" fmla="*/ 0 h 4892"/>
                  <a:gd name="T68" fmla="*/ 0 w 4761"/>
                  <a:gd name="T69" fmla="*/ 0 h 4892"/>
                  <a:gd name="T70" fmla="*/ 0 w 4761"/>
                  <a:gd name="T71" fmla="*/ 0 h 4892"/>
                  <a:gd name="T72" fmla="*/ 0 w 4761"/>
                  <a:gd name="T73" fmla="*/ 0 h 4892"/>
                  <a:gd name="T74" fmla="*/ 0 w 4761"/>
                  <a:gd name="T75" fmla="*/ 0 h 4892"/>
                  <a:gd name="T76" fmla="*/ 0 w 4761"/>
                  <a:gd name="T77" fmla="*/ 0 h 4892"/>
                  <a:gd name="T78" fmla="*/ 0 w 4761"/>
                  <a:gd name="T79" fmla="*/ 0 h 4892"/>
                  <a:gd name="T80" fmla="*/ 0 w 4761"/>
                  <a:gd name="T81" fmla="*/ 0 h 4892"/>
                  <a:gd name="T82" fmla="*/ 0 w 4761"/>
                  <a:gd name="T83" fmla="*/ 0 h 4892"/>
                  <a:gd name="T84" fmla="*/ 0 w 4761"/>
                  <a:gd name="T85" fmla="*/ 0 h 4892"/>
                  <a:gd name="T86" fmla="*/ 0 w 4761"/>
                  <a:gd name="T87" fmla="*/ 0 h 4892"/>
                  <a:gd name="T88" fmla="*/ 0 w 4761"/>
                  <a:gd name="T89" fmla="*/ 0 h 4892"/>
                  <a:gd name="T90" fmla="*/ 0 w 4761"/>
                  <a:gd name="T91" fmla="*/ 0 h 4892"/>
                  <a:gd name="T92" fmla="*/ 0 w 4761"/>
                  <a:gd name="T93" fmla="*/ 0 h 4892"/>
                  <a:gd name="T94" fmla="*/ 0 w 4761"/>
                  <a:gd name="T95" fmla="*/ 0 h 4892"/>
                  <a:gd name="T96" fmla="*/ 0 w 4761"/>
                  <a:gd name="T97" fmla="*/ 0 h 4892"/>
                  <a:gd name="T98" fmla="*/ 0 w 4761"/>
                  <a:gd name="T99" fmla="*/ 0 h 4892"/>
                  <a:gd name="T100" fmla="*/ 0 w 4761"/>
                  <a:gd name="T101" fmla="*/ 0 h 4892"/>
                  <a:gd name="T102" fmla="*/ 0 w 4761"/>
                  <a:gd name="T103" fmla="*/ 0 h 4892"/>
                  <a:gd name="T104" fmla="*/ 0 w 4761"/>
                  <a:gd name="T105" fmla="*/ 0 h 4892"/>
                  <a:gd name="T106" fmla="*/ 0 w 4761"/>
                  <a:gd name="T107" fmla="*/ 0 h 4892"/>
                  <a:gd name="T108" fmla="*/ 0 w 4761"/>
                  <a:gd name="T109" fmla="*/ 0 h 4892"/>
                  <a:gd name="T110" fmla="*/ 0 w 4761"/>
                  <a:gd name="T111" fmla="*/ 0 h 4892"/>
                  <a:gd name="T112" fmla="*/ 0 w 4761"/>
                  <a:gd name="T113" fmla="*/ 0 h 489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761"/>
                  <a:gd name="T172" fmla="*/ 0 h 4892"/>
                  <a:gd name="T173" fmla="*/ 4761 w 4761"/>
                  <a:gd name="T174" fmla="*/ 4892 h 489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761" h="4892">
                    <a:moveTo>
                      <a:pt x="1694" y="1071"/>
                    </a:moveTo>
                    <a:lnTo>
                      <a:pt x="1694" y="1275"/>
                    </a:lnTo>
                    <a:lnTo>
                      <a:pt x="1733" y="1343"/>
                    </a:lnTo>
                    <a:lnTo>
                      <a:pt x="1756" y="1459"/>
                    </a:lnTo>
                    <a:lnTo>
                      <a:pt x="1785" y="1567"/>
                    </a:lnTo>
                    <a:lnTo>
                      <a:pt x="1810" y="1632"/>
                    </a:lnTo>
                    <a:lnTo>
                      <a:pt x="1810" y="1671"/>
                    </a:lnTo>
                    <a:lnTo>
                      <a:pt x="1681" y="1697"/>
                    </a:lnTo>
                    <a:lnTo>
                      <a:pt x="1589" y="1865"/>
                    </a:lnTo>
                    <a:lnTo>
                      <a:pt x="1410" y="1849"/>
                    </a:lnTo>
                    <a:lnTo>
                      <a:pt x="1182" y="1839"/>
                    </a:lnTo>
                    <a:lnTo>
                      <a:pt x="1070" y="1840"/>
                    </a:lnTo>
                    <a:lnTo>
                      <a:pt x="976" y="1848"/>
                    </a:lnTo>
                    <a:lnTo>
                      <a:pt x="923" y="1860"/>
                    </a:lnTo>
                    <a:lnTo>
                      <a:pt x="861" y="1888"/>
                    </a:lnTo>
                    <a:lnTo>
                      <a:pt x="774" y="1944"/>
                    </a:lnTo>
                    <a:lnTo>
                      <a:pt x="698" y="2006"/>
                    </a:lnTo>
                    <a:lnTo>
                      <a:pt x="606" y="2100"/>
                    </a:lnTo>
                    <a:lnTo>
                      <a:pt x="527" y="2205"/>
                    </a:lnTo>
                    <a:lnTo>
                      <a:pt x="500" y="2249"/>
                    </a:lnTo>
                    <a:lnTo>
                      <a:pt x="410" y="2300"/>
                    </a:lnTo>
                    <a:lnTo>
                      <a:pt x="219" y="2698"/>
                    </a:lnTo>
                    <a:lnTo>
                      <a:pt x="244" y="2775"/>
                    </a:lnTo>
                    <a:lnTo>
                      <a:pt x="0" y="3353"/>
                    </a:lnTo>
                    <a:lnTo>
                      <a:pt x="0" y="4892"/>
                    </a:lnTo>
                    <a:lnTo>
                      <a:pt x="3887" y="4891"/>
                    </a:lnTo>
                    <a:lnTo>
                      <a:pt x="4113" y="4297"/>
                    </a:lnTo>
                    <a:lnTo>
                      <a:pt x="4290" y="3800"/>
                    </a:lnTo>
                    <a:lnTo>
                      <a:pt x="4393" y="3477"/>
                    </a:lnTo>
                    <a:lnTo>
                      <a:pt x="4415" y="3392"/>
                    </a:lnTo>
                    <a:lnTo>
                      <a:pt x="4383" y="3328"/>
                    </a:lnTo>
                    <a:lnTo>
                      <a:pt x="4350" y="3284"/>
                    </a:lnTo>
                    <a:lnTo>
                      <a:pt x="4312" y="3250"/>
                    </a:lnTo>
                    <a:lnTo>
                      <a:pt x="4286" y="3236"/>
                    </a:lnTo>
                    <a:lnTo>
                      <a:pt x="4301" y="3162"/>
                    </a:lnTo>
                    <a:lnTo>
                      <a:pt x="4302" y="3117"/>
                    </a:lnTo>
                    <a:lnTo>
                      <a:pt x="4295" y="3086"/>
                    </a:lnTo>
                    <a:lnTo>
                      <a:pt x="4275" y="3055"/>
                    </a:lnTo>
                    <a:lnTo>
                      <a:pt x="4236" y="3023"/>
                    </a:lnTo>
                    <a:lnTo>
                      <a:pt x="4184" y="2994"/>
                    </a:lnTo>
                    <a:lnTo>
                      <a:pt x="4210" y="2904"/>
                    </a:lnTo>
                    <a:lnTo>
                      <a:pt x="4255" y="2879"/>
                    </a:lnTo>
                    <a:lnTo>
                      <a:pt x="4305" y="2836"/>
                    </a:lnTo>
                    <a:lnTo>
                      <a:pt x="4366" y="2763"/>
                    </a:lnTo>
                    <a:lnTo>
                      <a:pt x="4432" y="2657"/>
                    </a:lnTo>
                    <a:lnTo>
                      <a:pt x="4528" y="2472"/>
                    </a:lnTo>
                    <a:lnTo>
                      <a:pt x="4556" y="2410"/>
                    </a:lnTo>
                    <a:lnTo>
                      <a:pt x="4567" y="2198"/>
                    </a:lnTo>
                    <a:lnTo>
                      <a:pt x="4563" y="2146"/>
                    </a:lnTo>
                    <a:lnTo>
                      <a:pt x="4559" y="2136"/>
                    </a:lnTo>
                    <a:lnTo>
                      <a:pt x="4555" y="2135"/>
                    </a:lnTo>
                    <a:lnTo>
                      <a:pt x="4569" y="2063"/>
                    </a:lnTo>
                    <a:lnTo>
                      <a:pt x="4570" y="2016"/>
                    </a:lnTo>
                    <a:lnTo>
                      <a:pt x="4561" y="1973"/>
                    </a:lnTo>
                    <a:lnTo>
                      <a:pt x="4530" y="1927"/>
                    </a:lnTo>
                    <a:lnTo>
                      <a:pt x="4503" y="1904"/>
                    </a:lnTo>
                    <a:lnTo>
                      <a:pt x="4632" y="1507"/>
                    </a:lnTo>
                    <a:lnTo>
                      <a:pt x="4464" y="1365"/>
                    </a:lnTo>
                    <a:lnTo>
                      <a:pt x="4403" y="1365"/>
                    </a:lnTo>
                    <a:lnTo>
                      <a:pt x="4683" y="607"/>
                    </a:lnTo>
                    <a:lnTo>
                      <a:pt x="4761" y="545"/>
                    </a:lnTo>
                    <a:lnTo>
                      <a:pt x="4710" y="403"/>
                    </a:lnTo>
                    <a:lnTo>
                      <a:pt x="4593" y="441"/>
                    </a:lnTo>
                    <a:lnTo>
                      <a:pt x="4593" y="558"/>
                    </a:lnTo>
                    <a:lnTo>
                      <a:pt x="4286" y="1365"/>
                    </a:lnTo>
                    <a:lnTo>
                      <a:pt x="4041" y="1429"/>
                    </a:lnTo>
                    <a:lnTo>
                      <a:pt x="3912" y="1800"/>
                    </a:lnTo>
                    <a:lnTo>
                      <a:pt x="3871" y="1753"/>
                    </a:lnTo>
                    <a:lnTo>
                      <a:pt x="3834" y="1726"/>
                    </a:lnTo>
                    <a:lnTo>
                      <a:pt x="3816" y="1721"/>
                    </a:lnTo>
                    <a:lnTo>
                      <a:pt x="3799" y="1724"/>
                    </a:lnTo>
                    <a:lnTo>
                      <a:pt x="3779" y="1747"/>
                    </a:lnTo>
                    <a:lnTo>
                      <a:pt x="3764" y="1786"/>
                    </a:lnTo>
                    <a:lnTo>
                      <a:pt x="3749" y="1877"/>
                    </a:lnTo>
                    <a:lnTo>
                      <a:pt x="3747" y="1891"/>
                    </a:lnTo>
                    <a:lnTo>
                      <a:pt x="3697" y="1940"/>
                    </a:lnTo>
                    <a:lnTo>
                      <a:pt x="3655" y="2004"/>
                    </a:lnTo>
                    <a:lnTo>
                      <a:pt x="3626" y="2071"/>
                    </a:lnTo>
                    <a:lnTo>
                      <a:pt x="3598" y="2188"/>
                    </a:lnTo>
                    <a:lnTo>
                      <a:pt x="3585" y="2268"/>
                    </a:lnTo>
                    <a:lnTo>
                      <a:pt x="3583" y="2342"/>
                    </a:lnTo>
                    <a:lnTo>
                      <a:pt x="3593" y="2417"/>
                    </a:lnTo>
                    <a:lnTo>
                      <a:pt x="3604" y="2467"/>
                    </a:lnTo>
                    <a:lnTo>
                      <a:pt x="3640" y="2557"/>
                    </a:lnTo>
                    <a:lnTo>
                      <a:pt x="3687" y="2641"/>
                    </a:lnTo>
                    <a:lnTo>
                      <a:pt x="3709" y="2673"/>
                    </a:lnTo>
                    <a:lnTo>
                      <a:pt x="3670" y="2839"/>
                    </a:lnTo>
                    <a:lnTo>
                      <a:pt x="3631" y="2827"/>
                    </a:lnTo>
                    <a:lnTo>
                      <a:pt x="3580" y="2956"/>
                    </a:lnTo>
                    <a:lnTo>
                      <a:pt x="3516" y="2929"/>
                    </a:lnTo>
                    <a:lnTo>
                      <a:pt x="3412" y="3198"/>
                    </a:lnTo>
                    <a:lnTo>
                      <a:pt x="3404" y="3087"/>
                    </a:lnTo>
                    <a:lnTo>
                      <a:pt x="3386" y="2953"/>
                    </a:lnTo>
                    <a:lnTo>
                      <a:pt x="3365" y="2858"/>
                    </a:lnTo>
                    <a:lnTo>
                      <a:pt x="3336" y="2768"/>
                    </a:lnTo>
                    <a:lnTo>
                      <a:pt x="3309" y="2711"/>
                    </a:lnTo>
                    <a:lnTo>
                      <a:pt x="3274" y="2668"/>
                    </a:lnTo>
                    <a:lnTo>
                      <a:pt x="3248" y="2648"/>
                    </a:lnTo>
                    <a:lnTo>
                      <a:pt x="3130" y="2595"/>
                    </a:lnTo>
                    <a:lnTo>
                      <a:pt x="2822" y="2482"/>
                    </a:lnTo>
                    <a:lnTo>
                      <a:pt x="2823" y="2365"/>
                    </a:lnTo>
                    <a:lnTo>
                      <a:pt x="2890" y="2378"/>
                    </a:lnTo>
                    <a:lnTo>
                      <a:pt x="2917" y="2379"/>
                    </a:lnTo>
                    <a:lnTo>
                      <a:pt x="2942" y="2377"/>
                    </a:lnTo>
                    <a:lnTo>
                      <a:pt x="2963" y="2368"/>
                    </a:lnTo>
                    <a:lnTo>
                      <a:pt x="2976" y="2353"/>
                    </a:lnTo>
                    <a:lnTo>
                      <a:pt x="3085" y="2119"/>
                    </a:lnTo>
                    <a:lnTo>
                      <a:pt x="3143" y="1975"/>
                    </a:lnTo>
                    <a:lnTo>
                      <a:pt x="3189" y="1827"/>
                    </a:lnTo>
                    <a:lnTo>
                      <a:pt x="3214" y="1722"/>
                    </a:lnTo>
                    <a:lnTo>
                      <a:pt x="3220" y="1670"/>
                    </a:lnTo>
                    <a:lnTo>
                      <a:pt x="3219" y="1605"/>
                    </a:lnTo>
                    <a:lnTo>
                      <a:pt x="3209" y="1543"/>
                    </a:lnTo>
                    <a:lnTo>
                      <a:pt x="3195" y="1507"/>
                    </a:lnTo>
                    <a:lnTo>
                      <a:pt x="3235" y="1469"/>
                    </a:lnTo>
                    <a:lnTo>
                      <a:pt x="3260" y="1436"/>
                    </a:lnTo>
                    <a:lnTo>
                      <a:pt x="3278" y="1394"/>
                    </a:lnTo>
                    <a:lnTo>
                      <a:pt x="3292" y="1331"/>
                    </a:lnTo>
                    <a:lnTo>
                      <a:pt x="3296" y="1288"/>
                    </a:lnTo>
                    <a:lnTo>
                      <a:pt x="3370" y="1302"/>
                    </a:lnTo>
                    <a:lnTo>
                      <a:pt x="3414" y="1309"/>
                    </a:lnTo>
                    <a:lnTo>
                      <a:pt x="3479" y="1310"/>
                    </a:lnTo>
                    <a:lnTo>
                      <a:pt x="3515" y="1302"/>
                    </a:lnTo>
                    <a:lnTo>
                      <a:pt x="3537" y="1286"/>
                    </a:lnTo>
                    <a:lnTo>
                      <a:pt x="3541" y="1275"/>
                    </a:lnTo>
                    <a:lnTo>
                      <a:pt x="3540" y="1259"/>
                    </a:lnTo>
                    <a:lnTo>
                      <a:pt x="3524" y="1221"/>
                    </a:lnTo>
                    <a:lnTo>
                      <a:pt x="3479" y="1153"/>
                    </a:lnTo>
                    <a:lnTo>
                      <a:pt x="3368" y="1028"/>
                    </a:lnTo>
                    <a:lnTo>
                      <a:pt x="3335" y="993"/>
                    </a:lnTo>
                    <a:lnTo>
                      <a:pt x="3358" y="850"/>
                    </a:lnTo>
                    <a:lnTo>
                      <a:pt x="3361" y="787"/>
                    </a:lnTo>
                    <a:lnTo>
                      <a:pt x="3353" y="742"/>
                    </a:lnTo>
                    <a:lnTo>
                      <a:pt x="3340" y="714"/>
                    </a:lnTo>
                    <a:lnTo>
                      <a:pt x="3322" y="697"/>
                    </a:lnTo>
                    <a:lnTo>
                      <a:pt x="3411" y="613"/>
                    </a:lnTo>
                    <a:lnTo>
                      <a:pt x="3467" y="544"/>
                    </a:lnTo>
                    <a:lnTo>
                      <a:pt x="3495" y="496"/>
                    </a:lnTo>
                    <a:lnTo>
                      <a:pt x="3504" y="471"/>
                    </a:lnTo>
                    <a:lnTo>
                      <a:pt x="3509" y="448"/>
                    </a:lnTo>
                    <a:lnTo>
                      <a:pt x="3507" y="413"/>
                    </a:lnTo>
                    <a:lnTo>
                      <a:pt x="3480" y="359"/>
                    </a:lnTo>
                    <a:lnTo>
                      <a:pt x="3420" y="275"/>
                    </a:lnTo>
                    <a:lnTo>
                      <a:pt x="3382" y="235"/>
                    </a:lnTo>
                    <a:lnTo>
                      <a:pt x="3339" y="197"/>
                    </a:lnTo>
                    <a:lnTo>
                      <a:pt x="3238" y="128"/>
                    </a:lnTo>
                    <a:lnTo>
                      <a:pt x="3119" y="71"/>
                    </a:lnTo>
                    <a:lnTo>
                      <a:pt x="3016" y="39"/>
                    </a:lnTo>
                    <a:lnTo>
                      <a:pt x="2904" y="15"/>
                    </a:lnTo>
                    <a:lnTo>
                      <a:pt x="2780" y="1"/>
                    </a:lnTo>
                    <a:lnTo>
                      <a:pt x="2649" y="0"/>
                    </a:lnTo>
                    <a:lnTo>
                      <a:pt x="2506" y="12"/>
                    </a:lnTo>
                    <a:lnTo>
                      <a:pt x="2407" y="29"/>
                    </a:lnTo>
                    <a:lnTo>
                      <a:pt x="2310" y="56"/>
                    </a:lnTo>
                    <a:lnTo>
                      <a:pt x="2164" y="110"/>
                    </a:lnTo>
                    <a:lnTo>
                      <a:pt x="2025" y="178"/>
                    </a:lnTo>
                    <a:lnTo>
                      <a:pt x="1894" y="258"/>
                    </a:lnTo>
                    <a:lnTo>
                      <a:pt x="1774" y="348"/>
                    </a:lnTo>
                    <a:lnTo>
                      <a:pt x="1668" y="446"/>
                    </a:lnTo>
                    <a:lnTo>
                      <a:pt x="1580" y="547"/>
                    </a:lnTo>
                    <a:lnTo>
                      <a:pt x="1533" y="616"/>
                    </a:lnTo>
                    <a:lnTo>
                      <a:pt x="1496" y="685"/>
                    </a:lnTo>
                    <a:lnTo>
                      <a:pt x="1469" y="753"/>
                    </a:lnTo>
                    <a:lnTo>
                      <a:pt x="1460" y="786"/>
                    </a:lnTo>
                    <a:lnTo>
                      <a:pt x="1451" y="851"/>
                    </a:lnTo>
                    <a:lnTo>
                      <a:pt x="1455" y="901"/>
                    </a:lnTo>
                    <a:lnTo>
                      <a:pt x="1470" y="943"/>
                    </a:lnTo>
                    <a:lnTo>
                      <a:pt x="1503" y="987"/>
                    </a:lnTo>
                    <a:lnTo>
                      <a:pt x="1546" y="1020"/>
                    </a:lnTo>
                    <a:lnTo>
                      <a:pt x="1614" y="1052"/>
                    </a:lnTo>
                    <a:lnTo>
                      <a:pt x="1694" y="1071"/>
                    </a:lnTo>
                    <a:close/>
                  </a:path>
                </a:pathLst>
              </a:custGeom>
              <a:solidFill>
                <a:srgbClr val="00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4" name="Group 407"/>
              <p:cNvGrpSpPr>
                <a:grpSpLocks/>
              </p:cNvGrpSpPr>
              <p:nvPr/>
            </p:nvGrpSpPr>
            <p:grpSpPr bwMode="auto">
              <a:xfrm>
                <a:off x="4410" y="2476"/>
                <a:ext cx="399" cy="395"/>
                <a:chOff x="4410" y="2476"/>
                <a:chExt cx="399" cy="395"/>
              </a:xfrm>
            </p:grpSpPr>
            <p:sp>
              <p:nvSpPr>
                <p:cNvPr id="15443" name="Freeform 394"/>
                <p:cNvSpPr>
                  <a:spLocks/>
                </p:cNvSpPr>
                <p:nvPr/>
              </p:nvSpPr>
              <p:spPr bwMode="auto">
                <a:xfrm>
                  <a:off x="4557" y="2635"/>
                  <a:ext cx="69" cy="152"/>
                </a:xfrm>
                <a:custGeom>
                  <a:avLst/>
                  <a:gdLst>
                    <a:gd name="T0" fmla="*/ 0 w 694"/>
                    <a:gd name="T1" fmla="*/ 0 h 1514"/>
                    <a:gd name="T2" fmla="*/ 0 w 694"/>
                    <a:gd name="T3" fmla="*/ 0 h 1514"/>
                    <a:gd name="T4" fmla="*/ 0 w 694"/>
                    <a:gd name="T5" fmla="*/ 0 h 1514"/>
                    <a:gd name="T6" fmla="*/ 0 w 694"/>
                    <a:gd name="T7" fmla="*/ 0 h 1514"/>
                    <a:gd name="T8" fmla="*/ 0 w 694"/>
                    <a:gd name="T9" fmla="*/ 0 h 1514"/>
                    <a:gd name="T10" fmla="*/ 0 w 694"/>
                    <a:gd name="T11" fmla="*/ 0 h 1514"/>
                    <a:gd name="T12" fmla="*/ 0 w 694"/>
                    <a:gd name="T13" fmla="*/ 0 h 1514"/>
                    <a:gd name="T14" fmla="*/ 0 w 694"/>
                    <a:gd name="T15" fmla="*/ 0 h 1514"/>
                    <a:gd name="T16" fmla="*/ 0 w 694"/>
                    <a:gd name="T17" fmla="*/ 0 h 1514"/>
                    <a:gd name="T18" fmla="*/ 0 w 694"/>
                    <a:gd name="T19" fmla="*/ 0 h 1514"/>
                    <a:gd name="T20" fmla="*/ 0 w 694"/>
                    <a:gd name="T21" fmla="*/ 0 h 1514"/>
                    <a:gd name="T22" fmla="*/ 0 w 694"/>
                    <a:gd name="T23" fmla="*/ 0 h 1514"/>
                    <a:gd name="T24" fmla="*/ 0 w 694"/>
                    <a:gd name="T25" fmla="*/ 0 h 1514"/>
                    <a:gd name="T26" fmla="*/ 0 w 694"/>
                    <a:gd name="T27" fmla="*/ 0 h 1514"/>
                    <a:gd name="T28" fmla="*/ 0 w 694"/>
                    <a:gd name="T29" fmla="*/ 0 h 1514"/>
                    <a:gd name="T30" fmla="*/ 0 w 694"/>
                    <a:gd name="T31" fmla="*/ 0 h 1514"/>
                    <a:gd name="T32" fmla="*/ 0 w 694"/>
                    <a:gd name="T33" fmla="*/ 0 h 1514"/>
                    <a:gd name="T34" fmla="*/ 0 w 694"/>
                    <a:gd name="T35" fmla="*/ 0 h 1514"/>
                    <a:gd name="T36" fmla="*/ 0 w 694"/>
                    <a:gd name="T37" fmla="*/ 0 h 1514"/>
                    <a:gd name="T38" fmla="*/ 0 w 694"/>
                    <a:gd name="T39" fmla="*/ 0 h 1514"/>
                    <a:gd name="T40" fmla="*/ 0 w 694"/>
                    <a:gd name="T41" fmla="*/ 0 h 1514"/>
                    <a:gd name="T42" fmla="*/ 0 w 694"/>
                    <a:gd name="T43" fmla="*/ 0 h 1514"/>
                    <a:gd name="T44" fmla="*/ 0 w 694"/>
                    <a:gd name="T45" fmla="*/ 0 h 1514"/>
                    <a:gd name="T46" fmla="*/ 0 w 694"/>
                    <a:gd name="T47" fmla="*/ 0 h 1514"/>
                    <a:gd name="T48" fmla="*/ 0 w 694"/>
                    <a:gd name="T49" fmla="*/ 0 h 1514"/>
                    <a:gd name="T50" fmla="*/ 0 w 694"/>
                    <a:gd name="T51" fmla="*/ 0 h 1514"/>
                    <a:gd name="T52" fmla="*/ 0 w 694"/>
                    <a:gd name="T53" fmla="*/ 0 h 1514"/>
                    <a:gd name="T54" fmla="*/ 0 w 694"/>
                    <a:gd name="T55" fmla="*/ 0 h 1514"/>
                    <a:gd name="T56" fmla="*/ 0 w 694"/>
                    <a:gd name="T57" fmla="*/ 0 h 1514"/>
                    <a:gd name="T58" fmla="*/ 0 w 694"/>
                    <a:gd name="T59" fmla="*/ 0 h 1514"/>
                    <a:gd name="T60" fmla="*/ 0 w 694"/>
                    <a:gd name="T61" fmla="*/ 0 h 1514"/>
                    <a:gd name="T62" fmla="*/ 0 w 694"/>
                    <a:gd name="T63" fmla="*/ 0 h 1514"/>
                    <a:gd name="T64" fmla="*/ 0 w 694"/>
                    <a:gd name="T65" fmla="*/ 0 h 1514"/>
                    <a:gd name="T66" fmla="*/ 0 w 694"/>
                    <a:gd name="T67" fmla="*/ 0 h 1514"/>
                    <a:gd name="T68" fmla="*/ 0 w 694"/>
                    <a:gd name="T69" fmla="*/ 0 h 1514"/>
                    <a:gd name="T70" fmla="*/ 0 w 694"/>
                    <a:gd name="T71" fmla="*/ 0 h 1514"/>
                    <a:gd name="T72" fmla="*/ 0 w 694"/>
                    <a:gd name="T73" fmla="*/ 0 h 1514"/>
                    <a:gd name="T74" fmla="*/ 0 w 694"/>
                    <a:gd name="T75" fmla="*/ 0 h 1514"/>
                    <a:gd name="T76" fmla="*/ 0 w 694"/>
                    <a:gd name="T77" fmla="*/ 0 h 1514"/>
                    <a:gd name="T78" fmla="*/ 0 w 694"/>
                    <a:gd name="T79" fmla="*/ 0 h 1514"/>
                    <a:gd name="T80" fmla="*/ 0 w 694"/>
                    <a:gd name="T81" fmla="*/ 0 h 151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94"/>
                    <a:gd name="T124" fmla="*/ 0 h 1514"/>
                    <a:gd name="T125" fmla="*/ 694 w 694"/>
                    <a:gd name="T126" fmla="*/ 1514 h 151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94" h="1514">
                      <a:moveTo>
                        <a:pt x="39" y="0"/>
                      </a:moveTo>
                      <a:lnTo>
                        <a:pt x="93" y="79"/>
                      </a:lnTo>
                      <a:lnTo>
                        <a:pt x="147" y="151"/>
                      </a:lnTo>
                      <a:lnTo>
                        <a:pt x="204" y="217"/>
                      </a:lnTo>
                      <a:lnTo>
                        <a:pt x="259" y="278"/>
                      </a:lnTo>
                      <a:lnTo>
                        <a:pt x="315" y="333"/>
                      </a:lnTo>
                      <a:lnTo>
                        <a:pt x="369" y="383"/>
                      </a:lnTo>
                      <a:lnTo>
                        <a:pt x="422" y="427"/>
                      </a:lnTo>
                      <a:lnTo>
                        <a:pt x="472" y="466"/>
                      </a:lnTo>
                      <a:lnTo>
                        <a:pt x="518" y="499"/>
                      </a:lnTo>
                      <a:lnTo>
                        <a:pt x="560" y="528"/>
                      </a:lnTo>
                      <a:lnTo>
                        <a:pt x="599" y="552"/>
                      </a:lnTo>
                      <a:lnTo>
                        <a:pt x="631" y="571"/>
                      </a:lnTo>
                      <a:lnTo>
                        <a:pt x="657" y="585"/>
                      </a:lnTo>
                      <a:lnTo>
                        <a:pt x="677" y="596"/>
                      </a:lnTo>
                      <a:lnTo>
                        <a:pt x="689" y="602"/>
                      </a:lnTo>
                      <a:lnTo>
                        <a:pt x="694" y="604"/>
                      </a:lnTo>
                      <a:lnTo>
                        <a:pt x="693" y="605"/>
                      </a:lnTo>
                      <a:lnTo>
                        <a:pt x="693" y="612"/>
                      </a:lnTo>
                      <a:lnTo>
                        <a:pt x="692" y="620"/>
                      </a:lnTo>
                      <a:lnTo>
                        <a:pt x="690" y="633"/>
                      </a:lnTo>
                      <a:lnTo>
                        <a:pt x="687" y="647"/>
                      </a:lnTo>
                      <a:lnTo>
                        <a:pt x="684" y="665"/>
                      </a:lnTo>
                      <a:lnTo>
                        <a:pt x="678" y="686"/>
                      </a:lnTo>
                      <a:lnTo>
                        <a:pt x="671" y="708"/>
                      </a:lnTo>
                      <a:lnTo>
                        <a:pt x="663" y="732"/>
                      </a:lnTo>
                      <a:lnTo>
                        <a:pt x="652" y="758"/>
                      </a:lnTo>
                      <a:lnTo>
                        <a:pt x="640" y="786"/>
                      </a:lnTo>
                      <a:lnTo>
                        <a:pt x="625" y="815"/>
                      </a:lnTo>
                      <a:lnTo>
                        <a:pt x="607" y="844"/>
                      </a:lnTo>
                      <a:lnTo>
                        <a:pt x="587" y="875"/>
                      </a:lnTo>
                      <a:lnTo>
                        <a:pt x="564" y="905"/>
                      </a:lnTo>
                      <a:lnTo>
                        <a:pt x="539" y="937"/>
                      </a:lnTo>
                      <a:lnTo>
                        <a:pt x="552" y="938"/>
                      </a:lnTo>
                      <a:lnTo>
                        <a:pt x="565" y="939"/>
                      </a:lnTo>
                      <a:lnTo>
                        <a:pt x="577" y="941"/>
                      </a:lnTo>
                      <a:lnTo>
                        <a:pt x="589" y="942"/>
                      </a:lnTo>
                      <a:lnTo>
                        <a:pt x="601" y="943"/>
                      </a:lnTo>
                      <a:lnTo>
                        <a:pt x="611" y="944"/>
                      </a:lnTo>
                      <a:lnTo>
                        <a:pt x="621" y="945"/>
                      </a:lnTo>
                      <a:lnTo>
                        <a:pt x="630" y="946"/>
                      </a:lnTo>
                      <a:lnTo>
                        <a:pt x="639" y="946"/>
                      </a:lnTo>
                      <a:lnTo>
                        <a:pt x="646" y="947"/>
                      </a:lnTo>
                      <a:lnTo>
                        <a:pt x="652" y="947"/>
                      </a:lnTo>
                      <a:lnTo>
                        <a:pt x="657" y="948"/>
                      </a:lnTo>
                      <a:lnTo>
                        <a:pt x="662" y="948"/>
                      </a:lnTo>
                      <a:lnTo>
                        <a:pt x="665" y="948"/>
                      </a:lnTo>
                      <a:lnTo>
                        <a:pt x="667" y="948"/>
                      </a:lnTo>
                      <a:lnTo>
                        <a:pt x="668" y="949"/>
                      </a:lnTo>
                      <a:lnTo>
                        <a:pt x="667" y="956"/>
                      </a:lnTo>
                      <a:lnTo>
                        <a:pt x="664" y="973"/>
                      </a:lnTo>
                      <a:lnTo>
                        <a:pt x="661" y="1001"/>
                      </a:lnTo>
                      <a:lnTo>
                        <a:pt x="655" y="1037"/>
                      </a:lnTo>
                      <a:lnTo>
                        <a:pt x="649" y="1080"/>
                      </a:lnTo>
                      <a:lnTo>
                        <a:pt x="643" y="1127"/>
                      </a:lnTo>
                      <a:lnTo>
                        <a:pt x="635" y="1179"/>
                      </a:lnTo>
                      <a:lnTo>
                        <a:pt x="629" y="1231"/>
                      </a:lnTo>
                      <a:lnTo>
                        <a:pt x="622" y="1284"/>
                      </a:lnTo>
                      <a:lnTo>
                        <a:pt x="614" y="1335"/>
                      </a:lnTo>
                      <a:lnTo>
                        <a:pt x="608" y="1382"/>
                      </a:lnTo>
                      <a:lnTo>
                        <a:pt x="602" y="1425"/>
                      </a:lnTo>
                      <a:lnTo>
                        <a:pt x="597" y="1462"/>
                      </a:lnTo>
                      <a:lnTo>
                        <a:pt x="594" y="1489"/>
                      </a:lnTo>
                      <a:lnTo>
                        <a:pt x="590" y="1507"/>
                      </a:lnTo>
                      <a:lnTo>
                        <a:pt x="590" y="1514"/>
                      </a:lnTo>
                      <a:lnTo>
                        <a:pt x="588" y="1506"/>
                      </a:lnTo>
                      <a:lnTo>
                        <a:pt x="584" y="1484"/>
                      </a:lnTo>
                      <a:lnTo>
                        <a:pt x="577" y="1447"/>
                      </a:lnTo>
                      <a:lnTo>
                        <a:pt x="566" y="1397"/>
                      </a:lnTo>
                      <a:lnTo>
                        <a:pt x="552" y="1335"/>
                      </a:lnTo>
                      <a:lnTo>
                        <a:pt x="532" y="1261"/>
                      </a:lnTo>
                      <a:lnTo>
                        <a:pt x="508" y="1176"/>
                      </a:lnTo>
                      <a:lnTo>
                        <a:pt x="477" y="1080"/>
                      </a:lnTo>
                      <a:lnTo>
                        <a:pt x="443" y="975"/>
                      </a:lnTo>
                      <a:lnTo>
                        <a:pt x="401" y="861"/>
                      </a:lnTo>
                      <a:lnTo>
                        <a:pt x="352" y="740"/>
                      </a:lnTo>
                      <a:lnTo>
                        <a:pt x="298" y="611"/>
                      </a:lnTo>
                      <a:lnTo>
                        <a:pt x="235" y="475"/>
                      </a:lnTo>
                      <a:lnTo>
                        <a:pt x="165" y="335"/>
                      </a:lnTo>
                      <a:lnTo>
                        <a:pt x="86" y="189"/>
                      </a:lnTo>
                      <a:lnTo>
                        <a:pt x="0" y="3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4" name="Freeform 395"/>
                <p:cNvSpPr>
                  <a:spLocks/>
                </p:cNvSpPr>
                <p:nvPr/>
              </p:nvSpPr>
              <p:spPr bwMode="auto">
                <a:xfrm>
                  <a:off x="4638" y="2693"/>
                  <a:ext cx="20" cy="92"/>
                </a:xfrm>
                <a:custGeom>
                  <a:avLst/>
                  <a:gdLst>
                    <a:gd name="T0" fmla="*/ 0 w 204"/>
                    <a:gd name="T1" fmla="*/ 0 h 924"/>
                    <a:gd name="T2" fmla="*/ 0 w 204"/>
                    <a:gd name="T3" fmla="*/ 0 h 924"/>
                    <a:gd name="T4" fmla="*/ 0 w 204"/>
                    <a:gd name="T5" fmla="*/ 0 h 924"/>
                    <a:gd name="T6" fmla="*/ 0 w 204"/>
                    <a:gd name="T7" fmla="*/ 0 h 924"/>
                    <a:gd name="T8" fmla="*/ 0 w 204"/>
                    <a:gd name="T9" fmla="*/ 0 h 924"/>
                    <a:gd name="T10" fmla="*/ 0 w 204"/>
                    <a:gd name="T11" fmla="*/ 0 h 924"/>
                    <a:gd name="T12" fmla="*/ 0 w 204"/>
                    <a:gd name="T13" fmla="*/ 0 h 924"/>
                    <a:gd name="T14" fmla="*/ 0 w 204"/>
                    <a:gd name="T15" fmla="*/ 0 h 924"/>
                    <a:gd name="T16" fmla="*/ 0 w 204"/>
                    <a:gd name="T17" fmla="*/ 0 h 924"/>
                    <a:gd name="T18" fmla="*/ 0 w 204"/>
                    <a:gd name="T19" fmla="*/ 0 h 924"/>
                    <a:gd name="T20" fmla="*/ 0 w 204"/>
                    <a:gd name="T21" fmla="*/ 0 h 924"/>
                    <a:gd name="T22" fmla="*/ 0 w 204"/>
                    <a:gd name="T23" fmla="*/ 0 h 924"/>
                    <a:gd name="T24" fmla="*/ 0 w 204"/>
                    <a:gd name="T25" fmla="*/ 0 h 924"/>
                    <a:gd name="T26" fmla="*/ 0 w 204"/>
                    <a:gd name="T27" fmla="*/ 0 h 924"/>
                    <a:gd name="T28" fmla="*/ 0 w 204"/>
                    <a:gd name="T29" fmla="*/ 0 h 924"/>
                    <a:gd name="T30" fmla="*/ 0 w 204"/>
                    <a:gd name="T31" fmla="*/ 0 h 924"/>
                    <a:gd name="T32" fmla="*/ 0 w 204"/>
                    <a:gd name="T33" fmla="*/ 0 h 924"/>
                    <a:gd name="T34" fmla="*/ 0 w 204"/>
                    <a:gd name="T35" fmla="*/ 0 h 924"/>
                    <a:gd name="T36" fmla="*/ 0 w 204"/>
                    <a:gd name="T37" fmla="*/ 0 h 924"/>
                    <a:gd name="T38" fmla="*/ 0 w 204"/>
                    <a:gd name="T39" fmla="*/ 0 h 924"/>
                    <a:gd name="T40" fmla="*/ 0 w 204"/>
                    <a:gd name="T41" fmla="*/ 0 h 924"/>
                    <a:gd name="T42" fmla="*/ 0 w 204"/>
                    <a:gd name="T43" fmla="*/ 0 h 924"/>
                    <a:gd name="T44" fmla="*/ 0 w 204"/>
                    <a:gd name="T45" fmla="*/ 0 h 924"/>
                    <a:gd name="T46" fmla="*/ 0 w 204"/>
                    <a:gd name="T47" fmla="*/ 0 h 924"/>
                    <a:gd name="T48" fmla="*/ 0 w 204"/>
                    <a:gd name="T49" fmla="*/ 0 h 924"/>
                    <a:gd name="T50" fmla="*/ 0 w 204"/>
                    <a:gd name="T51" fmla="*/ 0 h 924"/>
                    <a:gd name="T52" fmla="*/ 0 w 204"/>
                    <a:gd name="T53" fmla="*/ 0 h 924"/>
                    <a:gd name="T54" fmla="*/ 0 w 204"/>
                    <a:gd name="T55" fmla="*/ 0 h 924"/>
                    <a:gd name="T56" fmla="*/ 0 w 204"/>
                    <a:gd name="T57" fmla="*/ 0 h 924"/>
                    <a:gd name="T58" fmla="*/ 0 w 204"/>
                    <a:gd name="T59" fmla="*/ 0 h 924"/>
                    <a:gd name="T60" fmla="*/ 0 w 204"/>
                    <a:gd name="T61" fmla="*/ 0 h 924"/>
                    <a:gd name="T62" fmla="*/ 0 w 204"/>
                    <a:gd name="T63" fmla="*/ 0 h 924"/>
                    <a:gd name="T64" fmla="*/ 0 w 204"/>
                    <a:gd name="T65" fmla="*/ 0 h 924"/>
                    <a:gd name="T66" fmla="*/ 0 w 204"/>
                    <a:gd name="T67" fmla="*/ 0 h 924"/>
                    <a:gd name="T68" fmla="*/ 0 w 204"/>
                    <a:gd name="T69" fmla="*/ 0 h 924"/>
                    <a:gd name="T70" fmla="*/ 0 w 204"/>
                    <a:gd name="T71" fmla="*/ 0 h 924"/>
                    <a:gd name="T72" fmla="*/ 0 w 204"/>
                    <a:gd name="T73" fmla="*/ 0 h 924"/>
                    <a:gd name="T74" fmla="*/ 0 w 204"/>
                    <a:gd name="T75" fmla="*/ 0 h 924"/>
                    <a:gd name="T76" fmla="*/ 0 w 204"/>
                    <a:gd name="T77" fmla="*/ 0 h 924"/>
                    <a:gd name="T78" fmla="*/ 0 w 204"/>
                    <a:gd name="T79" fmla="*/ 0 h 924"/>
                    <a:gd name="T80" fmla="*/ 0 w 204"/>
                    <a:gd name="T81" fmla="*/ 0 h 9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4"/>
                    <a:gd name="T124" fmla="*/ 0 h 924"/>
                    <a:gd name="T125" fmla="*/ 204 w 204"/>
                    <a:gd name="T126" fmla="*/ 924 h 9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4" h="924">
                      <a:moveTo>
                        <a:pt x="204" y="0"/>
                      </a:moveTo>
                      <a:lnTo>
                        <a:pt x="188" y="13"/>
                      </a:lnTo>
                      <a:lnTo>
                        <a:pt x="172" y="23"/>
                      </a:lnTo>
                      <a:lnTo>
                        <a:pt x="156" y="32"/>
                      </a:lnTo>
                      <a:lnTo>
                        <a:pt x="139" y="39"/>
                      </a:lnTo>
                      <a:lnTo>
                        <a:pt x="122" y="43"/>
                      </a:lnTo>
                      <a:lnTo>
                        <a:pt x="105" y="46"/>
                      </a:lnTo>
                      <a:lnTo>
                        <a:pt x="88" y="47"/>
                      </a:lnTo>
                      <a:lnTo>
                        <a:pt x="73" y="48"/>
                      </a:lnTo>
                      <a:lnTo>
                        <a:pt x="58" y="47"/>
                      </a:lnTo>
                      <a:lnTo>
                        <a:pt x="44" y="46"/>
                      </a:lnTo>
                      <a:lnTo>
                        <a:pt x="32" y="45"/>
                      </a:lnTo>
                      <a:lnTo>
                        <a:pt x="21" y="43"/>
                      </a:lnTo>
                      <a:lnTo>
                        <a:pt x="12" y="41"/>
                      </a:lnTo>
                      <a:lnTo>
                        <a:pt x="6" y="40"/>
                      </a:lnTo>
                      <a:lnTo>
                        <a:pt x="1" y="39"/>
                      </a:lnTo>
                      <a:lnTo>
                        <a:pt x="0" y="39"/>
                      </a:lnTo>
                      <a:lnTo>
                        <a:pt x="0" y="40"/>
                      </a:lnTo>
                      <a:lnTo>
                        <a:pt x="3" y="44"/>
                      </a:lnTo>
                      <a:lnTo>
                        <a:pt x="6" y="50"/>
                      </a:lnTo>
                      <a:lnTo>
                        <a:pt x="10" y="60"/>
                      </a:lnTo>
                      <a:lnTo>
                        <a:pt x="14" y="70"/>
                      </a:lnTo>
                      <a:lnTo>
                        <a:pt x="19" y="83"/>
                      </a:lnTo>
                      <a:lnTo>
                        <a:pt x="26" y="98"/>
                      </a:lnTo>
                      <a:lnTo>
                        <a:pt x="32" y="113"/>
                      </a:lnTo>
                      <a:lnTo>
                        <a:pt x="38" y="130"/>
                      </a:lnTo>
                      <a:lnTo>
                        <a:pt x="45" y="147"/>
                      </a:lnTo>
                      <a:lnTo>
                        <a:pt x="52" y="165"/>
                      </a:lnTo>
                      <a:lnTo>
                        <a:pt x="58" y="184"/>
                      </a:lnTo>
                      <a:lnTo>
                        <a:pt x="63" y="201"/>
                      </a:lnTo>
                      <a:lnTo>
                        <a:pt x="69" y="220"/>
                      </a:lnTo>
                      <a:lnTo>
                        <a:pt x="74" y="238"/>
                      </a:lnTo>
                      <a:lnTo>
                        <a:pt x="78" y="256"/>
                      </a:lnTo>
                      <a:lnTo>
                        <a:pt x="80" y="272"/>
                      </a:lnTo>
                      <a:lnTo>
                        <a:pt x="81" y="286"/>
                      </a:lnTo>
                      <a:lnTo>
                        <a:pt x="82" y="301"/>
                      </a:lnTo>
                      <a:lnTo>
                        <a:pt x="82" y="315"/>
                      </a:lnTo>
                      <a:lnTo>
                        <a:pt x="81" y="327"/>
                      </a:lnTo>
                      <a:lnTo>
                        <a:pt x="80" y="339"/>
                      </a:lnTo>
                      <a:lnTo>
                        <a:pt x="79" y="349"/>
                      </a:lnTo>
                      <a:lnTo>
                        <a:pt x="77" y="359"/>
                      </a:lnTo>
                      <a:lnTo>
                        <a:pt x="75" y="367"/>
                      </a:lnTo>
                      <a:lnTo>
                        <a:pt x="73" y="375"/>
                      </a:lnTo>
                      <a:lnTo>
                        <a:pt x="71" y="382"/>
                      </a:lnTo>
                      <a:lnTo>
                        <a:pt x="69" y="387"/>
                      </a:lnTo>
                      <a:lnTo>
                        <a:pt x="67" y="391"/>
                      </a:lnTo>
                      <a:lnTo>
                        <a:pt x="66" y="394"/>
                      </a:lnTo>
                      <a:lnTo>
                        <a:pt x="65" y="396"/>
                      </a:lnTo>
                      <a:lnTo>
                        <a:pt x="65" y="397"/>
                      </a:lnTo>
                      <a:lnTo>
                        <a:pt x="65" y="403"/>
                      </a:lnTo>
                      <a:lnTo>
                        <a:pt x="66" y="419"/>
                      </a:lnTo>
                      <a:lnTo>
                        <a:pt x="69" y="446"/>
                      </a:lnTo>
                      <a:lnTo>
                        <a:pt x="71" y="479"/>
                      </a:lnTo>
                      <a:lnTo>
                        <a:pt x="73" y="519"/>
                      </a:lnTo>
                      <a:lnTo>
                        <a:pt x="76" y="563"/>
                      </a:lnTo>
                      <a:lnTo>
                        <a:pt x="79" y="611"/>
                      </a:lnTo>
                      <a:lnTo>
                        <a:pt x="83" y="661"/>
                      </a:lnTo>
                      <a:lnTo>
                        <a:pt x="86" y="709"/>
                      </a:lnTo>
                      <a:lnTo>
                        <a:pt x="89" y="757"/>
                      </a:lnTo>
                      <a:lnTo>
                        <a:pt x="93" y="801"/>
                      </a:lnTo>
                      <a:lnTo>
                        <a:pt x="95" y="841"/>
                      </a:lnTo>
                      <a:lnTo>
                        <a:pt x="97" y="874"/>
                      </a:lnTo>
                      <a:lnTo>
                        <a:pt x="99" y="901"/>
                      </a:lnTo>
                      <a:lnTo>
                        <a:pt x="100" y="917"/>
                      </a:lnTo>
                      <a:lnTo>
                        <a:pt x="101" y="924"/>
                      </a:lnTo>
                      <a:lnTo>
                        <a:pt x="101" y="914"/>
                      </a:lnTo>
                      <a:lnTo>
                        <a:pt x="103" y="889"/>
                      </a:lnTo>
                      <a:lnTo>
                        <a:pt x="105" y="850"/>
                      </a:lnTo>
                      <a:lnTo>
                        <a:pt x="108" y="799"/>
                      </a:lnTo>
                      <a:lnTo>
                        <a:pt x="113" y="739"/>
                      </a:lnTo>
                      <a:lnTo>
                        <a:pt x="117" y="672"/>
                      </a:lnTo>
                      <a:lnTo>
                        <a:pt x="121" y="600"/>
                      </a:lnTo>
                      <a:lnTo>
                        <a:pt x="126" y="526"/>
                      </a:lnTo>
                      <a:lnTo>
                        <a:pt x="131" y="452"/>
                      </a:lnTo>
                      <a:lnTo>
                        <a:pt x="136" y="380"/>
                      </a:lnTo>
                      <a:lnTo>
                        <a:pt x="140" y="313"/>
                      </a:lnTo>
                      <a:lnTo>
                        <a:pt x="144" y="253"/>
                      </a:lnTo>
                      <a:lnTo>
                        <a:pt x="147" y="201"/>
                      </a:lnTo>
                      <a:lnTo>
                        <a:pt x="149" y="163"/>
                      </a:lnTo>
                      <a:lnTo>
                        <a:pt x="151" y="137"/>
                      </a:lnTo>
                      <a:lnTo>
                        <a:pt x="152" y="129"/>
                      </a:lnTo>
                      <a:lnTo>
                        <a:pt x="20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5" name="Freeform 396"/>
                <p:cNvSpPr>
                  <a:spLocks/>
                </p:cNvSpPr>
                <p:nvPr/>
              </p:nvSpPr>
              <p:spPr bwMode="auto">
                <a:xfrm>
                  <a:off x="4508" y="2757"/>
                  <a:ext cx="58" cy="24"/>
                </a:xfrm>
                <a:custGeom>
                  <a:avLst/>
                  <a:gdLst>
                    <a:gd name="T0" fmla="*/ 0 w 577"/>
                    <a:gd name="T1" fmla="*/ 0 h 242"/>
                    <a:gd name="T2" fmla="*/ 0 w 577"/>
                    <a:gd name="T3" fmla="*/ 0 h 242"/>
                    <a:gd name="T4" fmla="*/ 0 w 577"/>
                    <a:gd name="T5" fmla="*/ 0 h 242"/>
                    <a:gd name="T6" fmla="*/ 0 w 577"/>
                    <a:gd name="T7" fmla="*/ 0 h 242"/>
                    <a:gd name="T8" fmla="*/ 0 w 577"/>
                    <a:gd name="T9" fmla="*/ 0 h 2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77"/>
                    <a:gd name="T16" fmla="*/ 0 h 242"/>
                    <a:gd name="T17" fmla="*/ 577 w 577"/>
                    <a:gd name="T18" fmla="*/ 242 h 2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77" h="242">
                      <a:moveTo>
                        <a:pt x="13" y="0"/>
                      </a:moveTo>
                      <a:lnTo>
                        <a:pt x="577" y="129"/>
                      </a:lnTo>
                      <a:lnTo>
                        <a:pt x="564" y="242"/>
                      </a:lnTo>
                      <a:lnTo>
                        <a:pt x="0" y="103"/>
                      </a:lnTo>
                      <a:lnTo>
                        <a:pt x="1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6" name="Freeform 397"/>
                <p:cNvSpPr>
                  <a:spLocks/>
                </p:cNvSpPr>
                <p:nvPr/>
              </p:nvSpPr>
              <p:spPr bwMode="auto">
                <a:xfrm>
                  <a:off x="4410" y="2691"/>
                  <a:ext cx="64" cy="60"/>
                </a:xfrm>
                <a:custGeom>
                  <a:avLst/>
                  <a:gdLst>
                    <a:gd name="T0" fmla="*/ 0 w 643"/>
                    <a:gd name="T1" fmla="*/ 0 h 597"/>
                    <a:gd name="T2" fmla="*/ 0 w 643"/>
                    <a:gd name="T3" fmla="*/ 0 h 597"/>
                    <a:gd name="T4" fmla="*/ 0 w 643"/>
                    <a:gd name="T5" fmla="*/ 0 h 597"/>
                    <a:gd name="T6" fmla="*/ 0 w 643"/>
                    <a:gd name="T7" fmla="*/ 0 h 597"/>
                    <a:gd name="T8" fmla="*/ 0 w 643"/>
                    <a:gd name="T9" fmla="*/ 0 h 597"/>
                    <a:gd name="T10" fmla="*/ 0 w 643"/>
                    <a:gd name="T11" fmla="*/ 0 h 597"/>
                    <a:gd name="T12" fmla="*/ 0 w 643"/>
                    <a:gd name="T13" fmla="*/ 0 h 597"/>
                    <a:gd name="T14" fmla="*/ 0 w 643"/>
                    <a:gd name="T15" fmla="*/ 0 h 597"/>
                    <a:gd name="T16" fmla="*/ 0 w 643"/>
                    <a:gd name="T17" fmla="*/ 0 h 597"/>
                    <a:gd name="T18" fmla="*/ 0 w 643"/>
                    <a:gd name="T19" fmla="*/ 0 h 597"/>
                    <a:gd name="T20" fmla="*/ 0 w 643"/>
                    <a:gd name="T21" fmla="*/ 0 h 597"/>
                    <a:gd name="T22" fmla="*/ 0 w 643"/>
                    <a:gd name="T23" fmla="*/ 0 h 597"/>
                    <a:gd name="T24" fmla="*/ 0 w 643"/>
                    <a:gd name="T25" fmla="*/ 0 h 597"/>
                    <a:gd name="T26" fmla="*/ 0 w 643"/>
                    <a:gd name="T27" fmla="*/ 0 h 597"/>
                    <a:gd name="T28" fmla="*/ 0 w 643"/>
                    <a:gd name="T29" fmla="*/ 0 h 597"/>
                    <a:gd name="T30" fmla="*/ 0 w 643"/>
                    <a:gd name="T31" fmla="*/ 0 h 597"/>
                    <a:gd name="T32" fmla="*/ 0 w 643"/>
                    <a:gd name="T33" fmla="*/ 0 h 597"/>
                    <a:gd name="T34" fmla="*/ 0 w 643"/>
                    <a:gd name="T35" fmla="*/ 0 h 597"/>
                    <a:gd name="T36" fmla="*/ 0 w 643"/>
                    <a:gd name="T37" fmla="*/ 0 h 597"/>
                    <a:gd name="T38" fmla="*/ 0 w 643"/>
                    <a:gd name="T39" fmla="*/ 0 h 597"/>
                    <a:gd name="T40" fmla="*/ 0 w 643"/>
                    <a:gd name="T41" fmla="*/ 0 h 597"/>
                    <a:gd name="T42" fmla="*/ 0 w 643"/>
                    <a:gd name="T43" fmla="*/ 0 h 597"/>
                    <a:gd name="T44" fmla="*/ 0 w 643"/>
                    <a:gd name="T45" fmla="*/ 0 h 597"/>
                    <a:gd name="T46" fmla="*/ 0 w 643"/>
                    <a:gd name="T47" fmla="*/ 0 h 597"/>
                    <a:gd name="T48" fmla="*/ 0 w 643"/>
                    <a:gd name="T49" fmla="*/ 0 h 597"/>
                    <a:gd name="T50" fmla="*/ 0 w 643"/>
                    <a:gd name="T51" fmla="*/ 0 h 597"/>
                    <a:gd name="T52" fmla="*/ 0 w 643"/>
                    <a:gd name="T53" fmla="*/ 0 h 597"/>
                    <a:gd name="T54" fmla="*/ 0 w 643"/>
                    <a:gd name="T55" fmla="*/ 0 h 597"/>
                    <a:gd name="T56" fmla="*/ 0 w 643"/>
                    <a:gd name="T57" fmla="*/ 0 h 597"/>
                    <a:gd name="T58" fmla="*/ 0 w 643"/>
                    <a:gd name="T59" fmla="*/ 0 h 597"/>
                    <a:gd name="T60" fmla="*/ 0 w 643"/>
                    <a:gd name="T61" fmla="*/ 0 h 597"/>
                    <a:gd name="T62" fmla="*/ 0 w 643"/>
                    <a:gd name="T63" fmla="*/ 0 h 597"/>
                    <a:gd name="T64" fmla="*/ 0 w 643"/>
                    <a:gd name="T65" fmla="*/ 0 h 59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43"/>
                    <a:gd name="T100" fmla="*/ 0 h 597"/>
                    <a:gd name="T101" fmla="*/ 643 w 643"/>
                    <a:gd name="T102" fmla="*/ 597 h 597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43" h="597">
                      <a:moveTo>
                        <a:pt x="143" y="19"/>
                      </a:moveTo>
                      <a:lnTo>
                        <a:pt x="190" y="5"/>
                      </a:lnTo>
                      <a:lnTo>
                        <a:pt x="238" y="0"/>
                      </a:lnTo>
                      <a:lnTo>
                        <a:pt x="284" y="1"/>
                      </a:lnTo>
                      <a:lnTo>
                        <a:pt x="329" y="9"/>
                      </a:lnTo>
                      <a:lnTo>
                        <a:pt x="372" y="20"/>
                      </a:lnTo>
                      <a:lnTo>
                        <a:pt x="414" y="36"/>
                      </a:lnTo>
                      <a:lnTo>
                        <a:pt x="453" y="55"/>
                      </a:lnTo>
                      <a:lnTo>
                        <a:pt x="489" y="75"/>
                      </a:lnTo>
                      <a:lnTo>
                        <a:pt x="522" y="97"/>
                      </a:lnTo>
                      <a:lnTo>
                        <a:pt x="552" y="118"/>
                      </a:lnTo>
                      <a:lnTo>
                        <a:pt x="578" y="139"/>
                      </a:lnTo>
                      <a:lnTo>
                        <a:pt x="601" y="159"/>
                      </a:lnTo>
                      <a:lnTo>
                        <a:pt x="619" y="174"/>
                      </a:lnTo>
                      <a:lnTo>
                        <a:pt x="631" y="188"/>
                      </a:lnTo>
                      <a:lnTo>
                        <a:pt x="640" y="196"/>
                      </a:lnTo>
                      <a:lnTo>
                        <a:pt x="643" y="199"/>
                      </a:lnTo>
                      <a:lnTo>
                        <a:pt x="641" y="203"/>
                      </a:lnTo>
                      <a:lnTo>
                        <a:pt x="634" y="215"/>
                      </a:lnTo>
                      <a:lnTo>
                        <a:pt x="626" y="233"/>
                      </a:lnTo>
                      <a:lnTo>
                        <a:pt x="614" y="257"/>
                      </a:lnTo>
                      <a:lnTo>
                        <a:pt x="601" y="285"/>
                      </a:lnTo>
                      <a:lnTo>
                        <a:pt x="586" y="317"/>
                      </a:lnTo>
                      <a:lnTo>
                        <a:pt x="569" y="350"/>
                      </a:lnTo>
                      <a:lnTo>
                        <a:pt x="554" y="385"/>
                      </a:lnTo>
                      <a:lnTo>
                        <a:pt x="537" y="420"/>
                      </a:lnTo>
                      <a:lnTo>
                        <a:pt x="520" y="453"/>
                      </a:lnTo>
                      <a:lnTo>
                        <a:pt x="505" y="485"/>
                      </a:lnTo>
                      <a:lnTo>
                        <a:pt x="492" y="513"/>
                      </a:lnTo>
                      <a:lnTo>
                        <a:pt x="480" y="537"/>
                      </a:lnTo>
                      <a:lnTo>
                        <a:pt x="472" y="555"/>
                      </a:lnTo>
                      <a:lnTo>
                        <a:pt x="466" y="567"/>
                      </a:lnTo>
                      <a:lnTo>
                        <a:pt x="465" y="572"/>
                      </a:lnTo>
                      <a:lnTo>
                        <a:pt x="462" y="570"/>
                      </a:lnTo>
                      <a:lnTo>
                        <a:pt x="456" y="566"/>
                      </a:lnTo>
                      <a:lnTo>
                        <a:pt x="446" y="562"/>
                      </a:lnTo>
                      <a:lnTo>
                        <a:pt x="433" y="557"/>
                      </a:lnTo>
                      <a:lnTo>
                        <a:pt x="416" y="551"/>
                      </a:lnTo>
                      <a:lnTo>
                        <a:pt x="397" y="545"/>
                      </a:lnTo>
                      <a:lnTo>
                        <a:pt x="375" y="540"/>
                      </a:lnTo>
                      <a:lnTo>
                        <a:pt x="351" y="535"/>
                      </a:lnTo>
                      <a:lnTo>
                        <a:pt x="325" y="533"/>
                      </a:lnTo>
                      <a:lnTo>
                        <a:pt x="297" y="532"/>
                      </a:lnTo>
                      <a:lnTo>
                        <a:pt x="268" y="533"/>
                      </a:lnTo>
                      <a:lnTo>
                        <a:pt x="236" y="538"/>
                      </a:lnTo>
                      <a:lnTo>
                        <a:pt x="204" y="546"/>
                      </a:lnTo>
                      <a:lnTo>
                        <a:pt x="171" y="558"/>
                      </a:lnTo>
                      <a:lnTo>
                        <a:pt x="138" y="575"/>
                      </a:lnTo>
                      <a:lnTo>
                        <a:pt x="104" y="597"/>
                      </a:lnTo>
                      <a:lnTo>
                        <a:pt x="93" y="584"/>
                      </a:lnTo>
                      <a:lnTo>
                        <a:pt x="85" y="573"/>
                      </a:lnTo>
                      <a:lnTo>
                        <a:pt x="79" y="561"/>
                      </a:lnTo>
                      <a:lnTo>
                        <a:pt x="75" y="550"/>
                      </a:lnTo>
                      <a:lnTo>
                        <a:pt x="72" y="538"/>
                      </a:lnTo>
                      <a:lnTo>
                        <a:pt x="69" y="525"/>
                      </a:lnTo>
                      <a:lnTo>
                        <a:pt x="67" y="513"/>
                      </a:lnTo>
                      <a:lnTo>
                        <a:pt x="66" y="500"/>
                      </a:lnTo>
                      <a:lnTo>
                        <a:pt x="64" y="487"/>
                      </a:lnTo>
                      <a:lnTo>
                        <a:pt x="61" y="472"/>
                      </a:lnTo>
                      <a:lnTo>
                        <a:pt x="57" y="457"/>
                      </a:lnTo>
                      <a:lnTo>
                        <a:pt x="51" y="441"/>
                      </a:lnTo>
                      <a:lnTo>
                        <a:pt x="42" y="424"/>
                      </a:lnTo>
                      <a:lnTo>
                        <a:pt x="32" y="405"/>
                      </a:lnTo>
                      <a:lnTo>
                        <a:pt x="17" y="386"/>
                      </a:lnTo>
                      <a:lnTo>
                        <a:pt x="0" y="365"/>
                      </a:lnTo>
                      <a:lnTo>
                        <a:pt x="143" y="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7" name="Freeform 398"/>
                <p:cNvSpPr>
                  <a:spLocks/>
                </p:cNvSpPr>
                <p:nvPr/>
              </p:nvSpPr>
              <p:spPr bwMode="auto">
                <a:xfrm>
                  <a:off x="4741" y="2747"/>
                  <a:ext cx="61" cy="40"/>
                </a:xfrm>
                <a:custGeom>
                  <a:avLst/>
                  <a:gdLst>
                    <a:gd name="T0" fmla="*/ 0 w 604"/>
                    <a:gd name="T1" fmla="*/ 0 h 405"/>
                    <a:gd name="T2" fmla="*/ 0 w 604"/>
                    <a:gd name="T3" fmla="*/ 0 h 405"/>
                    <a:gd name="T4" fmla="*/ 0 w 604"/>
                    <a:gd name="T5" fmla="*/ 0 h 405"/>
                    <a:gd name="T6" fmla="*/ 0 w 604"/>
                    <a:gd name="T7" fmla="*/ 0 h 405"/>
                    <a:gd name="T8" fmla="*/ 0 w 604"/>
                    <a:gd name="T9" fmla="*/ 0 h 405"/>
                    <a:gd name="T10" fmla="*/ 0 w 604"/>
                    <a:gd name="T11" fmla="*/ 0 h 405"/>
                    <a:gd name="T12" fmla="*/ 0 w 604"/>
                    <a:gd name="T13" fmla="*/ 0 h 405"/>
                    <a:gd name="T14" fmla="*/ 0 w 604"/>
                    <a:gd name="T15" fmla="*/ 0 h 405"/>
                    <a:gd name="T16" fmla="*/ 0 w 604"/>
                    <a:gd name="T17" fmla="*/ 0 h 405"/>
                    <a:gd name="T18" fmla="*/ 0 w 604"/>
                    <a:gd name="T19" fmla="*/ 0 h 405"/>
                    <a:gd name="T20" fmla="*/ 0 w 604"/>
                    <a:gd name="T21" fmla="*/ 0 h 405"/>
                    <a:gd name="T22" fmla="*/ 0 w 604"/>
                    <a:gd name="T23" fmla="*/ 0 h 405"/>
                    <a:gd name="T24" fmla="*/ 0 w 604"/>
                    <a:gd name="T25" fmla="*/ 0 h 405"/>
                    <a:gd name="T26" fmla="*/ 0 w 604"/>
                    <a:gd name="T27" fmla="*/ 0 h 405"/>
                    <a:gd name="T28" fmla="*/ 0 w 604"/>
                    <a:gd name="T29" fmla="*/ 0 h 405"/>
                    <a:gd name="T30" fmla="*/ 0 w 604"/>
                    <a:gd name="T31" fmla="*/ 0 h 405"/>
                    <a:gd name="T32" fmla="*/ 0 w 604"/>
                    <a:gd name="T33" fmla="*/ 0 h 405"/>
                    <a:gd name="T34" fmla="*/ 0 w 604"/>
                    <a:gd name="T35" fmla="*/ 0 h 405"/>
                    <a:gd name="T36" fmla="*/ 0 w 604"/>
                    <a:gd name="T37" fmla="*/ 0 h 405"/>
                    <a:gd name="T38" fmla="*/ 0 w 604"/>
                    <a:gd name="T39" fmla="*/ 0 h 405"/>
                    <a:gd name="T40" fmla="*/ 0 w 604"/>
                    <a:gd name="T41" fmla="*/ 0 h 405"/>
                    <a:gd name="T42" fmla="*/ 0 w 604"/>
                    <a:gd name="T43" fmla="*/ 0 h 405"/>
                    <a:gd name="T44" fmla="*/ 0 w 604"/>
                    <a:gd name="T45" fmla="*/ 0 h 405"/>
                    <a:gd name="T46" fmla="*/ 0 w 604"/>
                    <a:gd name="T47" fmla="*/ 0 h 405"/>
                    <a:gd name="T48" fmla="*/ 0 w 604"/>
                    <a:gd name="T49" fmla="*/ 0 h 405"/>
                    <a:gd name="T50" fmla="*/ 0 w 604"/>
                    <a:gd name="T51" fmla="*/ 0 h 405"/>
                    <a:gd name="T52" fmla="*/ 0 w 604"/>
                    <a:gd name="T53" fmla="*/ 0 h 405"/>
                    <a:gd name="T54" fmla="*/ 0 w 604"/>
                    <a:gd name="T55" fmla="*/ 0 h 405"/>
                    <a:gd name="T56" fmla="*/ 0 w 604"/>
                    <a:gd name="T57" fmla="*/ 0 h 405"/>
                    <a:gd name="T58" fmla="*/ 0 w 604"/>
                    <a:gd name="T59" fmla="*/ 0 h 405"/>
                    <a:gd name="T60" fmla="*/ 0 w 604"/>
                    <a:gd name="T61" fmla="*/ 0 h 405"/>
                    <a:gd name="T62" fmla="*/ 0 w 604"/>
                    <a:gd name="T63" fmla="*/ 0 h 405"/>
                    <a:gd name="T64" fmla="*/ 0 w 604"/>
                    <a:gd name="T65" fmla="*/ 0 h 405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604"/>
                    <a:gd name="T100" fmla="*/ 0 h 405"/>
                    <a:gd name="T101" fmla="*/ 604 w 604"/>
                    <a:gd name="T102" fmla="*/ 405 h 405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604" h="405">
                      <a:moveTo>
                        <a:pt x="39" y="0"/>
                      </a:moveTo>
                      <a:lnTo>
                        <a:pt x="42" y="2"/>
                      </a:lnTo>
                      <a:lnTo>
                        <a:pt x="51" y="8"/>
                      </a:lnTo>
                      <a:lnTo>
                        <a:pt x="67" y="20"/>
                      </a:lnTo>
                      <a:lnTo>
                        <a:pt x="88" y="34"/>
                      </a:lnTo>
                      <a:lnTo>
                        <a:pt x="113" y="50"/>
                      </a:lnTo>
                      <a:lnTo>
                        <a:pt x="141" y="69"/>
                      </a:lnTo>
                      <a:lnTo>
                        <a:pt x="173" y="90"/>
                      </a:lnTo>
                      <a:lnTo>
                        <a:pt x="206" y="112"/>
                      </a:lnTo>
                      <a:lnTo>
                        <a:pt x="242" y="134"/>
                      </a:lnTo>
                      <a:lnTo>
                        <a:pt x="279" y="156"/>
                      </a:lnTo>
                      <a:lnTo>
                        <a:pt x="314" y="178"/>
                      </a:lnTo>
                      <a:lnTo>
                        <a:pt x="350" y="198"/>
                      </a:lnTo>
                      <a:lnTo>
                        <a:pt x="385" y="217"/>
                      </a:lnTo>
                      <a:lnTo>
                        <a:pt x="417" y="234"/>
                      </a:lnTo>
                      <a:lnTo>
                        <a:pt x="447" y="247"/>
                      </a:lnTo>
                      <a:lnTo>
                        <a:pt x="475" y="258"/>
                      </a:lnTo>
                      <a:lnTo>
                        <a:pt x="497" y="263"/>
                      </a:lnTo>
                      <a:lnTo>
                        <a:pt x="515" y="264"/>
                      </a:lnTo>
                      <a:lnTo>
                        <a:pt x="528" y="262"/>
                      </a:lnTo>
                      <a:lnTo>
                        <a:pt x="539" y="257"/>
                      </a:lnTo>
                      <a:lnTo>
                        <a:pt x="547" y="250"/>
                      </a:lnTo>
                      <a:lnTo>
                        <a:pt x="552" y="239"/>
                      </a:lnTo>
                      <a:lnTo>
                        <a:pt x="555" y="228"/>
                      </a:lnTo>
                      <a:lnTo>
                        <a:pt x="557" y="216"/>
                      </a:lnTo>
                      <a:lnTo>
                        <a:pt x="559" y="202"/>
                      </a:lnTo>
                      <a:lnTo>
                        <a:pt x="559" y="190"/>
                      </a:lnTo>
                      <a:lnTo>
                        <a:pt x="559" y="177"/>
                      </a:lnTo>
                      <a:lnTo>
                        <a:pt x="560" y="166"/>
                      </a:lnTo>
                      <a:lnTo>
                        <a:pt x="562" y="156"/>
                      </a:lnTo>
                      <a:lnTo>
                        <a:pt x="565" y="149"/>
                      </a:lnTo>
                      <a:lnTo>
                        <a:pt x="570" y="144"/>
                      </a:lnTo>
                      <a:lnTo>
                        <a:pt x="577" y="143"/>
                      </a:lnTo>
                      <a:lnTo>
                        <a:pt x="586" y="146"/>
                      </a:lnTo>
                      <a:lnTo>
                        <a:pt x="592" y="154"/>
                      </a:lnTo>
                      <a:lnTo>
                        <a:pt x="597" y="167"/>
                      </a:lnTo>
                      <a:lnTo>
                        <a:pt x="600" y="182"/>
                      </a:lnTo>
                      <a:lnTo>
                        <a:pt x="603" y="202"/>
                      </a:lnTo>
                      <a:lnTo>
                        <a:pt x="604" y="223"/>
                      </a:lnTo>
                      <a:lnTo>
                        <a:pt x="604" y="246"/>
                      </a:lnTo>
                      <a:lnTo>
                        <a:pt x="603" y="270"/>
                      </a:lnTo>
                      <a:lnTo>
                        <a:pt x="600" y="294"/>
                      </a:lnTo>
                      <a:lnTo>
                        <a:pt x="599" y="317"/>
                      </a:lnTo>
                      <a:lnTo>
                        <a:pt x="597" y="339"/>
                      </a:lnTo>
                      <a:lnTo>
                        <a:pt x="595" y="358"/>
                      </a:lnTo>
                      <a:lnTo>
                        <a:pt x="593" y="373"/>
                      </a:lnTo>
                      <a:lnTo>
                        <a:pt x="591" y="386"/>
                      </a:lnTo>
                      <a:lnTo>
                        <a:pt x="590" y="394"/>
                      </a:lnTo>
                      <a:lnTo>
                        <a:pt x="590" y="397"/>
                      </a:lnTo>
                      <a:lnTo>
                        <a:pt x="587" y="397"/>
                      </a:lnTo>
                      <a:lnTo>
                        <a:pt x="578" y="399"/>
                      </a:lnTo>
                      <a:lnTo>
                        <a:pt x="565" y="402"/>
                      </a:lnTo>
                      <a:lnTo>
                        <a:pt x="546" y="404"/>
                      </a:lnTo>
                      <a:lnTo>
                        <a:pt x="522" y="405"/>
                      </a:lnTo>
                      <a:lnTo>
                        <a:pt x="494" y="404"/>
                      </a:lnTo>
                      <a:lnTo>
                        <a:pt x="461" y="399"/>
                      </a:lnTo>
                      <a:lnTo>
                        <a:pt x="423" y="392"/>
                      </a:lnTo>
                      <a:lnTo>
                        <a:pt x="382" y="382"/>
                      </a:lnTo>
                      <a:lnTo>
                        <a:pt x="337" y="366"/>
                      </a:lnTo>
                      <a:lnTo>
                        <a:pt x="289" y="344"/>
                      </a:lnTo>
                      <a:lnTo>
                        <a:pt x="237" y="317"/>
                      </a:lnTo>
                      <a:lnTo>
                        <a:pt x="182" y="282"/>
                      </a:lnTo>
                      <a:lnTo>
                        <a:pt x="124" y="239"/>
                      </a:lnTo>
                      <a:lnTo>
                        <a:pt x="63" y="189"/>
                      </a:lnTo>
                      <a:lnTo>
                        <a:pt x="0" y="129"/>
                      </a:lnTo>
                      <a:lnTo>
                        <a:pt x="3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8" name="Freeform 399"/>
                <p:cNvSpPr>
                  <a:spLocks/>
                </p:cNvSpPr>
                <p:nvPr/>
              </p:nvSpPr>
              <p:spPr bwMode="auto">
                <a:xfrm>
                  <a:off x="4725" y="2823"/>
                  <a:ext cx="65" cy="48"/>
                </a:xfrm>
                <a:custGeom>
                  <a:avLst/>
                  <a:gdLst>
                    <a:gd name="T0" fmla="*/ 0 w 655"/>
                    <a:gd name="T1" fmla="*/ 0 h 488"/>
                    <a:gd name="T2" fmla="*/ 0 w 655"/>
                    <a:gd name="T3" fmla="*/ 0 h 488"/>
                    <a:gd name="T4" fmla="*/ 0 w 655"/>
                    <a:gd name="T5" fmla="*/ 0 h 488"/>
                    <a:gd name="T6" fmla="*/ 0 w 655"/>
                    <a:gd name="T7" fmla="*/ 0 h 488"/>
                    <a:gd name="T8" fmla="*/ 0 w 655"/>
                    <a:gd name="T9" fmla="*/ 0 h 488"/>
                    <a:gd name="T10" fmla="*/ 0 w 655"/>
                    <a:gd name="T11" fmla="*/ 0 h 488"/>
                    <a:gd name="T12" fmla="*/ 0 w 655"/>
                    <a:gd name="T13" fmla="*/ 0 h 488"/>
                    <a:gd name="T14" fmla="*/ 0 w 655"/>
                    <a:gd name="T15" fmla="*/ 0 h 488"/>
                    <a:gd name="T16" fmla="*/ 0 w 655"/>
                    <a:gd name="T17" fmla="*/ 0 h 488"/>
                    <a:gd name="T18" fmla="*/ 0 w 655"/>
                    <a:gd name="T19" fmla="*/ 0 h 488"/>
                    <a:gd name="T20" fmla="*/ 0 w 655"/>
                    <a:gd name="T21" fmla="*/ 0 h 488"/>
                    <a:gd name="T22" fmla="*/ 0 w 655"/>
                    <a:gd name="T23" fmla="*/ 0 h 488"/>
                    <a:gd name="T24" fmla="*/ 0 w 655"/>
                    <a:gd name="T25" fmla="*/ 0 h 488"/>
                    <a:gd name="T26" fmla="*/ 0 w 655"/>
                    <a:gd name="T27" fmla="*/ 0 h 488"/>
                    <a:gd name="T28" fmla="*/ 0 w 655"/>
                    <a:gd name="T29" fmla="*/ 0 h 488"/>
                    <a:gd name="T30" fmla="*/ 0 w 655"/>
                    <a:gd name="T31" fmla="*/ 0 h 488"/>
                    <a:gd name="T32" fmla="*/ 0 w 655"/>
                    <a:gd name="T33" fmla="*/ 0 h 488"/>
                    <a:gd name="T34" fmla="*/ 0 w 655"/>
                    <a:gd name="T35" fmla="*/ 0 h 488"/>
                    <a:gd name="T36" fmla="*/ 0 w 655"/>
                    <a:gd name="T37" fmla="*/ 0 h 488"/>
                    <a:gd name="T38" fmla="*/ 0 w 655"/>
                    <a:gd name="T39" fmla="*/ 0 h 488"/>
                    <a:gd name="T40" fmla="*/ 0 w 655"/>
                    <a:gd name="T41" fmla="*/ 0 h 488"/>
                    <a:gd name="T42" fmla="*/ 0 w 655"/>
                    <a:gd name="T43" fmla="*/ 0 h 488"/>
                    <a:gd name="T44" fmla="*/ 0 w 655"/>
                    <a:gd name="T45" fmla="*/ 0 h 488"/>
                    <a:gd name="T46" fmla="*/ 0 w 655"/>
                    <a:gd name="T47" fmla="*/ 0 h 488"/>
                    <a:gd name="T48" fmla="*/ 0 w 655"/>
                    <a:gd name="T49" fmla="*/ 0 h 488"/>
                    <a:gd name="T50" fmla="*/ 0 w 655"/>
                    <a:gd name="T51" fmla="*/ 0 h 488"/>
                    <a:gd name="T52" fmla="*/ 0 w 655"/>
                    <a:gd name="T53" fmla="*/ 0 h 488"/>
                    <a:gd name="T54" fmla="*/ 0 w 655"/>
                    <a:gd name="T55" fmla="*/ 0 h 488"/>
                    <a:gd name="T56" fmla="*/ 0 w 655"/>
                    <a:gd name="T57" fmla="*/ 0 h 488"/>
                    <a:gd name="T58" fmla="*/ 0 w 655"/>
                    <a:gd name="T59" fmla="*/ 0 h 488"/>
                    <a:gd name="T60" fmla="*/ 0 w 655"/>
                    <a:gd name="T61" fmla="*/ 0 h 488"/>
                    <a:gd name="T62" fmla="*/ 0 w 655"/>
                    <a:gd name="T63" fmla="*/ 0 h 488"/>
                    <a:gd name="T64" fmla="*/ 0 w 655"/>
                    <a:gd name="T65" fmla="*/ 0 h 488"/>
                    <a:gd name="T66" fmla="*/ 0 w 655"/>
                    <a:gd name="T67" fmla="*/ 0 h 488"/>
                    <a:gd name="T68" fmla="*/ 0 w 655"/>
                    <a:gd name="T69" fmla="*/ 0 h 488"/>
                    <a:gd name="T70" fmla="*/ 0 w 655"/>
                    <a:gd name="T71" fmla="*/ 0 h 488"/>
                    <a:gd name="T72" fmla="*/ 0 w 655"/>
                    <a:gd name="T73" fmla="*/ 0 h 488"/>
                    <a:gd name="T74" fmla="*/ 0 w 655"/>
                    <a:gd name="T75" fmla="*/ 0 h 488"/>
                    <a:gd name="T76" fmla="*/ 0 w 655"/>
                    <a:gd name="T77" fmla="*/ 0 h 488"/>
                    <a:gd name="T78" fmla="*/ 0 w 655"/>
                    <a:gd name="T79" fmla="*/ 0 h 488"/>
                    <a:gd name="T80" fmla="*/ 0 w 655"/>
                    <a:gd name="T81" fmla="*/ 0 h 488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655"/>
                    <a:gd name="T124" fmla="*/ 0 h 488"/>
                    <a:gd name="T125" fmla="*/ 655 w 655"/>
                    <a:gd name="T126" fmla="*/ 488 h 488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655" h="488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6" y="7"/>
                      </a:lnTo>
                      <a:lnTo>
                        <a:pt x="13" y="16"/>
                      </a:lnTo>
                      <a:lnTo>
                        <a:pt x="23" y="27"/>
                      </a:lnTo>
                      <a:lnTo>
                        <a:pt x="35" y="42"/>
                      </a:lnTo>
                      <a:lnTo>
                        <a:pt x="50" y="59"/>
                      </a:lnTo>
                      <a:lnTo>
                        <a:pt x="67" y="78"/>
                      </a:lnTo>
                      <a:lnTo>
                        <a:pt x="86" y="98"/>
                      </a:lnTo>
                      <a:lnTo>
                        <a:pt x="107" y="118"/>
                      </a:lnTo>
                      <a:lnTo>
                        <a:pt x="130" y="140"/>
                      </a:lnTo>
                      <a:lnTo>
                        <a:pt x="154" y="163"/>
                      </a:lnTo>
                      <a:lnTo>
                        <a:pt x="181" y="185"/>
                      </a:lnTo>
                      <a:lnTo>
                        <a:pt x="208" y="207"/>
                      </a:lnTo>
                      <a:lnTo>
                        <a:pt x="236" y="229"/>
                      </a:lnTo>
                      <a:lnTo>
                        <a:pt x="265" y="248"/>
                      </a:lnTo>
                      <a:lnTo>
                        <a:pt x="297" y="268"/>
                      </a:lnTo>
                      <a:lnTo>
                        <a:pt x="327" y="285"/>
                      </a:lnTo>
                      <a:lnTo>
                        <a:pt x="359" y="300"/>
                      </a:lnTo>
                      <a:lnTo>
                        <a:pt x="390" y="315"/>
                      </a:lnTo>
                      <a:lnTo>
                        <a:pt x="421" y="326"/>
                      </a:lnTo>
                      <a:lnTo>
                        <a:pt x="452" y="338"/>
                      </a:lnTo>
                      <a:lnTo>
                        <a:pt x="481" y="347"/>
                      </a:lnTo>
                      <a:lnTo>
                        <a:pt x="510" y="354"/>
                      </a:lnTo>
                      <a:lnTo>
                        <a:pt x="537" y="362"/>
                      </a:lnTo>
                      <a:lnTo>
                        <a:pt x="561" y="368"/>
                      </a:lnTo>
                      <a:lnTo>
                        <a:pt x="584" y="372"/>
                      </a:lnTo>
                      <a:lnTo>
                        <a:pt x="604" y="376"/>
                      </a:lnTo>
                      <a:lnTo>
                        <a:pt x="622" y="380"/>
                      </a:lnTo>
                      <a:lnTo>
                        <a:pt x="635" y="382"/>
                      </a:lnTo>
                      <a:lnTo>
                        <a:pt x="646" y="383"/>
                      </a:lnTo>
                      <a:lnTo>
                        <a:pt x="652" y="384"/>
                      </a:lnTo>
                      <a:lnTo>
                        <a:pt x="655" y="385"/>
                      </a:lnTo>
                      <a:lnTo>
                        <a:pt x="654" y="386"/>
                      </a:lnTo>
                      <a:lnTo>
                        <a:pt x="653" y="389"/>
                      </a:lnTo>
                      <a:lnTo>
                        <a:pt x="651" y="394"/>
                      </a:lnTo>
                      <a:lnTo>
                        <a:pt x="649" y="401"/>
                      </a:lnTo>
                      <a:lnTo>
                        <a:pt x="646" y="408"/>
                      </a:lnTo>
                      <a:lnTo>
                        <a:pt x="643" y="417"/>
                      </a:lnTo>
                      <a:lnTo>
                        <a:pt x="638" y="426"/>
                      </a:lnTo>
                      <a:lnTo>
                        <a:pt x="635" y="436"/>
                      </a:lnTo>
                      <a:lnTo>
                        <a:pt x="632" y="446"/>
                      </a:lnTo>
                      <a:lnTo>
                        <a:pt x="628" y="454"/>
                      </a:lnTo>
                      <a:lnTo>
                        <a:pt x="625" y="463"/>
                      </a:lnTo>
                      <a:lnTo>
                        <a:pt x="622" y="471"/>
                      </a:lnTo>
                      <a:lnTo>
                        <a:pt x="620" y="477"/>
                      </a:lnTo>
                      <a:lnTo>
                        <a:pt x="618" y="482"/>
                      </a:lnTo>
                      <a:lnTo>
                        <a:pt x="616" y="485"/>
                      </a:lnTo>
                      <a:lnTo>
                        <a:pt x="616" y="488"/>
                      </a:lnTo>
                      <a:lnTo>
                        <a:pt x="613" y="486"/>
                      </a:lnTo>
                      <a:lnTo>
                        <a:pt x="605" y="484"/>
                      </a:lnTo>
                      <a:lnTo>
                        <a:pt x="592" y="482"/>
                      </a:lnTo>
                      <a:lnTo>
                        <a:pt x="575" y="478"/>
                      </a:lnTo>
                      <a:lnTo>
                        <a:pt x="554" y="474"/>
                      </a:lnTo>
                      <a:lnTo>
                        <a:pt x="530" y="468"/>
                      </a:lnTo>
                      <a:lnTo>
                        <a:pt x="503" y="461"/>
                      </a:lnTo>
                      <a:lnTo>
                        <a:pt x="474" y="454"/>
                      </a:lnTo>
                      <a:lnTo>
                        <a:pt x="443" y="445"/>
                      </a:lnTo>
                      <a:lnTo>
                        <a:pt x="410" y="435"/>
                      </a:lnTo>
                      <a:lnTo>
                        <a:pt x="378" y="425"/>
                      </a:lnTo>
                      <a:lnTo>
                        <a:pt x="344" y="413"/>
                      </a:lnTo>
                      <a:lnTo>
                        <a:pt x="312" y="401"/>
                      </a:lnTo>
                      <a:lnTo>
                        <a:pt x="279" y="387"/>
                      </a:lnTo>
                      <a:lnTo>
                        <a:pt x="248" y="373"/>
                      </a:lnTo>
                      <a:lnTo>
                        <a:pt x="219" y="359"/>
                      </a:lnTo>
                      <a:lnTo>
                        <a:pt x="191" y="342"/>
                      </a:lnTo>
                      <a:lnTo>
                        <a:pt x="166" y="325"/>
                      </a:lnTo>
                      <a:lnTo>
                        <a:pt x="143" y="307"/>
                      </a:lnTo>
                      <a:lnTo>
                        <a:pt x="123" y="290"/>
                      </a:lnTo>
                      <a:lnTo>
                        <a:pt x="104" y="273"/>
                      </a:lnTo>
                      <a:lnTo>
                        <a:pt x="86" y="256"/>
                      </a:lnTo>
                      <a:lnTo>
                        <a:pt x="72" y="239"/>
                      </a:lnTo>
                      <a:lnTo>
                        <a:pt x="59" y="223"/>
                      </a:lnTo>
                      <a:lnTo>
                        <a:pt x="47" y="208"/>
                      </a:lnTo>
                      <a:lnTo>
                        <a:pt x="38" y="194"/>
                      </a:lnTo>
                      <a:lnTo>
                        <a:pt x="30" y="182"/>
                      </a:lnTo>
                      <a:lnTo>
                        <a:pt x="23" y="172"/>
                      </a:lnTo>
                      <a:lnTo>
                        <a:pt x="18" y="164"/>
                      </a:lnTo>
                      <a:lnTo>
                        <a:pt x="15" y="157"/>
                      </a:lnTo>
                      <a:lnTo>
                        <a:pt x="13" y="153"/>
                      </a:lnTo>
                      <a:lnTo>
                        <a:pt x="13" y="15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9" name="Freeform 400"/>
                <p:cNvSpPr>
                  <a:spLocks/>
                </p:cNvSpPr>
                <p:nvPr/>
              </p:nvSpPr>
              <p:spPr bwMode="auto">
                <a:xfrm>
                  <a:off x="4722" y="2790"/>
                  <a:ext cx="78" cy="57"/>
                </a:xfrm>
                <a:custGeom>
                  <a:avLst/>
                  <a:gdLst>
                    <a:gd name="T0" fmla="*/ 0 w 784"/>
                    <a:gd name="T1" fmla="*/ 0 h 564"/>
                    <a:gd name="T2" fmla="*/ 0 w 784"/>
                    <a:gd name="T3" fmla="*/ 0 h 564"/>
                    <a:gd name="T4" fmla="*/ 0 w 784"/>
                    <a:gd name="T5" fmla="*/ 0 h 564"/>
                    <a:gd name="T6" fmla="*/ 0 w 784"/>
                    <a:gd name="T7" fmla="*/ 0 h 564"/>
                    <a:gd name="T8" fmla="*/ 0 w 784"/>
                    <a:gd name="T9" fmla="*/ 0 h 564"/>
                    <a:gd name="T10" fmla="*/ 0 w 784"/>
                    <a:gd name="T11" fmla="*/ 0 h 564"/>
                    <a:gd name="T12" fmla="*/ 0 w 784"/>
                    <a:gd name="T13" fmla="*/ 0 h 564"/>
                    <a:gd name="T14" fmla="*/ 0 w 784"/>
                    <a:gd name="T15" fmla="*/ 0 h 564"/>
                    <a:gd name="T16" fmla="*/ 0 w 784"/>
                    <a:gd name="T17" fmla="*/ 0 h 564"/>
                    <a:gd name="T18" fmla="*/ 0 w 784"/>
                    <a:gd name="T19" fmla="*/ 0 h 564"/>
                    <a:gd name="T20" fmla="*/ 0 w 784"/>
                    <a:gd name="T21" fmla="*/ 0 h 564"/>
                    <a:gd name="T22" fmla="*/ 0 w 784"/>
                    <a:gd name="T23" fmla="*/ 0 h 564"/>
                    <a:gd name="T24" fmla="*/ 0 w 784"/>
                    <a:gd name="T25" fmla="*/ 0 h 564"/>
                    <a:gd name="T26" fmla="*/ 0 w 784"/>
                    <a:gd name="T27" fmla="*/ 0 h 564"/>
                    <a:gd name="T28" fmla="*/ 0 w 784"/>
                    <a:gd name="T29" fmla="*/ 0 h 564"/>
                    <a:gd name="T30" fmla="*/ 0 w 784"/>
                    <a:gd name="T31" fmla="*/ 0 h 564"/>
                    <a:gd name="T32" fmla="*/ 0 w 784"/>
                    <a:gd name="T33" fmla="*/ 0 h 564"/>
                    <a:gd name="T34" fmla="*/ 0 w 784"/>
                    <a:gd name="T35" fmla="*/ 0 h 564"/>
                    <a:gd name="T36" fmla="*/ 0 w 784"/>
                    <a:gd name="T37" fmla="*/ 0 h 564"/>
                    <a:gd name="T38" fmla="*/ 0 w 784"/>
                    <a:gd name="T39" fmla="*/ 0 h 564"/>
                    <a:gd name="T40" fmla="*/ 0 w 784"/>
                    <a:gd name="T41" fmla="*/ 0 h 564"/>
                    <a:gd name="T42" fmla="*/ 0 w 784"/>
                    <a:gd name="T43" fmla="*/ 0 h 564"/>
                    <a:gd name="T44" fmla="*/ 0 w 784"/>
                    <a:gd name="T45" fmla="*/ 0 h 564"/>
                    <a:gd name="T46" fmla="*/ 0 w 784"/>
                    <a:gd name="T47" fmla="*/ 0 h 564"/>
                    <a:gd name="T48" fmla="*/ 0 w 784"/>
                    <a:gd name="T49" fmla="*/ 0 h 564"/>
                    <a:gd name="T50" fmla="*/ 0 w 784"/>
                    <a:gd name="T51" fmla="*/ 0 h 564"/>
                    <a:gd name="T52" fmla="*/ 0 w 784"/>
                    <a:gd name="T53" fmla="*/ 0 h 564"/>
                    <a:gd name="T54" fmla="*/ 0 w 784"/>
                    <a:gd name="T55" fmla="*/ 0 h 564"/>
                    <a:gd name="T56" fmla="*/ 0 w 784"/>
                    <a:gd name="T57" fmla="*/ 0 h 564"/>
                    <a:gd name="T58" fmla="*/ 0 w 784"/>
                    <a:gd name="T59" fmla="*/ 0 h 564"/>
                    <a:gd name="T60" fmla="*/ 0 w 784"/>
                    <a:gd name="T61" fmla="*/ 0 h 564"/>
                    <a:gd name="T62" fmla="*/ 0 w 784"/>
                    <a:gd name="T63" fmla="*/ 0 h 564"/>
                    <a:gd name="T64" fmla="*/ 0 w 784"/>
                    <a:gd name="T65" fmla="*/ 0 h 564"/>
                    <a:gd name="T66" fmla="*/ 0 w 784"/>
                    <a:gd name="T67" fmla="*/ 0 h 564"/>
                    <a:gd name="T68" fmla="*/ 0 w 784"/>
                    <a:gd name="T69" fmla="*/ 0 h 564"/>
                    <a:gd name="T70" fmla="*/ 0 w 784"/>
                    <a:gd name="T71" fmla="*/ 0 h 564"/>
                    <a:gd name="T72" fmla="*/ 0 w 784"/>
                    <a:gd name="T73" fmla="*/ 0 h 564"/>
                    <a:gd name="T74" fmla="*/ 0 w 784"/>
                    <a:gd name="T75" fmla="*/ 0 h 564"/>
                    <a:gd name="T76" fmla="*/ 0 w 784"/>
                    <a:gd name="T77" fmla="*/ 0 h 564"/>
                    <a:gd name="T78" fmla="*/ 0 w 784"/>
                    <a:gd name="T79" fmla="*/ 0 h 564"/>
                    <a:gd name="T80" fmla="*/ 0 w 784"/>
                    <a:gd name="T81" fmla="*/ 0 h 56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4"/>
                    <a:gd name="T125" fmla="*/ 784 w 784"/>
                    <a:gd name="T126" fmla="*/ 564 h 56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4">
                      <a:moveTo>
                        <a:pt x="784" y="449"/>
                      </a:moveTo>
                      <a:lnTo>
                        <a:pt x="782" y="449"/>
                      </a:lnTo>
                      <a:lnTo>
                        <a:pt x="776" y="449"/>
                      </a:lnTo>
                      <a:lnTo>
                        <a:pt x="767" y="449"/>
                      </a:lnTo>
                      <a:lnTo>
                        <a:pt x="755" y="448"/>
                      </a:lnTo>
                      <a:lnTo>
                        <a:pt x="739" y="448"/>
                      </a:lnTo>
                      <a:lnTo>
                        <a:pt x="720" y="446"/>
                      </a:lnTo>
                      <a:lnTo>
                        <a:pt x="699" y="444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8" y="428"/>
                      </a:lnTo>
                      <a:lnTo>
                        <a:pt x="587" y="421"/>
                      </a:lnTo>
                      <a:lnTo>
                        <a:pt x="553" y="410"/>
                      </a:lnTo>
                      <a:lnTo>
                        <a:pt x="518" y="399"/>
                      </a:lnTo>
                      <a:lnTo>
                        <a:pt x="480" y="384"/>
                      </a:lnTo>
                      <a:lnTo>
                        <a:pt x="440" y="367"/>
                      </a:lnTo>
                      <a:lnTo>
                        <a:pt x="400" y="348"/>
                      </a:lnTo>
                      <a:lnTo>
                        <a:pt x="365" y="327"/>
                      </a:lnTo>
                      <a:lnTo>
                        <a:pt x="330" y="304"/>
                      </a:lnTo>
                      <a:lnTo>
                        <a:pt x="297" y="279"/>
                      </a:lnTo>
                      <a:lnTo>
                        <a:pt x="265" y="252"/>
                      </a:lnTo>
                      <a:lnTo>
                        <a:pt x="235" y="223"/>
                      </a:lnTo>
                      <a:lnTo>
                        <a:pt x="205" y="194"/>
                      </a:lnTo>
                      <a:lnTo>
                        <a:pt x="178" y="165"/>
                      </a:lnTo>
                      <a:lnTo>
                        <a:pt x="154" y="136"/>
                      </a:lnTo>
                      <a:lnTo>
                        <a:pt x="131" y="109"/>
                      </a:lnTo>
                      <a:lnTo>
                        <a:pt x="111" y="84"/>
                      </a:lnTo>
                      <a:lnTo>
                        <a:pt x="93" y="61"/>
                      </a:lnTo>
                      <a:lnTo>
                        <a:pt x="79" y="40"/>
                      </a:lnTo>
                      <a:lnTo>
                        <a:pt x="67" y="23"/>
                      </a:lnTo>
                      <a:lnTo>
                        <a:pt x="58" y="11"/>
                      </a:lnTo>
                      <a:lnTo>
                        <a:pt x="52" y="2"/>
                      </a:lnTo>
                      <a:lnTo>
                        <a:pt x="51" y="0"/>
                      </a:lnTo>
                      <a:lnTo>
                        <a:pt x="50" y="1"/>
                      </a:lnTo>
                      <a:lnTo>
                        <a:pt x="48" y="4"/>
                      </a:lnTo>
                      <a:lnTo>
                        <a:pt x="46" y="10"/>
                      </a:lnTo>
                      <a:lnTo>
                        <a:pt x="43" y="16"/>
                      </a:lnTo>
                      <a:lnTo>
                        <a:pt x="39" y="23"/>
                      </a:lnTo>
                      <a:lnTo>
                        <a:pt x="35" y="33"/>
                      </a:lnTo>
                      <a:lnTo>
                        <a:pt x="30" y="41"/>
                      </a:lnTo>
                      <a:lnTo>
                        <a:pt x="25" y="52"/>
                      </a:lnTo>
                      <a:lnTo>
                        <a:pt x="20" y="61"/>
                      </a:lnTo>
                      <a:lnTo>
                        <a:pt x="16" y="69"/>
                      </a:lnTo>
                      <a:lnTo>
                        <a:pt x="12" y="79"/>
                      </a:lnTo>
                      <a:lnTo>
                        <a:pt x="7" y="86"/>
                      </a:lnTo>
                      <a:lnTo>
                        <a:pt x="4" y="92"/>
                      </a:lnTo>
                      <a:lnTo>
                        <a:pt x="2" y="98"/>
                      </a:lnTo>
                      <a:lnTo>
                        <a:pt x="0" y="101"/>
                      </a:lnTo>
                      <a:lnTo>
                        <a:pt x="0" y="103"/>
                      </a:lnTo>
                      <a:lnTo>
                        <a:pt x="1" y="105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9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6" y="227"/>
                      </a:lnTo>
                      <a:lnTo>
                        <a:pt x="121" y="253"/>
                      </a:lnTo>
                      <a:lnTo>
                        <a:pt x="147" y="280"/>
                      </a:lnTo>
                      <a:lnTo>
                        <a:pt x="174" y="307"/>
                      </a:lnTo>
                      <a:lnTo>
                        <a:pt x="203" y="335"/>
                      </a:lnTo>
                      <a:lnTo>
                        <a:pt x="234" y="362"/>
                      </a:lnTo>
                      <a:lnTo>
                        <a:pt x="266" y="388"/>
                      </a:lnTo>
                      <a:lnTo>
                        <a:pt x="300" y="412"/>
                      </a:lnTo>
                      <a:lnTo>
                        <a:pt x="335" y="435"/>
                      </a:lnTo>
                      <a:lnTo>
                        <a:pt x="374" y="457"/>
                      </a:lnTo>
                      <a:lnTo>
                        <a:pt x="413" y="477"/>
                      </a:lnTo>
                      <a:lnTo>
                        <a:pt x="452" y="494"/>
                      </a:lnTo>
                      <a:lnTo>
                        <a:pt x="488" y="509"/>
                      </a:lnTo>
                      <a:lnTo>
                        <a:pt x="524" y="521"/>
                      </a:lnTo>
                      <a:lnTo>
                        <a:pt x="558" y="532"/>
                      </a:lnTo>
                      <a:lnTo>
                        <a:pt x="589" y="540"/>
                      </a:lnTo>
                      <a:lnTo>
                        <a:pt x="619" y="546"/>
                      </a:lnTo>
                      <a:lnTo>
                        <a:pt x="647" y="553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3"/>
                      </a:lnTo>
                      <a:lnTo>
                        <a:pt x="742" y="563"/>
                      </a:lnTo>
                      <a:lnTo>
                        <a:pt x="745" y="564"/>
                      </a:lnTo>
                      <a:lnTo>
                        <a:pt x="784" y="44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50" name="Freeform 401"/>
                <p:cNvSpPr>
                  <a:spLocks/>
                </p:cNvSpPr>
                <p:nvPr/>
              </p:nvSpPr>
              <p:spPr bwMode="auto">
                <a:xfrm>
                  <a:off x="4731" y="2767"/>
                  <a:ext cx="78" cy="57"/>
                </a:xfrm>
                <a:custGeom>
                  <a:avLst/>
                  <a:gdLst>
                    <a:gd name="T0" fmla="*/ 0 w 784"/>
                    <a:gd name="T1" fmla="*/ 0 h 565"/>
                    <a:gd name="T2" fmla="*/ 0 w 784"/>
                    <a:gd name="T3" fmla="*/ 0 h 565"/>
                    <a:gd name="T4" fmla="*/ 0 w 784"/>
                    <a:gd name="T5" fmla="*/ 0 h 565"/>
                    <a:gd name="T6" fmla="*/ 0 w 784"/>
                    <a:gd name="T7" fmla="*/ 0 h 565"/>
                    <a:gd name="T8" fmla="*/ 0 w 784"/>
                    <a:gd name="T9" fmla="*/ 0 h 565"/>
                    <a:gd name="T10" fmla="*/ 0 w 784"/>
                    <a:gd name="T11" fmla="*/ 0 h 565"/>
                    <a:gd name="T12" fmla="*/ 0 w 784"/>
                    <a:gd name="T13" fmla="*/ 0 h 565"/>
                    <a:gd name="T14" fmla="*/ 0 w 784"/>
                    <a:gd name="T15" fmla="*/ 0 h 565"/>
                    <a:gd name="T16" fmla="*/ 0 w 784"/>
                    <a:gd name="T17" fmla="*/ 0 h 565"/>
                    <a:gd name="T18" fmla="*/ 0 w 784"/>
                    <a:gd name="T19" fmla="*/ 0 h 565"/>
                    <a:gd name="T20" fmla="*/ 0 w 784"/>
                    <a:gd name="T21" fmla="*/ 0 h 565"/>
                    <a:gd name="T22" fmla="*/ 0 w 784"/>
                    <a:gd name="T23" fmla="*/ 0 h 565"/>
                    <a:gd name="T24" fmla="*/ 0 w 784"/>
                    <a:gd name="T25" fmla="*/ 0 h 565"/>
                    <a:gd name="T26" fmla="*/ 0 w 784"/>
                    <a:gd name="T27" fmla="*/ 0 h 565"/>
                    <a:gd name="T28" fmla="*/ 0 w 784"/>
                    <a:gd name="T29" fmla="*/ 0 h 565"/>
                    <a:gd name="T30" fmla="*/ 0 w 784"/>
                    <a:gd name="T31" fmla="*/ 0 h 565"/>
                    <a:gd name="T32" fmla="*/ 0 w 784"/>
                    <a:gd name="T33" fmla="*/ 0 h 565"/>
                    <a:gd name="T34" fmla="*/ 0 w 784"/>
                    <a:gd name="T35" fmla="*/ 0 h 565"/>
                    <a:gd name="T36" fmla="*/ 0 w 784"/>
                    <a:gd name="T37" fmla="*/ 0 h 565"/>
                    <a:gd name="T38" fmla="*/ 0 w 784"/>
                    <a:gd name="T39" fmla="*/ 0 h 565"/>
                    <a:gd name="T40" fmla="*/ 0 w 784"/>
                    <a:gd name="T41" fmla="*/ 0 h 565"/>
                    <a:gd name="T42" fmla="*/ 0 w 784"/>
                    <a:gd name="T43" fmla="*/ 0 h 565"/>
                    <a:gd name="T44" fmla="*/ 0 w 784"/>
                    <a:gd name="T45" fmla="*/ 0 h 565"/>
                    <a:gd name="T46" fmla="*/ 0 w 784"/>
                    <a:gd name="T47" fmla="*/ 0 h 565"/>
                    <a:gd name="T48" fmla="*/ 0 w 784"/>
                    <a:gd name="T49" fmla="*/ 0 h 565"/>
                    <a:gd name="T50" fmla="*/ 0 w 784"/>
                    <a:gd name="T51" fmla="*/ 0 h 565"/>
                    <a:gd name="T52" fmla="*/ 0 w 784"/>
                    <a:gd name="T53" fmla="*/ 0 h 565"/>
                    <a:gd name="T54" fmla="*/ 0 w 784"/>
                    <a:gd name="T55" fmla="*/ 0 h 565"/>
                    <a:gd name="T56" fmla="*/ 0 w 784"/>
                    <a:gd name="T57" fmla="*/ 0 h 565"/>
                    <a:gd name="T58" fmla="*/ 0 w 784"/>
                    <a:gd name="T59" fmla="*/ 0 h 565"/>
                    <a:gd name="T60" fmla="*/ 0 w 784"/>
                    <a:gd name="T61" fmla="*/ 0 h 565"/>
                    <a:gd name="T62" fmla="*/ 0 w 784"/>
                    <a:gd name="T63" fmla="*/ 0 h 565"/>
                    <a:gd name="T64" fmla="*/ 0 w 784"/>
                    <a:gd name="T65" fmla="*/ 0 h 565"/>
                    <a:gd name="T66" fmla="*/ 0 w 784"/>
                    <a:gd name="T67" fmla="*/ 0 h 565"/>
                    <a:gd name="T68" fmla="*/ 0 w 784"/>
                    <a:gd name="T69" fmla="*/ 0 h 565"/>
                    <a:gd name="T70" fmla="*/ 0 w 784"/>
                    <a:gd name="T71" fmla="*/ 0 h 565"/>
                    <a:gd name="T72" fmla="*/ 0 w 784"/>
                    <a:gd name="T73" fmla="*/ 0 h 565"/>
                    <a:gd name="T74" fmla="*/ 0 w 784"/>
                    <a:gd name="T75" fmla="*/ 0 h 565"/>
                    <a:gd name="T76" fmla="*/ 0 w 784"/>
                    <a:gd name="T77" fmla="*/ 0 h 565"/>
                    <a:gd name="T78" fmla="*/ 0 w 784"/>
                    <a:gd name="T79" fmla="*/ 0 h 565"/>
                    <a:gd name="T80" fmla="*/ 0 w 784"/>
                    <a:gd name="T81" fmla="*/ 0 h 565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784"/>
                    <a:gd name="T124" fmla="*/ 0 h 565"/>
                    <a:gd name="T125" fmla="*/ 784 w 784"/>
                    <a:gd name="T126" fmla="*/ 565 h 565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784" h="565">
                      <a:moveTo>
                        <a:pt x="784" y="448"/>
                      </a:moveTo>
                      <a:lnTo>
                        <a:pt x="782" y="448"/>
                      </a:lnTo>
                      <a:lnTo>
                        <a:pt x="776" y="448"/>
                      </a:lnTo>
                      <a:lnTo>
                        <a:pt x="767" y="448"/>
                      </a:lnTo>
                      <a:lnTo>
                        <a:pt x="755" y="447"/>
                      </a:lnTo>
                      <a:lnTo>
                        <a:pt x="739" y="447"/>
                      </a:lnTo>
                      <a:lnTo>
                        <a:pt x="720" y="445"/>
                      </a:lnTo>
                      <a:lnTo>
                        <a:pt x="699" y="443"/>
                      </a:lnTo>
                      <a:lnTo>
                        <a:pt x="675" y="439"/>
                      </a:lnTo>
                      <a:lnTo>
                        <a:pt x="648" y="435"/>
                      </a:lnTo>
                      <a:lnTo>
                        <a:pt x="619" y="427"/>
                      </a:lnTo>
                      <a:lnTo>
                        <a:pt x="587" y="420"/>
                      </a:lnTo>
                      <a:lnTo>
                        <a:pt x="554" y="409"/>
                      </a:lnTo>
                      <a:lnTo>
                        <a:pt x="518" y="398"/>
                      </a:lnTo>
                      <a:lnTo>
                        <a:pt x="480" y="383"/>
                      </a:lnTo>
                      <a:lnTo>
                        <a:pt x="440" y="366"/>
                      </a:lnTo>
                      <a:lnTo>
                        <a:pt x="401" y="348"/>
                      </a:lnTo>
                      <a:lnTo>
                        <a:pt x="365" y="327"/>
                      </a:lnTo>
                      <a:lnTo>
                        <a:pt x="330" y="305"/>
                      </a:lnTo>
                      <a:lnTo>
                        <a:pt x="297" y="278"/>
                      </a:lnTo>
                      <a:lnTo>
                        <a:pt x="265" y="251"/>
                      </a:lnTo>
                      <a:lnTo>
                        <a:pt x="235" y="223"/>
                      </a:lnTo>
                      <a:lnTo>
                        <a:pt x="206" y="195"/>
                      </a:lnTo>
                      <a:lnTo>
                        <a:pt x="179" y="165"/>
                      </a:lnTo>
                      <a:lnTo>
                        <a:pt x="154" y="137"/>
                      </a:lnTo>
                      <a:lnTo>
                        <a:pt x="132" y="109"/>
                      </a:lnTo>
                      <a:lnTo>
                        <a:pt x="112" y="83"/>
                      </a:lnTo>
                      <a:lnTo>
                        <a:pt x="95" y="60"/>
                      </a:lnTo>
                      <a:lnTo>
                        <a:pt x="80" y="39"/>
                      </a:lnTo>
                      <a:lnTo>
                        <a:pt x="68" y="23"/>
                      </a:lnTo>
                      <a:lnTo>
                        <a:pt x="59" y="10"/>
                      </a:lnTo>
                      <a:lnTo>
                        <a:pt x="54" y="2"/>
                      </a:lnTo>
                      <a:lnTo>
                        <a:pt x="53" y="0"/>
                      </a:lnTo>
                      <a:lnTo>
                        <a:pt x="52" y="1"/>
                      </a:lnTo>
                      <a:lnTo>
                        <a:pt x="49" y="4"/>
                      </a:lnTo>
                      <a:lnTo>
                        <a:pt x="47" y="9"/>
                      </a:lnTo>
                      <a:lnTo>
                        <a:pt x="44" y="15"/>
                      </a:lnTo>
                      <a:lnTo>
                        <a:pt x="40" y="23"/>
                      </a:lnTo>
                      <a:lnTo>
                        <a:pt x="36" y="32"/>
                      </a:lnTo>
                      <a:lnTo>
                        <a:pt x="31" y="40"/>
                      </a:lnTo>
                      <a:lnTo>
                        <a:pt x="26" y="51"/>
                      </a:lnTo>
                      <a:lnTo>
                        <a:pt x="21" y="60"/>
                      </a:lnTo>
                      <a:lnTo>
                        <a:pt x="16" y="69"/>
                      </a:lnTo>
                      <a:lnTo>
                        <a:pt x="12" y="78"/>
                      </a:lnTo>
                      <a:lnTo>
                        <a:pt x="8" y="86"/>
                      </a:lnTo>
                      <a:lnTo>
                        <a:pt x="4" y="92"/>
                      </a:lnTo>
                      <a:lnTo>
                        <a:pt x="2" y="97"/>
                      </a:lnTo>
                      <a:lnTo>
                        <a:pt x="0" y="100"/>
                      </a:lnTo>
                      <a:lnTo>
                        <a:pt x="0" y="102"/>
                      </a:lnTo>
                      <a:lnTo>
                        <a:pt x="1" y="104"/>
                      </a:lnTo>
                      <a:lnTo>
                        <a:pt x="6" y="112"/>
                      </a:lnTo>
                      <a:lnTo>
                        <a:pt x="15" y="123"/>
                      </a:lnTo>
                      <a:lnTo>
                        <a:pt x="25" y="138"/>
                      </a:lnTo>
                      <a:lnTo>
                        <a:pt x="40" y="156"/>
                      </a:lnTo>
                      <a:lnTo>
                        <a:pt x="57" y="177"/>
                      </a:lnTo>
                      <a:lnTo>
                        <a:pt x="76" y="201"/>
                      </a:lnTo>
                      <a:lnTo>
                        <a:pt x="97" y="226"/>
                      </a:lnTo>
                      <a:lnTo>
                        <a:pt x="121" y="252"/>
                      </a:lnTo>
                      <a:lnTo>
                        <a:pt x="147" y="279"/>
                      </a:lnTo>
                      <a:lnTo>
                        <a:pt x="174" y="307"/>
                      </a:lnTo>
                      <a:lnTo>
                        <a:pt x="204" y="335"/>
                      </a:lnTo>
                      <a:lnTo>
                        <a:pt x="234" y="362"/>
                      </a:lnTo>
                      <a:lnTo>
                        <a:pt x="266" y="389"/>
                      </a:lnTo>
                      <a:lnTo>
                        <a:pt x="300" y="413"/>
                      </a:lnTo>
                      <a:lnTo>
                        <a:pt x="336" y="436"/>
                      </a:lnTo>
                      <a:lnTo>
                        <a:pt x="374" y="458"/>
                      </a:lnTo>
                      <a:lnTo>
                        <a:pt x="413" y="477"/>
                      </a:lnTo>
                      <a:lnTo>
                        <a:pt x="452" y="493"/>
                      </a:lnTo>
                      <a:lnTo>
                        <a:pt x="489" y="508"/>
                      </a:lnTo>
                      <a:lnTo>
                        <a:pt x="524" y="521"/>
                      </a:lnTo>
                      <a:lnTo>
                        <a:pt x="558" y="531"/>
                      </a:lnTo>
                      <a:lnTo>
                        <a:pt x="589" y="539"/>
                      </a:lnTo>
                      <a:lnTo>
                        <a:pt x="620" y="547"/>
                      </a:lnTo>
                      <a:lnTo>
                        <a:pt x="647" y="552"/>
                      </a:lnTo>
                      <a:lnTo>
                        <a:pt x="671" y="556"/>
                      </a:lnTo>
                      <a:lnTo>
                        <a:pt x="693" y="559"/>
                      </a:lnTo>
                      <a:lnTo>
                        <a:pt x="711" y="561"/>
                      </a:lnTo>
                      <a:lnTo>
                        <a:pt x="725" y="563"/>
                      </a:lnTo>
                      <a:lnTo>
                        <a:pt x="736" y="564"/>
                      </a:lnTo>
                      <a:lnTo>
                        <a:pt x="742" y="564"/>
                      </a:lnTo>
                      <a:lnTo>
                        <a:pt x="745" y="565"/>
                      </a:lnTo>
                      <a:lnTo>
                        <a:pt x="784" y="4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51" name="Freeform 402"/>
                <p:cNvSpPr>
                  <a:spLocks/>
                </p:cNvSpPr>
                <p:nvPr/>
              </p:nvSpPr>
              <p:spPr bwMode="auto">
                <a:xfrm>
                  <a:off x="4645" y="2476"/>
                  <a:ext cx="59" cy="68"/>
                </a:xfrm>
                <a:custGeom>
                  <a:avLst/>
                  <a:gdLst>
                    <a:gd name="T0" fmla="*/ 0 w 589"/>
                    <a:gd name="T1" fmla="*/ 0 h 680"/>
                    <a:gd name="T2" fmla="*/ 0 w 589"/>
                    <a:gd name="T3" fmla="*/ 0 h 680"/>
                    <a:gd name="T4" fmla="*/ 0 w 589"/>
                    <a:gd name="T5" fmla="*/ 0 h 680"/>
                    <a:gd name="T6" fmla="*/ 0 w 589"/>
                    <a:gd name="T7" fmla="*/ 0 h 680"/>
                    <a:gd name="T8" fmla="*/ 0 w 589"/>
                    <a:gd name="T9" fmla="*/ 0 h 680"/>
                    <a:gd name="T10" fmla="*/ 0 w 589"/>
                    <a:gd name="T11" fmla="*/ 0 h 680"/>
                    <a:gd name="T12" fmla="*/ 0 w 589"/>
                    <a:gd name="T13" fmla="*/ 0 h 680"/>
                    <a:gd name="T14" fmla="*/ 0 w 589"/>
                    <a:gd name="T15" fmla="*/ 0 h 680"/>
                    <a:gd name="T16" fmla="*/ 0 w 589"/>
                    <a:gd name="T17" fmla="*/ 0 h 680"/>
                    <a:gd name="T18" fmla="*/ 0 w 589"/>
                    <a:gd name="T19" fmla="*/ 0 h 680"/>
                    <a:gd name="T20" fmla="*/ 0 w 589"/>
                    <a:gd name="T21" fmla="*/ 0 h 680"/>
                    <a:gd name="T22" fmla="*/ 0 w 589"/>
                    <a:gd name="T23" fmla="*/ 0 h 680"/>
                    <a:gd name="T24" fmla="*/ 0 w 589"/>
                    <a:gd name="T25" fmla="*/ 0 h 680"/>
                    <a:gd name="T26" fmla="*/ 0 w 589"/>
                    <a:gd name="T27" fmla="*/ 0 h 680"/>
                    <a:gd name="T28" fmla="*/ 0 w 589"/>
                    <a:gd name="T29" fmla="*/ 0 h 680"/>
                    <a:gd name="T30" fmla="*/ 0 w 589"/>
                    <a:gd name="T31" fmla="*/ 0 h 680"/>
                    <a:gd name="T32" fmla="*/ 0 w 589"/>
                    <a:gd name="T33" fmla="*/ 0 h 680"/>
                    <a:gd name="T34" fmla="*/ 0 w 589"/>
                    <a:gd name="T35" fmla="*/ 0 h 680"/>
                    <a:gd name="T36" fmla="*/ 0 w 589"/>
                    <a:gd name="T37" fmla="*/ 0 h 680"/>
                    <a:gd name="T38" fmla="*/ 0 w 589"/>
                    <a:gd name="T39" fmla="*/ 0 h 680"/>
                    <a:gd name="T40" fmla="*/ 0 w 589"/>
                    <a:gd name="T41" fmla="*/ 0 h 680"/>
                    <a:gd name="T42" fmla="*/ 0 w 589"/>
                    <a:gd name="T43" fmla="*/ 0 h 680"/>
                    <a:gd name="T44" fmla="*/ 0 w 589"/>
                    <a:gd name="T45" fmla="*/ 0 h 680"/>
                    <a:gd name="T46" fmla="*/ 0 w 589"/>
                    <a:gd name="T47" fmla="*/ 0 h 680"/>
                    <a:gd name="T48" fmla="*/ 0 w 589"/>
                    <a:gd name="T49" fmla="*/ 0 h 680"/>
                    <a:gd name="T50" fmla="*/ 0 w 589"/>
                    <a:gd name="T51" fmla="*/ 0 h 680"/>
                    <a:gd name="T52" fmla="*/ 0 w 589"/>
                    <a:gd name="T53" fmla="*/ 0 h 680"/>
                    <a:gd name="T54" fmla="*/ 0 w 589"/>
                    <a:gd name="T55" fmla="*/ 0 h 680"/>
                    <a:gd name="T56" fmla="*/ 0 w 589"/>
                    <a:gd name="T57" fmla="*/ 0 h 680"/>
                    <a:gd name="T58" fmla="*/ 0 w 589"/>
                    <a:gd name="T59" fmla="*/ 0 h 680"/>
                    <a:gd name="T60" fmla="*/ 0 w 589"/>
                    <a:gd name="T61" fmla="*/ 0 h 680"/>
                    <a:gd name="T62" fmla="*/ 0 w 589"/>
                    <a:gd name="T63" fmla="*/ 0 h 680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589"/>
                    <a:gd name="T97" fmla="*/ 0 h 680"/>
                    <a:gd name="T98" fmla="*/ 589 w 589"/>
                    <a:gd name="T99" fmla="*/ 680 h 680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589" h="680">
                      <a:moveTo>
                        <a:pt x="0" y="78"/>
                      </a:moveTo>
                      <a:lnTo>
                        <a:pt x="18" y="78"/>
                      </a:lnTo>
                      <a:lnTo>
                        <a:pt x="36" y="81"/>
                      </a:lnTo>
                      <a:lnTo>
                        <a:pt x="54" y="84"/>
                      </a:lnTo>
                      <a:lnTo>
                        <a:pt x="72" y="87"/>
                      </a:lnTo>
                      <a:lnTo>
                        <a:pt x="90" y="91"/>
                      </a:lnTo>
                      <a:lnTo>
                        <a:pt x="108" y="94"/>
                      </a:lnTo>
                      <a:lnTo>
                        <a:pt x="126" y="97"/>
                      </a:lnTo>
                      <a:lnTo>
                        <a:pt x="144" y="99"/>
                      </a:lnTo>
                      <a:lnTo>
                        <a:pt x="161" y="97"/>
                      </a:lnTo>
                      <a:lnTo>
                        <a:pt x="180" y="94"/>
                      </a:lnTo>
                      <a:lnTo>
                        <a:pt x="200" y="88"/>
                      </a:lnTo>
                      <a:lnTo>
                        <a:pt x="219" y="80"/>
                      </a:lnTo>
                      <a:lnTo>
                        <a:pt x="240" y="66"/>
                      </a:lnTo>
                      <a:lnTo>
                        <a:pt x="261" y="49"/>
                      </a:lnTo>
                      <a:lnTo>
                        <a:pt x="283" y="27"/>
                      </a:lnTo>
                      <a:lnTo>
                        <a:pt x="306" y="0"/>
                      </a:lnTo>
                      <a:lnTo>
                        <a:pt x="322" y="29"/>
                      </a:lnTo>
                      <a:lnTo>
                        <a:pt x="341" y="56"/>
                      </a:lnTo>
                      <a:lnTo>
                        <a:pt x="360" y="78"/>
                      </a:lnTo>
                      <a:lnTo>
                        <a:pt x="382" y="96"/>
                      </a:lnTo>
                      <a:lnTo>
                        <a:pt x="404" y="111"/>
                      </a:lnTo>
                      <a:lnTo>
                        <a:pt x="426" y="124"/>
                      </a:lnTo>
                      <a:lnTo>
                        <a:pt x="450" y="133"/>
                      </a:lnTo>
                      <a:lnTo>
                        <a:pt x="472" y="140"/>
                      </a:lnTo>
                      <a:lnTo>
                        <a:pt x="493" y="146"/>
                      </a:lnTo>
                      <a:lnTo>
                        <a:pt x="512" y="150"/>
                      </a:lnTo>
                      <a:lnTo>
                        <a:pt x="531" y="152"/>
                      </a:lnTo>
                      <a:lnTo>
                        <a:pt x="548" y="153"/>
                      </a:lnTo>
                      <a:lnTo>
                        <a:pt x="563" y="154"/>
                      </a:lnTo>
                      <a:lnTo>
                        <a:pt x="574" y="154"/>
                      </a:lnTo>
                      <a:lnTo>
                        <a:pt x="584" y="154"/>
                      </a:lnTo>
                      <a:lnTo>
                        <a:pt x="589" y="155"/>
                      </a:lnTo>
                      <a:lnTo>
                        <a:pt x="566" y="175"/>
                      </a:lnTo>
                      <a:lnTo>
                        <a:pt x="549" y="199"/>
                      </a:lnTo>
                      <a:lnTo>
                        <a:pt x="538" y="229"/>
                      </a:lnTo>
                      <a:lnTo>
                        <a:pt x="529" y="262"/>
                      </a:lnTo>
                      <a:lnTo>
                        <a:pt x="524" y="298"/>
                      </a:lnTo>
                      <a:lnTo>
                        <a:pt x="521" y="335"/>
                      </a:lnTo>
                      <a:lnTo>
                        <a:pt x="519" y="375"/>
                      </a:lnTo>
                      <a:lnTo>
                        <a:pt x="517" y="415"/>
                      </a:lnTo>
                      <a:lnTo>
                        <a:pt x="512" y="456"/>
                      </a:lnTo>
                      <a:lnTo>
                        <a:pt x="507" y="495"/>
                      </a:lnTo>
                      <a:lnTo>
                        <a:pt x="498" y="534"/>
                      </a:lnTo>
                      <a:lnTo>
                        <a:pt x="484" y="569"/>
                      </a:lnTo>
                      <a:lnTo>
                        <a:pt x="466" y="603"/>
                      </a:lnTo>
                      <a:lnTo>
                        <a:pt x="441" y="633"/>
                      </a:lnTo>
                      <a:lnTo>
                        <a:pt x="410" y="659"/>
                      </a:lnTo>
                      <a:lnTo>
                        <a:pt x="370" y="680"/>
                      </a:lnTo>
                      <a:lnTo>
                        <a:pt x="313" y="649"/>
                      </a:lnTo>
                      <a:lnTo>
                        <a:pt x="267" y="616"/>
                      </a:lnTo>
                      <a:lnTo>
                        <a:pt x="231" y="583"/>
                      </a:lnTo>
                      <a:lnTo>
                        <a:pt x="201" y="548"/>
                      </a:lnTo>
                      <a:lnTo>
                        <a:pt x="178" y="513"/>
                      </a:lnTo>
                      <a:lnTo>
                        <a:pt x="161" y="476"/>
                      </a:lnTo>
                      <a:lnTo>
                        <a:pt x="148" y="438"/>
                      </a:lnTo>
                      <a:lnTo>
                        <a:pt x="137" y="399"/>
                      </a:lnTo>
                      <a:lnTo>
                        <a:pt x="128" y="361"/>
                      </a:lnTo>
                      <a:lnTo>
                        <a:pt x="118" y="321"/>
                      </a:lnTo>
                      <a:lnTo>
                        <a:pt x="109" y="281"/>
                      </a:lnTo>
                      <a:lnTo>
                        <a:pt x="96" y="241"/>
                      </a:lnTo>
                      <a:lnTo>
                        <a:pt x="81" y="200"/>
                      </a:lnTo>
                      <a:lnTo>
                        <a:pt x="60" y="159"/>
                      </a:lnTo>
                      <a:lnTo>
                        <a:pt x="33" y="118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grpSp>
          <p:nvGrpSpPr>
            <p:cNvPr id="5" name="Group 488"/>
            <p:cNvGrpSpPr>
              <a:grpSpLocks/>
            </p:cNvGrpSpPr>
            <p:nvPr/>
          </p:nvGrpSpPr>
          <p:grpSpPr bwMode="auto">
            <a:xfrm>
              <a:off x="3107" y="1797"/>
              <a:ext cx="1680" cy="1614"/>
              <a:chOff x="3120" y="1832"/>
              <a:chExt cx="1680" cy="1614"/>
            </a:xfrm>
          </p:grpSpPr>
          <p:grpSp>
            <p:nvGrpSpPr>
              <p:cNvPr id="6" name="Group 427"/>
              <p:cNvGrpSpPr>
                <a:grpSpLocks/>
              </p:cNvGrpSpPr>
              <p:nvPr/>
            </p:nvGrpSpPr>
            <p:grpSpPr bwMode="auto">
              <a:xfrm>
                <a:off x="3744" y="2360"/>
                <a:ext cx="1056" cy="768"/>
                <a:chOff x="3744" y="2360"/>
                <a:chExt cx="1056" cy="768"/>
              </a:xfrm>
            </p:grpSpPr>
            <p:sp>
              <p:nvSpPr>
                <p:cNvPr id="15438" name="Freeform 64"/>
                <p:cNvSpPr>
                  <a:spLocks/>
                </p:cNvSpPr>
                <p:nvPr/>
              </p:nvSpPr>
              <p:spPr bwMode="auto">
                <a:xfrm rot="1015651">
                  <a:off x="4464" y="2360"/>
                  <a:ext cx="336" cy="288"/>
                </a:xfrm>
                <a:custGeom>
                  <a:avLst/>
                  <a:gdLst>
                    <a:gd name="T0" fmla="*/ 0 w 467"/>
                    <a:gd name="T1" fmla="*/ 0 h 439"/>
                    <a:gd name="T2" fmla="*/ 1 w 467"/>
                    <a:gd name="T3" fmla="*/ 1 h 439"/>
                    <a:gd name="T4" fmla="*/ 1 w 467"/>
                    <a:gd name="T5" fmla="*/ 1 h 439"/>
                    <a:gd name="T6" fmla="*/ 1 w 467"/>
                    <a:gd name="T7" fmla="*/ 1 h 43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67"/>
                    <a:gd name="T13" fmla="*/ 0 h 439"/>
                    <a:gd name="T14" fmla="*/ 467 w 467"/>
                    <a:gd name="T15" fmla="*/ 439 h 43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67" h="439">
                      <a:moveTo>
                        <a:pt x="0" y="0"/>
                      </a:moveTo>
                      <a:lnTo>
                        <a:pt x="326" y="241"/>
                      </a:lnTo>
                      <a:lnTo>
                        <a:pt x="150" y="202"/>
                      </a:lnTo>
                      <a:lnTo>
                        <a:pt x="466" y="438"/>
                      </a:lnTo>
                    </a:path>
                  </a:pathLst>
                </a:custGeom>
                <a:noFill/>
                <a:ln w="50800" cap="rnd" cmpd="sng">
                  <a:solidFill>
                    <a:srgbClr val="00808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39" name="Freeform 65"/>
                <p:cNvSpPr>
                  <a:spLocks/>
                </p:cNvSpPr>
                <p:nvPr/>
              </p:nvSpPr>
              <p:spPr bwMode="auto">
                <a:xfrm>
                  <a:off x="3984" y="2984"/>
                  <a:ext cx="384" cy="144"/>
                </a:xfrm>
                <a:custGeom>
                  <a:avLst/>
                  <a:gdLst>
                    <a:gd name="T0" fmla="*/ 0 w 809"/>
                    <a:gd name="T1" fmla="*/ 160 h 143"/>
                    <a:gd name="T2" fmla="*/ 0 w 809"/>
                    <a:gd name="T3" fmla="*/ 0 h 143"/>
                    <a:gd name="T4" fmla="*/ 0 w 809"/>
                    <a:gd name="T5" fmla="*/ 173 h 143"/>
                    <a:gd name="T6" fmla="*/ 0 w 809"/>
                    <a:gd name="T7" fmla="*/ 19 h 1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09"/>
                    <a:gd name="T13" fmla="*/ 0 h 143"/>
                    <a:gd name="T14" fmla="*/ 809 w 809"/>
                    <a:gd name="T15" fmla="*/ 143 h 1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09" h="143">
                      <a:moveTo>
                        <a:pt x="0" y="129"/>
                      </a:moveTo>
                      <a:lnTo>
                        <a:pt x="500" y="0"/>
                      </a:lnTo>
                      <a:lnTo>
                        <a:pt x="321" y="142"/>
                      </a:lnTo>
                      <a:lnTo>
                        <a:pt x="808" y="19"/>
                      </a:lnTo>
                    </a:path>
                  </a:pathLst>
                </a:custGeom>
                <a:noFill/>
                <a:ln w="50800" cap="rnd" cmpd="sng">
                  <a:solidFill>
                    <a:srgbClr val="00808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440" name="Freeform 153"/>
                <p:cNvSpPr>
                  <a:spLocks/>
                </p:cNvSpPr>
                <p:nvPr/>
              </p:nvSpPr>
              <p:spPr bwMode="auto">
                <a:xfrm>
                  <a:off x="3744" y="2504"/>
                  <a:ext cx="237" cy="528"/>
                </a:xfrm>
                <a:custGeom>
                  <a:avLst/>
                  <a:gdLst>
                    <a:gd name="T0" fmla="*/ 236 w 237"/>
                    <a:gd name="T1" fmla="*/ 0 h 665"/>
                    <a:gd name="T2" fmla="*/ 129 w 237"/>
                    <a:gd name="T3" fmla="*/ 2 h 665"/>
                    <a:gd name="T4" fmla="*/ 106 w 237"/>
                    <a:gd name="T5" fmla="*/ 2 h 665"/>
                    <a:gd name="T6" fmla="*/ 0 w 237"/>
                    <a:gd name="T7" fmla="*/ 2 h 66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7"/>
                    <a:gd name="T13" fmla="*/ 0 h 665"/>
                    <a:gd name="T14" fmla="*/ 237 w 237"/>
                    <a:gd name="T15" fmla="*/ 665 h 66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7" h="665">
                      <a:moveTo>
                        <a:pt x="236" y="0"/>
                      </a:moveTo>
                      <a:lnTo>
                        <a:pt x="129" y="430"/>
                      </a:lnTo>
                      <a:lnTo>
                        <a:pt x="106" y="246"/>
                      </a:lnTo>
                      <a:lnTo>
                        <a:pt x="0" y="664"/>
                      </a:lnTo>
                    </a:path>
                  </a:pathLst>
                </a:custGeom>
                <a:noFill/>
                <a:ln w="50800" cap="rnd" cmpd="sng">
                  <a:solidFill>
                    <a:srgbClr val="008080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7" name="Group 430"/>
              <p:cNvGrpSpPr>
                <a:grpSpLocks/>
              </p:cNvGrpSpPr>
              <p:nvPr/>
            </p:nvGrpSpPr>
            <p:grpSpPr bwMode="auto">
              <a:xfrm>
                <a:off x="3120" y="1832"/>
                <a:ext cx="1422" cy="1614"/>
                <a:chOff x="3120" y="1832"/>
                <a:chExt cx="1422" cy="1614"/>
              </a:xfrm>
            </p:grpSpPr>
            <p:pic>
              <p:nvPicPr>
                <p:cNvPr id="15436" name="Picture 390" descr="Moto_pol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4032" y="1832"/>
                  <a:ext cx="510" cy="68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5437" name="Picture 391" descr="AUTO_POL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3120" y="3120"/>
                  <a:ext cx="860" cy="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</p:grpSp>
      <p:grpSp>
        <p:nvGrpSpPr>
          <p:cNvPr id="8" name="Group 3056"/>
          <p:cNvGrpSpPr>
            <a:grpSpLocks/>
          </p:cNvGrpSpPr>
          <p:nvPr/>
        </p:nvGrpSpPr>
        <p:grpSpPr bwMode="auto">
          <a:xfrm>
            <a:off x="1611313" y="1473200"/>
            <a:ext cx="438150" cy="522288"/>
            <a:chOff x="712" y="812"/>
            <a:chExt cx="670" cy="910"/>
          </a:xfrm>
        </p:grpSpPr>
        <p:grpSp>
          <p:nvGrpSpPr>
            <p:cNvPr id="9" name="Group 175"/>
            <p:cNvGrpSpPr>
              <a:grpSpLocks/>
            </p:cNvGrpSpPr>
            <p:nvPr/>
          </p:nvGrpSpPr>
          <p:grpSpPr bwMode="auto">
            <a:xfrm rot="7934999">
              <a:off x="824" y="929"/>
              <a:ext cx="676" cy="441"/>
              <a:chOff x="2832" y="2151"/>
              <a:chExt cx="676" cy="441"/>
            </a:xfrm>
          </p:grpSpPr>
          <p:sp>
            <p:nvSpPr>
              <p:cNvPr id="15429" name="Freeform 177"/>
              <p:cNvSpPr>
                <a:spLocks/>
              </p:cNvSpPr>
              <p:nvPr/>
            </p:nvSpPr>
            <p:spPr bwMode="auto">
              <a:xfrm rot="1015651">
                <a:off x="2948" y="2151"/>
                <a:ext cx="293" cy="307"/>
              </a:xfrm>
              <a:custGeom>
                <a:avLst/>
                <a:gdLst>
                  <a:gd name="T0" fmla="*/ 0 w 467"/>
                  <a:gd name="T1" fmla="*/ 0 h 439"/>
                  <a:gd name="T2" fmla="*/ 1 w 467"/>
                  <a:gd name="T3" fmla="*/ 1 h 439"/>
                  <a:gd name="T4" fmla="*/ 1 w 467"/>
                  <a:gd name="T5" fmla="*/ 1 h 439"/>
                  <a:gd name="T6" fmla="*/ 1 w 46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30" name="Freeform 178"/>
              <p:cNvSpPr>
                <a:spLocks/>
              </p:cNvSpPr>
              <p:nvPr/>
            </p:nvSpPr>
            <p:spPr bwMode="auto">
              <a:xfrm rot="2291411">
                <a:off x="3037" y="2174"/>
                <a:ext cx="471" cy="262"/>
              </a:xfrm>
              <a:custGeom>
                <a:avLst/>
                <a:gdLst>
                  <a:gd name="T0" fmla="*/ 0 w 467"/>
                  <a:gd name="T1" fmla="*/ 0 h 439"/>
                  <a:gd name="T2" fmla="*/ 422 w 467"/>
                  <a:gd name="T3" fmla="*/ 1 h 439"/>
                  <a:gd name="T4" fmla="*/ 186 w 467"/>
                  <a:gd name="T5" fmla="*/ 1 h 439"/>
                  <a:gd name="T6" fmla="*/ 606 w 46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31" name="Freeform 179"/>
              <p:cNvSpPr>
                <a:spLocks/>
              </p:cNvSpPr>
              <p:nvPr/>
            </p:nvSpPr>
            <p:spPr bwMode="auto">
              <a:xfrm rot="-572921">
                <a:off x="2832" y="2304"/>
                <a:ext cx="336" cy="288"/>
              </a:xfrm>
              <a:custGeom>
                <a:avLst/>
                <a:gdLst>
                  <a:gd name="T0" fmla="*/ 0 w 467"/>
                  <a:gd name="T1" fmla="*/ 0 h 439"/>
                  <a:gd name="T2" fmla="*/ 1 w 467"/>
                  <a:gd name="T3" fmla="*/ 1 h 439"/>
                  <a:gd name="T4" fmla="*/ 1 w 467"/>
                  <a:gd name="T5" fmla="*/ 1 h 439"/>
                  <a:gd name="T6" fmla="*/ 1 w 46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" name="Group 180"/>
            <p:cNvGrpSpPr>
              <a:grpSpLocks/>
            </p:cNvGrpSpPr>
            <p:nvPr/>
          </p:nvGrpSpPr>
          <p:grpSpPr bwMode="auto">
            <a:xfrm rot="10303354">
              <a:off x="712" y="1280"/>
              <a:ext cx="524" cy="442"/>
              <a:chOff x="2836" y="2208"/>
              <a:chExt cx="524" cy="442"/>
            </a:xfrm>
          </p:grpSpPr>
          <p:sp>
            <p:nvSpPr>
              <p:cNvPr id="15426" name="Freeform 181"/>
              <p:cNvSpPr>
                <a:spLocks/>
              </p:cNvSpPr>
              <p:nvPr/>
            </p:nvSpPr>
            <p:spPr bwMode="auto">
              <a:xfrm rot="1730183">
                <a:off x="3024" y="2208"/>
                <a:ext cx="336" cy="288"/>
              </a:xfrm>
              <a:custGeom>
                <a:avLst/>
                <a:gdLst>
                  <a:gd name="T0" fmla="*/ 0 w 467"/>
                  <a:gd name="T1" fmla="*/ 0 h 439"/>
                  <a:gd name="T2" fmla="*/ 1 w 467"/>
                  <a:gd name="T3" fmla="*/ 1 h 439"/>
                  <a:gd name="T4" fmla="*/ 1 w 467"/>
                  <a:gd name="T5" fmla="*/ 1 h 439"/>
                  <a:gd name="T6" fmla="*/ 1 w 467"/>
                  <a:gd name="T7" fmla="*/ 1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27" name="Freeform 182"/>
              <p:cNvSpPr>
                <a:spLocks/>
              </p:cNvSpPr>
              <p:nvPr/>
            </p:nvSpPr>
            <p:spPr bwMode="auto">
              <a:xfrm rot="2181348">
                <a:off x="2855" y="2303"/>
                <a:ext cx="384" cy="156"/>
              </a:xfrm>
              <a:custGeom>
                <a:avLst/>
                <a:gdLst>
                  <a:gd name="T0" fmla="*/ 0 w 467"/>
                  <a:gd name="T1" fmla="*/ 0 h 439"/>
                  <a:gd name="T2" fmla="*/ 2 w 467"/>
                  <a:gd name="T3" fmla="*/ 0 h 439"/>
                  <a:gd name="T4" fmla="*/ 2 w 467"/>
                  <a:gd name="T5" fmla="*/ 0 h 439"/>
                  <a:gd name="T6" fmla="*/ 2 w 467"/>
                  <a:gd name="T7" fmla="*/ 0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28" name="Freeform 184"/>
              <p:cNvSpPr>
                <a:spLocks/>
              </p:cNvSpPr>
              <p:nvPr/>
            </p:nvSpPr>
            <p:spPr bwMode="auto">
              <a:xfrm rot="-572921">
                <a:off x="2836" y="2309"/>
                <a:ext cx="284" cy="341"/>
              </a:xfrm>
              <a:custGeom>
                <a:avLst/>
                <a:gdLst>
                  <a:gd name="T0" fmla="*/ 0 w 467"/>
                  <a:gd name="T1" fmla="*/ 0 h 439"/>
                  <a:gd name="T2" fmla="*/ 1 w 467"/>
                  <a:gd name="T3" fmla="*/ 2 h 439"/>
                  <a:gd name="T4" fmla="*/ 1 w 467"/>
                  <a:gd name="T5" fmla="*/ 2 h 439"/>
                  <a:gd name="T6" fmla="*/ 1 w 467"/>
                  <a:gd name="T7" fmla="*/ 2 h 43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67"/>
                  <a:gd name="T13" fmla="*/ 0 h 439"/>
                  <a:gd name="T14" fmla="*/ 467 w 467"/>
                  <a:gd name="T15" fmla="*/ 439 h 43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67" h="439">
                    <a:moveTo>
                      <a:pt x="0" y="0"/>
                    </a:moveTo>
                    <a:lnTo>
                      <a:pt x="326" y="241"/>
                    </a:lnTo>
                    <a:lnTo>
                      <a:pt x="150" y="202"/>
                    </a:lnTo>
                    <a:lnTo>
                      <a:pt x="466" y="438"/>
                    </a:lnTo>
                  </a:path>
                </a:pathLst>
              </a:custGeom>
              <a:noFill/>
              <a:ln w="25400" cap="rnd" cmpd="sng">
                <a:solidFill>
                  <a:schemeClr val="accen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11" name="Group 186"/>
          <p:cNvGrpSpPr>
            <a:grpSpLocks/>
          </p:cNvGrpSpPr>
          <p:nvPr/>
        </p:nvGrpSpPr>
        <p:grpSpPr bwMode="auto">
          <a:xfrm>
            <a:off x="1128713" y="1454150"/>
            <a:ext cx="344487" cy="746125"/>
            <a:chOff x="652" y="2332"/>
            <a:chExt cx="397" cy="1415"/>
          </a:xfrm>
        </p:grpSpPr>
        <p:sp>
          <p:nvSpPr>
            <p:cNvPr id="15409" name="Rectangle 187"/>
            <p:cNvSpPr>
              <a:spLocks noChangeArrowheads="1"/>
            </p:cNvSpPr>
            <p:nvPr/>
          </p:nvSpPr>
          <p:spPr bwMode="auto">
            <a:xfrm>
              <a:off x="754" y="2332"/>
              <a:ext cx="13" cy="17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10" name="Freeform 188"/>
            <p:cNvSpPr>
              <a:spLocks noEditPoints="1"/>
            </p:cNvSpPr>
            <p:nvPr/>
          </p:nvSpPr>
          <p:spPr bwMode="auto">
            <a:xfrm>
              <a:off x="846" y="2522"/>
              <a:ext cx="179" cy="1222"/>
            </a:xfrm>
            <a:custGeom>
              <a:avLst/>
              <a:gdLst>
                <a:gd name="T0" fmla="*/ 0 w 715"/>
                <a:gd name="T1" fmla="*/ 0 h 4887"/>
                <a:gd name="T2" fmla="*/ 0 w 715"/>
                <a:gd name="T3" fmla="*/ 0 h 4887"/>
                <a:gd name="T4" fmla="*/ 0 w 715"/>
                <a:gd name="T5" fmla="*/ 0 h 4887"/>
                <a:gd name="T6" fmla="*/ 0 w 715"/>
                <a:gd name="T7" fmla="*/ 0 h 4887"/>
                <a:gd name="T8" fmla="*/ 0 w 715"/>
                <a:gd name="T9" fmla="*/ 0 h 4887"/>
                <a:gd name="T10" fmla="*/ 0 w 715"/>
                <a:gd name="T11" fmla="*/ 0 h 4887"/>
                <a:gd name="T12" fmla="*/ 0 w 715"/>
                <a:gd name="T13" fmla="*/ 0 h 4887"/>
                <a:gd name="T14" fmla="*/ 0 w 715"/>
                <a:gd name="T15" fmla="*/ 0 h 4887"/>
                <a:gd name="T16" fmla="*/ 0 w 715"/>
                <a:gd name="T17" fmla="*/ 0 h 4887"/>
                <a:gd name="T18" fmla="*/ 0 w 715"/>
                <a:gd name="T19" fmla="*/ 0 h 4887"/>
                <a:gd name="T20" fmla="*/ 0 w 715"/>
                <a:gd name="T21" fmla="*/ 0 h 4887"/>
                <a:gd name="T22" fmla="*/ 0 w 715"/>
                <a:gd name="T23" fmla="*/ 0 h 4887"/>
                <a:gd name="T24" fmla="*/ 0 w 715"/>
                <a:gd name="T25" fmla="*/ 0 h 4887"/>
                <a:gd name="T26" fmla="*/ 0 w 715"/>
                <a:gd name="T27" fmla="*/ 0 h 4887"/>
                <a:gd name="T28" fmla="*/ 0 w 715"/>
                <a:gd name="T29" fmla="*/ 0 h 4887"/>
                <a:gd name="T30" fmla="*/ 0 w 715"/>
                <a:gd name="T31" fmla="*/ 0 h 4887"/>
                <a:gd name="T32" fmla="*/ 0 w 715"/>
                <a:gd name="T33" fmla="*/ 0 h 4887"/>
                <a:gd name="T34" fmla="*/ 0 w 715"/>
                <a:gd name="T35" fmla="*/ 0 h 4887"/>
                <a:gd name="T36" fmla="*/ 0 w 715"/>
                <a:gd name="T37" fmla="*/ 0 h 4887"/>
                <a:gd name="T38" fmla="*/ 0 w 715"/>
                <a:gd name="T39" fmla="*/ 0 h 4887"/>
                <a:gd name="T40" fmla="*/ 0 w 715"/>
                <a:gd name="T41" fmla="*/ 0 h 4887"/>
                <a:gd name="T42" fmla="*/ 0 w 715"/>
                <a:gd name="T43" fmla="*/ 0 h 4887"/>
                <a:gd name="T44" fmla="*/ 0 w 715"/>
                <a:gd name="T45" fmla="*/ 0 h 4887"/>
                <a:gd name="T46" fmla="*/ 0 w 715"/>
                <a:gd name="T47" fmla="*/ 0 h 4887"/>
                <a:gd name="T48" fmla="*/ 0 w 715"/>
                <a:gd name="T49" fmla="*/ 0 h 4887"/>
                <a:gd name="T50" fmla="*/ 0 w 715"/>
                <a:gd name="T51" fmla="*/ 0 h 4887"/>
                <a:gd name="T52" fmla="*/ 0 w 715"/>
                <a:gd name="T53" fmla="*/ 0 h 4887"/>
                <a:gd name="T54" fmla="*/ 0 w 715"/>
                <a:gd name="T55" fmla="*/ 0 h 4887"/>
                <a:gd name="T56" fmla="*/ 0 w 715"/>
                <a:gd name="T57" fmla="*/ 0 h 4887"/>
                <a:gd name="T58" fmla="*/ 0 w 715"/>
                <a:gd name="T59" fmla="*/ 0 h 4887"/>
                <a:gd name="T60" fmla="*/ 0 w 715"/>
                <a:gd name="T61" fmla="*/ 0 h 4887"/>
                <a:gd name="T62" fmla="*/ 0 w 715"/>
                <a:gd name="T63" fmla="*/ 0 h 4887"/>
                <a:gd name="T64" fmla="*/ 0 w 715"/>
                <a:gd name="T65" fmla="*/ 0 h 4887"/>
                <a:gd name="T66" fmla="*/ 0 w 715"/>
                <a:gd name="T67" fmla="*/ 0 h 4887"/>
                <a:gd name="T68" fmla="*/ 0 w 715"/>
                <a:gd name="T69" fmla="*/ 0 h 4887"/>
                <a:gd name="T70" fmla="*/ 0 w 715"/>
                <a:gd name="T71" fmla="*/ 0 h 4887"/>
                <a:gd name="T72" fmla="*/ 0 w 715"/>
                <a:gd name="T73" fmla="*/ 0 h 4887"/>
                <a:gd name="T74" fmla="*/ 0 w 715"/>
                <a:gd name="T75" fmla="*/ 0 h 4887"/>
                <a:gd name="T76" fmla="*/ 0 w 715"/>
                <a:gd name="T77" fmla="*/ 0 h 4887"/>
                <a:gd name="T78" fmla="*/ 0 w 715"/>
                <a:gd name="T79" fmla="*/ 0 h 4887"/>
                <a:gd name="T80" fmla="*/ 0 w 715"/>
                <a:gd name="T81" fmla="*/ 0 h 4887"/>
                <a:gd name="T82" fmla="*/ 0 w 715"/>
                <a:gd name="T83" fmla="*/ 0 h 4887"/>
                <a:gd name="T84" fmla="*/ 0 w 715"/>
                <a:gd name="T85" fmla="*/ 0 h 4887"/>
                <a:gd name="T86" fmla="*/ 0 w 715"/>
                <a:gd name="T87" fmla="*/ 0 h 4887"/>
                <a:gd name="T88" fmla="*/ 0 w 715"/>
                <a:gd name="T89" fmla="*/ 0 h 4887"/>
                <a:gd name="T90" fmla="*/ 0 w 715"/>
                <a:gd name="T91" fmla="*/ 0 h 4887"/>
                <a:gd name="T92" fmla="*/ 0 w 715"/>
                <a:gd name="T93" fmla="*/ 0 h 4887"/>
                <a:gd name="T94" fmla="*/ 0 w 715"/>
                <a:gd name="T95" fmla="*/ 0 h 4887"/>
                <a:gd name="T96" fmla="*/ 0 w 715"/>
                <a:gd name="T97" fmla="*/ 0 h 4887"/>
                <a:gd name="T98" fmla="*/ 0 w 715"/>
                <a:gd name="T99" fmla="*/ 0 h 4887"/>
                <a:gd name="T100" fmla="*/ 0 w 715"/>
                <a:gd name="T101" fmla="*/ 0 h 4887"/>
                <a:gd name="T102" fmla="*/ 0 w 715"/>
                <a:gd name="T103" fmla="*/ 0 h 4887"/>
                <a:gd name="T104" fmla="*/ 0 w 715"/>
                <a:gd name="T105" fmla="*/ 0 h 4887"/>
                <a:gd name="T106" fmla="*/ 0 w 715"/>
                <a:gd name="T107" fmla="*/ 0 h 4887"/>
                <a:gd name="T108" fmla="*/ 0 w 715"/>
                <a:gd name="T109" fmla="*/ 0 h 4887"/>
                <a:gd name="T110" fmla="*/ 0 w 715"/>
                <a:gd name="T111" fmla="*/ 0 h 4887"/>
                <a:gd name="T112" fmla="*/ 0 w 715"/>
                <a:gd name="T113" fmla="*/ 0 h 4887"/>
                <a:gd name="T114" fmla="*/ 0 w 715"/>
                <a:gd name="T115" fmla="*/ 0 h 4887"/>
                <a:gd name="T116" fmla="*/ 0 w 715"/>
                <a:gd name="T117" fmla="*/ 0 h 4887"/>
                <a:gd name="T118" fmla="*/ 0 w 715"/>
                <a:gd name="T119" fmla="*/ 0 h 4887"/>
                <a:gd name="T120" fmla="*/ 0 w 715"/>
                <a:gd name="T121" fmla="*/ 0 h 4887"/>
                <a:gd name="T122" fmla="*/ 0 w 715"/>
                <a:gd name="T123" fmla="*/ 0 h 488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15"/>
                <a:gd name="T187" fmla="*/ 0 h 4887"/>
                <a:gd name="T188" fmla="*/ 715 w 715"/>
                <a:gd name="T189" fmla="*/ 4887 h 488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15" h="4887">
                  <a:moveTo>
                    <a:pt x="320" y="879"/>
                  </a:moveTo>
                  <a:lnTo>
                    <a:pt x="267" y="232"/>
                  </a:lnTo>
                  <a:lnTo>
                    <a:pt x="217" y="496"/>
                  </a:lnTo>
                  <a:lnTo>
                    <a:pt x="195" y="592"/>
                  </a:lnTo>
                  <a:lnTo>
                    <a:pt x="193" y="597"/>
                  </a:lnTo>
                  <a:lnTo>
                    <a:pt x="240" y="703"/>
                  </a:lnTo>
                  <a:lnTo>
                    <a:pt x="295" y="827"/>
                  </a:lnTo>
                  <a:lnTo>
                    <a:pt x="296" y="832"/>
                  </a:lnTo>
                  <a:lnTo>
                    <a:pt x="297" y="827"/>
                  </a:lnTo>
                  <a:lnTo>
                    <a:pt x="301" y="843"/>
                  </a:lnTo>
                  <a:lnTo>
                    <a:pt x="303" y="843"/>
                  </a:lnTo>
                  <a:lnTo>
                    <a:pt x="319" y="879"/>
                  </a:lnTo>
                  <a:lnTo>
                    <a:pt x="320" y="879"/>
                  </a:lnTo>
                  <a:close/>
                  <a:moveTo>
                    <a:pt x="61" y="996"/>
                  </a:moveTo>
                  <a:lnTo>
                    <a:pt x="55" y="310"/>
                  </a:lnTo>
                  <a:lnTo>
                    <a:pt x="117" y="506"/>
                  </a:lnTo>
                  <a:lnTo>
                    <a:pt x="156" y="609"/>
                  </a:lnTo>
                  <a:lnTo>
                    <a:pt x="74" y="947"/>
                  </a:lnTo>
                  <a:lnTo>
                    <a:pt x="73" y="947"/>
                  </a:lnTo>
                  <a:lnTo>
                    <a:pt x="61" y="996"/>
                  </a:lnTo>
                  <a:close/>
                  <a:moveTo>
                    <a:pt x="715" y="4429"/>
                  </a:moveTo>
                  <a:lnTo>
                    <a:pt x="541" y="2726"/>
                  </a:lnTo>
                  <a:lnTo>
                    <a:pt x="371" y="941"/>
                  </a:lnTo>
                  <a:lnTo>
                    <a:pt x="287" y="0"/>
                  </a:lnTo>
                  <a:lnTo>
                    <a:pt x="271" y="11"/>
                  </a:lnTo>
                  <a:lnTo>
                    <a:pt x="263" y="11"/>
                  </a:lnTo>
                  <a:lnTo>
                    <a:pt x="203" y="33"/>
                  </a:lnTo>
                  <a:lnTo>
                    <a:pt x="160" y="49"/>
                  </a:lnTo>
                  <a:lnTo>
                    <a:pt x="151" y="49"/>
                  </a:lnTo>
                  <a:lnTo>
                    <a:pt x="100" y="71"/>
                  </a:lnTo>
                  <a:lnTo>
                    <a:pt x="75" y="75"/>
                  </a:lnTo>
                  <a:lnTo>
                    <a:pt x="24" y="92"/>
                  </a:lnTo>
                  <a:lnTo>
                    <a:pt x="15" y="92"/>
                  </a:lnTo>
                  <a:lnTo>
                    <a:pt x="16" y="1995"/>
                  </a:lnTo>
                  <a:lnTo>
                    <a:pt x="8" y="3947"/>
                  </a:lnTo>
                  <a:lnTo>
                    <a:pt x="0" y="4887"/>
                  </a:lnTo>
                  <a:lnTo>
                    <a:pt x="4" y="4880"/>
                  </a:lnTo>
                  <a:lnTo>
                    <a:pt x="7" y="4883"/>
                  </a:lnTo>
                  <a:lnTo>
                    <a:pt x="15" y="4875"/>
                  </a:lnTo>
                  <a:lnTo>
                    <a:pt x="19" y="4877"/>
                  </a:lnTo>
                  <a:lnTo>
                    <a:pt x="36" y="4867"/>
                  </a:lnTo>
                  <a:lnTo>
                    <a:pt x="39" y="4869"/>
                  </a:lnTo>
                  <a:lnTo>
                    <a:pt x="42" y="4862"/>
                  </a:lnTo>
                  <a:lnTo>
                    <a:pt x="45" y="4864"/>
                  </a:lnTo>
                  <a:lnTo>
                    <a:pt x="46" y="4835"/>
                  </a:lnTo>
                  <a:lnTo>
                    <a:pt x="46" y="4837"/>
                  </a:lnTo>
                  <a:lnTo>
                    <a:pt x="51" y="4800"/>
                  </a:lnTo>
                  <a:lnTo>
                    <a:pt x="52" y="4801"/>
                  </a:lnTo>
                  <a:lnTo>
                    <a:pt x="53" y="4797"/>
                  </a:lnTo>
                  <a:lnTo>
                    <a:pt x="53" y="4798"/>
                  </a:lnTo>
                  <a:lnTo>
                    <a:pt x="60" y="4758"/>
                  </a:lnTo>
                  <a:lnTo>
                    <a:pt x="60" y="4759"/>
                  </a:lnTo>
                  <a:lnTo>
                    <a:pt x="74" y="4700"/>
                  </a:lnTo>
                  <a:lnTo>
                    <a:pt x="75" y="4691"/>
                  </a:lnTo>
                  <a:lnTo>
                    <a:pt x="76" y="4692"/>
                  </a:lnTo>
                  <a:lnTo>
                    <a:pt x="80" y="4670"/>
                  </a:lnTo>
                  <a:lnTo>
                    <a:pt x="81" y="4671"/>
                  </a:lnTo>
                  <a:lnTo>
                    <a:pt x="82" y="4661"/>
                  </a:lnTo>
                  <a:lnTo>
                    <a:pt x="82" y="4662"/>
                  </a:lnTo>
                  <a:lnTo>
                    <a:pt x="83" y="4653"/>
                  </a:lnTo>
                  <a:lnTo>
                    <a:pt x="84" y="4654"/>
                  </a:lnTo>
                  <a:lnTo>
                    <a:pt x="86" y="4630"/>
                  </a:lnTo>
                  <a:lnTo>
                    <a:pt x="86" y="4631"/>
                  </a:lnTo>
                  <a:lnTo>
                    <a:pt x="89" y="4613"/>
                  </a:lnTo>
                  <a:lnTo>
                    <a:pt x="89" y="4588"/>
                  </a:lnTo>
                  <a:lnTo>
                    <a:pt x="155" y="4559"/>
                  </a:lnTo>
                  <a:lnTo>
                    <a:pt x="187" y="4538"/>
                  </a:lnTo>
                  <a:lnTo>
                    <a:pt x="235" y="4513"/>
                  </a:lnTo>
                  <a:lnTo>
                    <a:pt x="267" y="4491"/>
                  </a:lnTo>
                  <a:lnTo>
                    <a:pt x="315" y="4465"/>
                  </a:lnTo>
                  <a:lnTo>
                    <a:pt x="348" y="4441"/>
                  </a:lnTo>
                  <a:lnTo>
                    <a:pt x="412" y="4404"/>
                  </a:lnTo>
                  <a:lnTo>
                    <a:pt x="461" y="4369"/>
                  </a:lnTo>
                  <a:lnTo>
                    <a:pt x="509" y="4339"/>
                  </a:lnTo>
                  <a:lnTo>
                    <a:pt x="589" y="4281"/>
                  </a:lnTo>
                  <a:lnTo>
                    <a:pt x="606" y="4265"/>
                  </a:lnTo>
                  <a:lnTo>
                    <a:pt x="610" y="4295"/>
                  </a:lnTo>
                  <a:lnTo>
                    <a:pt x="617" y="4315"/>
                  </a:lnTo>
                  <a:lnTo>
                    <a:pt x="619" y="4322"/>
                  </a:lnTo>
                  <a:lnTo>
                    <a:pt x="620" y="4317"/>
                  </a:lnTo>
                  <a:lnTo>
                    <a:pt x="624" y="4337"/>
                  </a:lnTo>
                  <a:lnTo>
                    <a:pt x="627" y="4338"/>
                  </a:lnTo>
                  <a:lnTo>
                    <a:pt x="633" y="4353"/>
                  </a:lnTo>
                  <a:lnTo>
                    <a:pt x="634" y="4353"/>
                  </a:lnTo>
                  <a:lnTo>
                    <a:pt x="637" y="4367"/>
                  </a:lnTo>
                  <a:lnTo>
                    <a:pt x="638" y="4361"/>
                  </a:lnTo>
                  <a:lnTo>
                    <a:pt x="650" y="4391"/>
                  </a:lnTo>
                  <a:lnTo>
                    <a:pt x="651" y="4386"/>
                  </a:lnTo>
                  <a:lnTo>
                    <a:pt x="656" y="4405"/>
                  </a:lnTo>
                  <a:lnTo>
                    <a:pt x="658" y="4401"/>
                  </a:lnTo>
                  <a:lnTo>
                    <a:pt x="656" y="4407"/>
                  </a:lnTo>
                  <a:lnTo>
                    <a:pt x="659" y="4408"/>
                  </a:lnTo>
                  <a:lnTo>
                    <a:pt x="674" y="4466"/>
                  </a:lnTo>
                  <a:lnTo>
                    <a:pt x="685" y="4453"/>
                  </a:lnTo>
                  <a:lnTo>
                    <a:pt x="689" y="4454"/>
                  </a:lnTo>
                  <a:lnTo>
                    <a:pt x="704" y="4438"/>
                  </a:lnTo>
                  <a:lnTo>
                    <a:pt x="707" y="4440"/>
                  </a:lnTo>
                  <a:lnTo>
                    <a:pt x="708" y="4434"/>
                  </a:lnTo>
                  <a:lnTo>
                    <a:pt x="710" y="4437"/>
                  </a:lnTo>
                  <a:lnTo>
                    <a:pt x="715" y="4429"/>
                  </a:lnTo>
                  <a:close/>
                  <a:moveTo>
                    <a:pt x="503" y="2992"/>
                  </a:moveTo>
                  <a:lnTo>
                    <a:pt x="477" y="3011"/>
                  </a:lnTo>
                  <a:lnTo>
                    <a:pt x="463" y="3015"/>
                  </a:lnTo>
                  <a:lnTo>
                    <a:pt x="383" y="3070"/>
                  </a:lnTo>
                  <a:lnTo>
                    <a:pt x="369" y="3073"/>
                  </a:lnTo>
                  <a:lnTo>
                    <a:pt x="274" y="3134"/>
                  </a:lnTo>
                  <a:lnTo>
                    <a:pt x="262" y="3137"/>
                  </a:lnTo>
                  <a:lnTo>
                    <a:pt x="180" y="3185"/>
                  </a:lnTo>
                  <a:lnTo>
                    <a:pt x="166" y="3189"/>
                  </a:lnTo>
                  <a:lnTo>
                    <a:pt x="73" y="3241"/>
                  </a:lnTo>
                  <a:lnTo>
                    <a:pt x="165" y="3029"/>
                  </a:lnTo>
                  <a:lnTo>
                    <a:pt x="170" y="3026"/>
                  </a:lnTo>
                  <a:lnTo>
                    <a:pt x="226" y="2884"/>
                  </a:lnTo>
                  <a:lnTo>
                    <a:pt x="271" y="2775"/>
                  </a:lnTo>
                  <a:lnTo>
                    <a:pt x="280" y="2778"/>
                  </a:lnTo>
                  <a:lnTo>
                    <a:pt x="292" y="2799"/>
                  </a:lnTo>
                  <a:lnTo>
                    <a:pt x="317" y="2821"/>
                  </a:lnTo>
                  <a:lnTo>
                    <a:pt x="363" y="2866"/>
                  </a:lnTo>
                  <a:lnTo>
                    <a:pt x="415" y="2915"/>
                  </a:lnTo>
                  <a:lnTo>
                    <a:pt x="457" y="2955"/>
                  </a:lnTo>
                  <a:lnTo>
                    <a:pt x="476" y="2969"/>
                  </a:lnTo>
                  <a:lnTo>
                    <a:pt x="485" y="2973"/>
                  </a:lnTo>
                  <a:lnTo>
                    <a:pt x="503" y="2992"/>
                  </a:lnTo>
                  <a:close/>
                  <a:moveTo>
                    <a:pt x="424" y="2096"/>
                  </a:moveTo>
                  <a:lnTo>
                    <a:pt x="391" y="2111"/>
                  </a:lnTo>
                  <a:lnTo>
                    <a:pt x="224" y="2207"/>
                  </a:lnTo>
                  <a:lnTo>
                    <a:pt x="179" y="2225"/>
                  </a:lnTo>
                  <a:lnTo>
                    <a:pt x="68" y="2282"/>
                  </a:lnTo>
                  <a:lnTo>
                    <a:pt x="79" y="2296"/>
                  </a:lnTo>
                  <a:lnTo>
                    <a:pt x="83" y="2297"/>
                  </a:lnTo>
                  <a:lnTo>
                    <a:pt x="91" y="2316"/>
                  </a:lnTo>
                  <a:lnTo>
                    <a:pt x="113" y="2344"/>
                  </a:lnTo>
                  <a:lnTo>
                    <a:pt x="116" y="2354"/>
                  </a:lnTo>
                  <a:lnTo>
                    <a:pt x="127" y="2363"/>
                  </a:lnTo>
                  <a:lnTo>
                    <a:pt x="148" y="2391"/>
                  </a:lnTo>
                  <a:lnTo>
                    <a:pt x="151" y="2403"/>
                  </a:lnTo>
                  <a:lnTo>
                    <a:pt x="162" y="2411"/>
                  </a:lnTo>
                  <a:lnTo>
                    <a:pt x="190" y="2451"/>
                  </a:lnTo>
                  <a:lnTo>
                    <a:pt x="190" y="2452"/>
                  </a:lnTo>
                  <a:lnTo>
                    <a:pt x="191" y="2447"/>
                  </a:lnTo>
                  <a:lnTo>
                    <a:pt x="199" y="2461"/>
                  </a:lnTo>
                  <a:lnTo>
                    <a:pt x="199" y="2465"/>
                  </a:lnTo>
                  <a:lnTo>
                    <a:pt x="201" y="2461"/>
                  </a:lnTo>
                  <a:lnTo>
                    <a:pt x="209" y="2474"/>
                  </a:lnTo>
                  <a:lnTo>
                    <a:pt x="211" y="2469"/>
                  </a:lnTo>
                  <a:lnTo>
                    <a:pt x="214" y="2481"/>
                  </a:lnTo>
                  <a:lnTo>
                    <a:pt x="219" y="2488"/>
                  </a:lnTo>
                  <a:lnTo>
                    <a:pt x="221" y="2483"/>
                  </a:lnTo>
                  <a:lnTo>
                    <a:pt x="228" y="2502"/>
                  </a:lnTo>
                  <a:lnTo>
                    <a:pt x="229" y="2497"/>
                  </a:lnTo>
                  <a:lnTo>
                    <a:pt x="240" y="2517"/>
                  </a:lnTo>
                  <a:lnTo>
                    <a:pt x="244" y="2518"/>
                  </a:lnTo>
                  <a:lnTo>
                    <a:pt x="253" y="2532"/>
                  </a:lnTo>
                  <a:lnTo>
                    <a:pt x="255" y="2533"/>
                  </a:lnTo>
                  <a:lnTo>
                    <a:pt x="256" y="2538"/>
                  </a:lnTo>
                  <a:lnTo>
                    <a:pt x="257" y="2538"/>
                  </a:lnTo>
                  <a:lnTo>
                    <a:pt x="257" y="2533"/>
                  </a:lnTo>
                  <a:lnTo>
                    <a:pt x="262" y="2539"/>
                  </a:lnTo>
                  <a:lnTo>
                    <a:pt x="302" y="2431"/>
                  </a:lnTo>
                  <a:lnTo>
                    <a:pt x="351" y="2296"/>
                  </a:lnTo>
                  <a:lnTo>
                    <a:pt x="384" y="2211"/>
                  </a:lnTo>
                  <a:lnTo>
                    <a:pt x="421" y="2101"/>
                  </a:lnTo>
                  <a:lnTo>
                    <a:pt x="424" y="2096"/>
                  </a:lnTo>
                  <a:close/>
                  <a:moveTo>
                    <a:pt x="493" y="2878"/>
                  </a:moveTo>
                  <a:lnTo>
                    <a:pt x="434" y="2203"/>
                  </a:lnTo>
                  <a:lnTo>
                    <a:pt x="338" y="2520"/>
                  </a:lnTo>
                  <a:lnTo>
                    <a:pt x="325" y="2565"/>
                  </a:lnTo>
                  <a:lnTo>
                    <a:pt x="323" y="2564"/>
                  </a:lnTo>
                  <a:lnTo>
                    <a:pt x="299" y="2640"/>
                  </a:lnTo>
                  <a:lnTo>
                    <a:pt x="397" y="2769"/>
                  </a:lnTo>
                  <a:lnTo>
                    <a:pt x="407" y="2778"/>
                  </a:lnTo>
                  <a:lnTo>
                    <a:pt x="419" y="2794"/>
                  </a:lnTo>
                  <a:lnTo>
                    <a:pt x="437" y="2811"/>
                  </a:lnTo>
                  <a:lnTo>
                    <a:pt x="444" y="2825"/>
                  </a:lnTo>
                  <a:lnTo>
                    <a:pt x="449" y="2827"/>
                  </a:lnTo>
                  <a:lnTo>
                    <a:pt x="454" y="2835"/>
                  </a:lnTo>
                  <a:lnTo>
                    <a:pt x="458" y="2836"/>
                  </a:lnTo>
                  <a:lnTo>
                    <a:pt x="460" y="2842"/>
                  </a:lnTo>
                  <a:lnTo>
                    <a:pt x="462" y="2838"/>
                  </a:lnTo>
                  <a:lnTo>
                    <a:pt x="481" y="2867"/>
                  </a:lnTo>
                  <a:lnTo>
                    <a:pt x="482" y="2863"/>
                  </a:lnTo>
                  <a:lnTo>
                    <a:pt x="493" y="2878"/>
                  </a:lnTo>
                  <a:close/>
                  <a:moveTo>
                    <a:pt x="73" y="3115"/>
                  </a:moveTo>
                  <a:lnTo>
                    <a:pt x="70" y="2399"/>
                  </a:lnTo>
                  <a:lnTo>
                    <a:pt x="103" y="2462"/>
                  </a:lnTo>
                  <a:lnTo>
                    <a:pt x="126" y="2495"/>
                  </a:lnTo>
                  <a:lnTo>
                    <a:pt x="128" y="2506"/>
                  </a:lnTo>
                  <a:lnTo>
                    <a:pt x="132" y="2507"/>
                  </a:lnTo>
                  <a:lnTo>
                    <a:pt x="141" y="2525"/>
                  </a:lnTo>
                  <a:lnTo>
                    <a:pt x="145" y="2527"/>
                  </a:lnTo>
                  <a:lnTo>
                    <a:pt x="147" y="2538"/>
                  </a:lnTo>
                  <a:lnTo>
                    <a:pt x="170" y="2571"/>
                  </a:lnTo>
                  <a:lnTo>
                    <a:pt x="203" y="2625"/>
                  </a:lnTo>
                  <a:lnTo>
                    <a:pt x="205" y="2631"/>
                  </a:lnTo>
                  <a:lnTo>
                    <a:pt x="207" y="2627"/>
                  </a:lnTo>
                  <a:lnTo>
                    <a:pt x="227" y="2666"/>
                  </a:lnTo>
                  <a:lnTo>
                    <a:pt x="229" y="2661"/>
                  </a:lnTo>
                  <a:lnTo>
                    <a:pt x="235" y="2674"/>
                  </a:lnTo>
                  <a:lnTo>
                    <a:pt x="194" y="2791"/>
                  </a:lnTo>
                  <a:lnTo>
                    <a:pt x="112" y="3018"/>
                  </a:lnTo>
                  <a:lnTo>
                    <a:pt x="111" y="3016"/>
                  </a:lnTo>
                  <a:lnTo>
                    <a:pt x="102" y="3042"/>
                  </a:lnTo>
                  <a:lnTo>
                    <a:pt x="95" y="3058"/>
                  </a:lnTo>
                  <a:lnTo>
                    <a:pt x="85" y="3087"/>
                  </a:lnTo>
                  <a:lnTo>
                    <a:pt x="84" y="3086"/>
                  </a:lnTo>
                  <a:lnTo>
                    <a:pt x="75" y="3115"/>
                  </a:lnTo>
                  <a:lnTo>
                    <a:pt x="73" y="3115"/>
                  </a:lnTo>
                  <a:close/>
                  <a:moveTo>
                    <a:pt x="598" y="4020"/>
                  </a:moveTo>
                  <a:lnTo>
                    <a:pt x="549" y="4053"/>
                  </a:lnTo>
                  <a:lnTo>
                    <a:pt x="533" y="4070"/>
                  </a:lnTo>
                  <a:lnTo>
                    <a:pt x="354" y="4187"/>
                  </a:lnTo>
                  <a:lnTo>
                    <a:pt x="255" y="4244"/>
                  </a:lnTo>
                  <a:lnTo>
                    <a:pt x="223" y="4267"/>
                  </a:lnTo>
                  <a:lnTo>
                    <a:pt x="107" y="4325"/>
                  </a:lnTo>
                  <a:lnTo>
                    <a:pt x="91" y="4339"/>
                  </a:lnTo>
                  <a:lnTo>
                    <a:pt x="75" y="4346"/>
                  </a:lnTo>
                  <a:lnTo>
                    <a:pt x="140" y="4219"/>
                  </a:lnTo>
                  <a:lnTo>
                    <a:pt x="167" y="4158"/>
                  </a:lnTo>
                  <a:lnTo>
                    <a:pt x="216" y="4066"/>
                  </a:lnTo>
                  <a:lnTo>
                    <a:pt x="242" y="4008"/>
                  </a:lnTo>
                  <a:lnTo>
                    <a:pt x="257" y="3977"/>
                  </a:lnTo>
                  <a:lnTo>
                    <a:pt x="320" y="3834"/>
                  </a:lnTo>
                  <a:lnTo>
                    <a:pt x="334" y="3852"/>
                  </a:lnTo>
                  <a:lnTo>
                    <a:pt x="339" y="3855"/>
                  </a:lnTo>
                  <a:lnTo>
                    <a:pt x="343" y="3853"/>
                  </a:lnTo>
                  <a:lnTo>
                    <a:pt x="353" y="3864"/>
                  </a:lnTo>
                  <a:lnTo>
                    <a:pt x="401" y="3899"/>
                  </a:lnTo>
                  <a:lnTo>
                    <a:pt x="415" y="3912"/>
                  </a:lnTo>
                  <a:lnTo>
                    <a:pt x="420" y="3910"/>
                  </a:lnTo>
                  <a:lnTo>
                    <a:pt x="430" y="3922"/>
                  </a:lnTo>
                  <a:lnTo>
                    <a:pt x="435" y="3920"/>
                  </a:lnTo>
                  <a:lnTo>
                    <a:pt x="449" y="3934"/>
                  </a:lnTo>
                  <a:lnTo>
                    <a:pt x="458" y="3939"/>
                  </a:lnTo>
                  <a:lnTo>
                    <a:pt x="464" y="3947"/>
                  </a:lnTo>
                  <a:lnTo>
                    <a:pt x="468" y="3945"/>
                  </a:lnTo>
                  <a:lnTo>
                    <a:pt x="473" y="3949"/>
                  </a:lnTo>
                  <a:lnTo>
                    <a:pt x="476" y="3955"/>
                  </a:lnTo>
                  <a:lnTo>
                    <a:pt x="478" y="3951"/>
                  </a:lnTo>
                  <a:lnTo>
                    <a:pt x="479" y="3957"/>
                  </a:lnTo>
                  <a:lnTo>
                    <a:pt x="481" y="3953"/>
                  </a:lnTo>
                  <a:lnTo>
                    <a:pt x="482" y="3959"/>
                  </a:lnTo>
                  <a:lnTo>
                    <a:pt x="485" y="3955"/>
                  </a:lnTo>
                  <a:lnTo>
                    <a:pt x="486" y="3961"/>
                  </a:lnTo>
                  <a:lnTo>
                    <a:pt x="487" y="3957"/>
                  </a:lnTo>
                  <a:lnTo>
                    <a:pt x="561" y="4002"/>
                  </a:lnTo>
                  <a:lnTo>
                    <a:pt x="564" y="3999"/>
                  </a:lnTo>
                  <a:lnTo>
                    <a:pt x="577" y="4013"/>
                  </a:lnTo>
                  <a:lnTo>
                    <a:pt x="595" y="4024"/>
                  </a:lnTo>
                  <a:lnTo>
                    <a:pt x="598" y="4020"/>
                  </a:lnTo>
                  <a:close/>
                  <a:moveTo>
                    <a:pt x="515" y="3107"/>
                  </a:moveTo>
                  <a:lnTo>
                    <a:pt x="281" y="3253"/>
                  </a:lnTo>
                  <a:lnTo>
                    <a:pt x="73" y="3364"/>
                  </a:lnTo>
                  <a:lnTo>
                    <a:pt x="82" y="3368"/>
                  </a:lnTo>
                  <a:lnTo>
                    <a:pt x="103" y="3396"/>
                  </a:lnTo>
                  <a:lnTo>
                    <a:pt x="149" y="3447"/>
                  </a:lnTo>
                  <a:lnTo>
                    <a:pt x="192" y="3491"/>
                  </a:lnTo>
                  <a:lnTo>
                    <a:pt x="212" y="3512"/>
                  </a:lnTo>
                  <a:lnTo>
                    <a:pt x="216" y="3520"/>
                  </a:lnTo>
                  <a:lnTo>
                    <a:pt x="238" y="3531"/>
                  </a:lnTo>
                  <a:lnTo>
                    <a:pt x="244" y="3545"/>
                  </a:lnTo>
                  <a:lnTo>
                    <a:pt x="262" y="3555"/>
                  </a:lnTo>
                  <a:lnTo>
                    <a:pt x="269" y="3570"/>
                  </a:lnTo>
                  <a:lnTo>
                    <a:pt x="290" y="3582"/>
                  </a:lnTo>
                  <a:lnTo>
                    <a:pt x="301" y="3598"/>
                  </a:lnTo>
                  <a:lnTo>
                    <a:pt x="310" y="3602"/>
                  </a:lnTo>
                  <a:lnTo>
                    <a:pt x="312" y="3589"/>
                  </a:lnTo>
                  <a:lnTo>
                    <a:pt x="351" y="3505"/>
                  </a:lnTo>
                  <a:lnTo>
                    <a:pt x="371" y="3454"/>
                  </a:lnTo>
                  <a:lnTo>
                    <a:pt x="446" y="3281"/>
                  </a:lnTo>
                  <a:lnTo>
                    <a:pt x="502" y="3133"/>
                  </a:lnTo>
                  <a:lnTo>
                    <a:pt x="515" y="3107"/>
                  </a:lnTo>
                  <a:close/>
                  <a:moveTo>
                    <a:pt x="587" y="3907"/>
                  </a:moveTo>
                  <a:lnTo>
                    <a:pt x="524" y="3216"/>
                  </a:lnTo>
                  <a:lnTo>
                    <a:pt x="467" y="3386"/>
                  </a:lnTo>
                  <a:lnTo>
                    <a:pt x="445" y="3452"/>
                  </a:lnTo>
                  <a:lnTo>
                    <a:pt x="361" y="3679"/>
                  </a:lnTo>
                  <a:lnTo>
                    <a:pt x="355" y="3696"/>
                  </a:lnTo>
                  <a:lnTo>
                    <a:pt x="354" y="3695"/>
                  </a:lnTo>
                  <a:lnTo>
                    <a:pt x="383" y="3722"/>
                  </a:lnTo>
                  <a:lnTo>
                    <a:pt x="427" y="3769"/>
                  </a:lnTo>
                  <a:lnTo>
                    <a:pt x="432" y="3767"/>
                  </a:lnTo>
                  <a:lnTo>
                    <a:pt x="478" y="3815"/>
                  </a:lnTo>
                  <a:lnTo>
                    <a:pt x="490" y="3822"/>
                  </a:lnTo>
                  <a:lnTo>
                    <a:pt x="506" y="3842"/>
                  </a:lnTo>
                  <a:lnTo>
                    <a:pt x="517" y="3849"/>
                  </a:lnTo>
                  <a:lnTo>
                    <a:pt x="529" y="3861"/>
                  </a:lnTo>
                  <a:lnTo>
                    <a:pt x="540" y="3868"/>
                  </a:lnTo>
                  <a:lnTo>
                    <a:pt x="544" y="3875"/>
                  </a:lnTo>
                  <a:lnTo>
                    <a:pt x="559" y="3885"/>
                  </a:lnTo>
                  <a:lnTo>
                    <a:pt x="564" y="3893"/>
                  </a:lnTo>
                  <a:lnTo>
                    <a:pt x="566" y="3888"/>
                  </a:lnTo>
                  <a:lnTo>
                    <a:pt x="573" y="3898"/>
                  </a:lnTo>
                  <a:lnTo>
                    <a:pt x="585" y="3904"/>
                  </a:lnTo>
                  <a:lnTo>
                    <a:pt x="586" y="3911"/>
                  </a:lnTo>
                  <a:lnTo>
                    <a:pt x="587" y="3907"/>
                  </a:lnTo>
                  <a:close/>
                  <a:moveTo>
                    <a:pt x="75" y="4223"/>
                  </a:moveTo>
                  <a:lnTo>
                    <a:pt x="74" y="3482"/>
                  </a:lnTo>
                  <a:lnTo>
                    <a:pt x="90" y="3507"/>
                  </a:lnTo>
                  <a:lnTo>
                    <a:pt x="118" y="3546"/>
                  </a:lnTo>
                  <a:lnTo>
                    <a:pt x="153" y="3593"/>
                  </a:lnTo>
                  <a:lnTo>
                    <a:pt x="163" y="3609"/>
                  </a:lnTo>
                  <a:lnTo>
                    <a:pt x="171" y="3612"/>
                  </a:lnTo>
                  <a:lnTo>
                    <a:pt x="178" y="3622"/>
                  </a:lnTo>
                  <a:lnTo>
                    <a:pt x="180" y="3634"/>
                  </a:lnTo>
                  <a:lnTo>
                    <a:pt x="187" y="3637"/>
                  </a:lnTo>
                  <a:lnTo>
                    <a:pt x="202" y="3656"/>
                  </a:lnTo>
                  <a:lnTo>
                    <a:pt x="233" y="3689"/>
                  </a:lnTo>
                  <a:lnTo>
                    <a:pt x="241" y="3705"/>
                  </a:lnTo>
                  <a:lnTo>
                    <a:pt x="248" y="3708"/>
                  </a:lnTo>
                  <a:lnTo>
                    <a:pt x="258" y="3725"/>
                  </a:lnTo>
                  <a:lnTo>
                    <a:pt x="275" y="3740"/>
                  </a:lnTo>
                  <a:lnTo>
                    <a:pt x="228" y="3863"/>
                  </a:lnTo>
                  <a:lnTo>
                    <a:pt x="191" y="3950"/>
                  </a:lnTo>
                  <a:lnTo>
                    <a:pt x="89" y="4194"/>
                  </a:lnTo>
                  <a:lnTo>
                    <a:pt x="77" y="4219"/>
                  </a:lnTo>
                  <a:lnTo>
                    <a:pt x="75" y="4223"/>
                  </a:lnTo>
                  <a:close/>
                  <a:moveTo>
                    <a:pt x="415" y="1980"/>
                  </a:moveTo>
                  <a:lnTo>
                    <a:pt x="381" y="2002"/>
                  </a:lnTo>
                  <a:lnTo>
                    <a:pt x="360" y="2010"/>
                  </a:lnTo>
                  <a:lnTo>
                    <a:pt x="305" y="2044"/>
                  </a:lnTo>
                  <a:lnTo>
                    <a:pt x="284" y="2052"/>
                  </a:lnTo>
                  <a:lnTo>
                    <a:pt x="241" y="2078"/>
                  </a:lnTo>
                  <a:lnTo>
                    <a:pt x="220" y="2087"/>
                  </a:lnTo>
                  <a:lnTo>
                    <a:pt x="176" y="2111"/>
                  </a:lnTo>
                  <a:lnTo>
                    <a:pt x="165" y="2112"/>
                  </a:lnTo>
                  <a:lnTo>
                    <a:pt x="111" y="2144"/>
                  </a:lnTo>
                  <a:lnTo>
                    <a:pt x="89" y="2150"/>
                  </a:lnTo>
                  <a:lnTo>
                    <a:pt x="68" y="2162"/>
                  </a:lnTo>
                  <a:lnTo>
                    <a:pt x="151" y="1937"/>
                  </a:lnTo>
                  <a:lnTo>
                    <a:pt x="175" y="1875"/>
                  </a:lnTo>
                  <a:lnTo>
                    <a:pt x="224" y="1731"/>
                  </a:lnTo>
                  <a:lnTo>
                    <a:pt x="228" y="1732"/>
                  </a:lnTo>
                  <a:lnTo>
                    <a:pt x="231" y="1743"/>
                  </a:lnTo>
                  <a:lnTo>
                    <a:pt x="238" y="1749"/>
                  </a:lnTo>
                  <a:lnTo>
                    <a:pt x="262" y="1786"/>
                  </a:lnTo>
                  <a:lnTo>
                    <a:pt x="266" y="1787"/>
                  </a:lnTo>
                  <a:lnTo>
                    <a:pt x="269" y="1797"/>
                  </a:lnTo>
                  <a:lnTo>
                    <a:pt x="274" y="1800"/>
                  </a:lnTo>
                  <a:lnTo>
                    <a:pt x="293" y="1829"/>
                  </a:lnTo>
                  <a:lnTo>
                    <a:pt x="317" y="1861"/>
                  </a:lnTo>
                  <a:lnTo>
                    <a:pt x="327" y="1874"/>
                  </a:lnTo>
                  <a:lnTo>
                    <a:pt x="331" y="1875"/>
                  </a:lnTo>
                  <a:lnTo>
                    <a:pt x="344" y="1900"/>
                  </a:lnTo>
                  <a:lnTo>
                    <a:pt x="350" y="1901"/>
                  </a:lnTo>
                  <a:lnTo>
                    <a:pt x="396" y="1960"/>
                  </a:lnTo>
                  <a:lnTo>
                    <a:pt x="411" y="1980"/>
                  </a:lnTo>
                  <a:lnTo>
                    <a:pt x="415" y="1980"/>
                  </a:lnTo>
                  <a:close/>
                  <a:moveTo>
                    <a:pt x="339" y="1096"/>
                  </a:moveTo>
                  <a:lnTo>
                    <a:pt x="279" y="1128"/>
                  </a:lnTo>
                  <a:lnTo>
                    <a:pt x="218" y="1152"/>
                  </a:lnTo>
                  <a:lnTo>
                    <a:pt x="209" y="1161"/>
                  </a:lnTo>
                  <a:lnTo>
                    <a:pt x="130" y="1192"/>
                  </a:lnTo>
                  <a:lnTo>
                    <a:pt x="114" y="1204"/>
                  </a:lnTo>
                  <a:lnTo>
                    <a:pt x="62" y="1224"/>
                  </a:lnTo>
                  <a:lnTo>
                    <a:pt x="138" y="1373"/>
                  </a:lnTo>
                  <a:lnTo>
                    <a:pt x="166" y="1422"/>
                  </a:lnTo>
                  <a:lnTo>
                    <a:pt x="177" y="1439"/>
                  </a:lnTo>
                  <a:lnTo>
                    <a:pt x="186" y="1461"/>
                  </a:lnTo>
                  <a:lnTo>
                    <a:pt x="188" y="1457"/>
                  </a:lnTo>
                  <a:lnTo>
                    <a:pt x="202" y="1483"/>
                  </a:lnTo>
                  <a:lnTo>
                    <a:pt x="214" y="1502"/>
                  </a:lnTo>
                  <a:lnTo>
                    <a:pt x="303" y="1217"/>
                  </a:lnTo>
                  <a:lnTo>
                    <a:pt x="339" y="1096"/>
                  </a:lnTo>
                  <a:close/>
                  <a:moveTo>
                    <a:pt x="404" y="1871"/>
                  </a:moveTo>
                  <a:lnTo>
                    <a:pt x="347" y="1209"/>
                  </a:lnTo>
                  <a:lnTo>
                    <a:pt x="260" y="1557"/>
                  </a:lnTo>
                  <a:lnTo>
                    <a:pt x="257" y="1561"/>
                  </a:lnTo>
                  <a:lnTo>
                    <a:pt x="249" y="1593"/>
                  </a:lnTo>
                  <a:lnTo>
                    <a:pt x="248" y="1593"/>
                  </a:lnTo>
                  <a:lnTo>
                    <a:pt x="247" y="1599"/>
                  </a:lnTo>
                  <a:lnTo>
                    <a:pt x="247" y="1597"/>
                  </a:lnTo>
                  <a:lnTo>
                    <a:pt x="246" y="1603"/>
                  </a:lnTo>
                  <a:lnTo>
                    <a:pt x="270" y="1649"/>
                  </a:lnTo>
                  <a:lnTo>
                    <a:pt x="300" y="1701"/>
                  </a:lnTo>
                  <a:lnTo>
                    <a:pt x="327" y="1748"/>
                  </a:lnTo>
                  <a:lnTo>
                    <a:pt x="366" y="1809"/>
                  </a:lnTo>
                  <a:lnTo>
                    <a:pt x="402" y="1865"/>
                  </a:lnTo>
                  <a:lnTo>
                    <a:pt x="404" y="1871"/>
                  </a:lnTo>
                  <a:close/>
                  <a:moveTo>
                    <a:pt x="68" y="2040"/>
                  </a:moveTo>
                  <a:lnTo>
                    <a:pt x="64" y="1343"/>
                  </a:lnTo>
                  <a:lnTo>
                    <a:pt x="103" y="1433"/>
                  </a:lnTo>
                  <a:lnTo>
                    <a:pt x="111" y="1454"/>
                  </a:lnTo>
                  <a:lnTo>
                    <a:pt x="160" y="1558"/>
                  </a:lnTo>
                  <a:lnTo>
                    <a:pt x="177" y="1591"/>
                  </a:lnTo>
                  <a:lnTo>
                    <a:pt x="177" y="1596"/>
                  </a:lnTo>
                  <a:lnTo>
                    <a:pt x="179" y="1591"/>
                  </a:lnTo>
                  <a:lnTo>
                    <a:pt x="189" y="1618"/>
                  </a:lnTo>
                  <a:lnTo>
                    <a:pt x="190" y="1614"/>
                  </a:lnTo>
                  <a:lnTo>
                    <a:pt x="194" y="1624"/>
                  </a:lnTo>
                  <a:lnTo>
                    <a:pt x="193" y="1639"/>
                  </a:lnTo>
                  <a:lnTo>
                    <a:pt x="150" y="1775"/>
                  </a:lnTo>
                  <a:lnTo>
                    <a:pt x="90" y="1972"/>
                  </a:lnTo>
                  <a:lnTo>
                    <a:pt x="90" y="1970"/>
                  </a:lnTo>
                  <a:lnTo>
                    <a:pt x="73" y="2023"/>
                  </a:lnTo>
                  <a:lnTo>
                    <a:pt x="68" y="2040"/>
                  </a:lnTo>
                  <a:close/>
                  <a:moveTo>
                    <a:pt x="329" y="986"/>
                  </a:moveTo>
                  <a:lnTo>
                    <a:pt x="204" y="1043"/>
                  </a:lnTo>
                  <a:lnTo>
                    <a:pt x="195" y="1051"/>
                  </a:lnTo>
                  <a:lnTo>
                    <a:pt x="187" y="1050"/>
                  </a:lnTo>
                  <a:lnTo>
                    <a:pt x="170" y="1062"/>
                  </a:lnTo>
                  <a:lnTo>
                    <a:pt x="162" y="1061"/>
                  </a:lnTo>
                  <a:lnTo>
                    <a:pt x="145" y="1073"/>
                  </a:lnTo>
                  <a:lnTo>
                    <a:pt x="61" y="1110"/>
                  </a:lnTo>
                  <a:lnTo>
                    <a:pt x="64" y="1095"/>
                  </a:lnTo>
                  <a:lnTo>
                    <a:pt x="75" y="1067"/>
                  </a:lnTo>
                  <a:lnTo>
                    <a:pt x="106" y="961"/>
                  </a:lnTo>
                  <a:lnTo>
                    <a:pt x="156" y="803"/>
                  </a:lnTo>
                  <a:lnTo>
                    <a:pt x="174" y="732"/>
                  </a:lnTo>
                  <a:lnTo>
                    <a:pt x="175" y="732"/>
                  </a:lnTo>
                  <a:lnTo>
                    <a:pt x="179" y="713"/>
                  </a:lnTo>
                  <a:lnTo>
                    <a:pt x="201" y="759"/>
                  </a:lnTo>
                  <a:lnTo>
                    <a:pt x="203" y="759"/>
                  </a:lnTo>
                  <a:lnTo>
                    <a:pt x="225" y="805"/>
                  </a:lnTo>
                  <a:lnTo>
                    <a:pt x="226" y="805"/>
                  </a:lnTo>
                  <a:lnTo>
                    <a:pt x="255" y="862"/>
                  </a:lnTo>
                  <a:lnTo>
                    <a:pt x="258" y="862"/>
                  </a:lnTo>
                  <a:lnTo>
                    <a:pt x="281" y="905"/>
                  </a:lnTo>
                  <a:lnTo>
                    <a:pt x="283" y="905"/>
                  </a:lnTo>
                  <a:lnTo>
                    <a:pt x="327" y="985"/>
                  </a:lnTo>
                  <a:lnTo>
                    <a:pt x="329" y="986"/>
                  </a:lnTo>
                  <a:close/>
                  <a:moveTo>
                    <a:pt x="258" y="124"/>
                  </a:moveTo>
                  <a:lnTo>
                    <a:pt x="240" y="134"/>
                  </a:lnTo>
                  <a:lnTo>
                    <a:pt x="227" y="134"/>
                  </a:lnTo>
                  <a:lnTo>
                    <a:pt x="194" y="149"/>
                  </a:lnTo>
                  <a:lnTo>
                    <a:pt x="188" y="149"/>
                  </a:lnTo>
                  <a:lnTo>
                    <a:pt x="168" y="160"/>
                  </a:lnTo>
                  <a:lnTo>
                    <a:pt x="130" y="170"/>
                  </a:lnTo>
                  <a:lnTo>
                    <a:pt x="111" y="179"/>
                  </a:lnTo>
                  <a:lnTo>
                    <a:pt x="91" y="185"/>
                  </a:lnTo>
                  <a:lnTo>
                    <a:pt x="86" y="190"/>
                  </a:lnTo>
                  <a:lnTo>
                    <a:pt x="73" y="189"/>
                  </a:lnTo>
                  <a:lnTo>
                    <a:pt x="54" y="199"/>
                  </a:lnTo>
                  <a:lnTo>
                    <a:pt x="140" y="425"/>
                  </a:lnTo>
                  <a:lnTo>
                    <a:pt x="141" y="420"/>
                  </a:lnTo>
                  <a:lnTo>
                    <a:pt x="155" y="459"/>
                  </a:lnTo>
                  <a:lnTo>
                    <a:pt x="156" y="459"/>
                  </a:lnTo>
                  <a:lnTo>
                    <a:pt x="170" y="493"/>
                  </a:lnTo>
                  <a:lnTo>
                    <a:pt x="236" y="222"/>
                  </a:lnTo>
                  <a:lnTo>
                    <a:pt x="258" y="124"/>
                  </a:lnTo>
                  <a:close/>
                </a:path>
              </a:pathLst>
            </a:custGeom>
            <a:solidFill>
              <a:srgbClr val="80808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1" name="Freeform 189"/>
            <p:cNvSpPr>
              <a:spLocks noEditPoints="1"/>
            </p:cNvSpPr>
            <p:nvPr/>
          </p:nvSpPr>
          <p:spPr bwMode="auto">
            <a:xfrm>
              <a:off x="664" y="2527"/>
              <a:ext cx="191" cy="1220"/>
            </a:xfrm>
            <a:custGeom>
              <a:avLst/>
              <a:gdLst>
                <a:gd name="T0" fmla="*/ 0 w 761"/>
                <a:gd name="T1" fmla="*/ 0 h 4883"/>
                <a:gd name="T2" fmla="*/ 0 w 761"/>
                <a:gd name="T3" fmla="*/ 0 h 4883"/>
                <a:gd name="T4" fmla="*/ 0 w 761"/>
                <a:gd name="T5" fmla="*/ 0 h 4883"/>
                <a:gd name="T6" fmla="*/ 0 w 761"/>
                <a:gd name="T7" fmla="*/ 0 h 4883"/>
                <a:gd name="T8" fmla="*/ 0 w 761"/>
                <a:gd name="T9" fmla="*/ 0 h 4883"/>
                <a:gd name="T10" fmla="*/ 0 w 761"/>
                <a:gd name="T11" fmla="*/ 0 h 4883"/>
                <a:gd name="T12" fmla="*/ 0 w 761"/>
                <a:gd name="T13" fmla="*/ 0 h 4883"/>
                <a:gd name="T14" fmla="*/ 0 w 761"/>
                <a:gd name="T15" fmla="*/ 0 h 4883"/>
                <a:gd name="T16" fmla="*/ 0 w 761"/>
                <a:gd name="T17" fmla="*/ 0 h 4883"/>
                <a:gd name="T18" fmla="*/ 0 w 761"/>
                <a:gd name="T19" fmla="*/ 0 h 4883"/>
                <a:gd name="T20" fmla="*/ 0 w 761"/>
                <a:gd name="T21" fmla="*/ 0 h 4883"/>
                <a:gd name="T22" fmla="*/ 0 w 761"/>
                <a:gd name="T23" fmla="*/ 0 h 4883"/>
                <a:gd name="T24" fmla="*/ 0 w 761"/>
                <a:gd name="T25" fmla="*/ 0 h 4883"/>
                <a:gd name="T26" fmla="*/ 0 w 761"/>
                <a:gd name="T27" fmla="*/ 0 h 4883"/>
                <a:gd name="T28" fmla="*/ 0 w 761"/>
                <a:gd name="T29" fmla="*/ 0 h 4883"/>
                <a:gd name="T30" fmla="*/ 0 w 761"/>
                <a:gd name="T31" fmla="*/ 0 h 4883"/>
                <a:gd name="T32" fmla="*/ 0 w 761"/>
                <a:gd name="T33" fmla="*/ 0 h 4883"/>
                <a:gd name="T34" fmla="*/ 0 w 761"/>
                <a:gd name="T35" fmla="*/ 0 h 4883"/>
                <a:gd name="T36" fmla="*/ 0 w 761"/>
                <a:gd name="T37" fmla="*/ 0 h 4883"/>
                <a:gd name="T38" fmla="*/ 0 w 761"/>
                <a:gd name="T39" fmla="*/ 0 h 4883"/>
                <a:gd name="T40" fmla="*/ 0 w 761"/>
                <a:gd name="T41" fmla="*/ 0 h 4883"/>
                <a:gd name="T42" fmla="*/ 0 w 761"/>
                <a:gd name="T43" fmla="*/ 0 h 4883"/>
                <a:gd name="T44" fmla="*/ 0 w 761"/>
                <a:gd name="T45" fmla="*/ 0 h 4883"/>
                <a:gd name="T46" fmla="*/ 0 w 761"/>
                <a:gd name="T47" fmla="*/ 0 h 4883"/>
                <a:gd name="T48" fmla="*/ 0 w 761"/>
                <a:gd name="T49" fmla="*/ 0 h 4883"/>
                <a:gd name="T50" fmla="*/ 0 w 761"/>
                <a:gd name="T51" fmla="*/ 0 h 4883"/>
                <a:gd name="T52" fmla="*/ 0 w 761"/>
                <a:gd name="T53" fmla="*/ 0 h 4883"/>
                <a:gd name="T54" fmla="*/ 0 w 761"/>
                <a:gd name="T55" fmla="*/ 0 h 4883"/>
                <a:gd name="T56" fmla="*/ 0 w 761"/>
                <a:gd name="T57" fmla="*/ 0 h 4883"/>
                <a:gd name="T58" fmla="*/ 0 w 761"/>
                <a:gd name="T59" fmla="*/ 0 h 4883"/>
                <a:gd name="T60" fmla="*/ 0 w 761"/>
                <a:gd name="T61" fmla="*/ 0 h 4883"/>
                <a:gd name="T62" fmla="*/ 0 w 761"/>
                <a:gd name="T63" fmla="*/ 0 h 4883"/>
                <a:gd name="T64" fmla="*/ 0 w 761"/>
                <a:gd name="T65" fmla="*/ 0 h 4883"/>
                <a:gd name="T66" fmla="*/ 0 w 761"/>
                <a:gd name="T67" fmla="*/ 0 h 4883"/>
                <a:gd name="T68" fmla="*/ 0 w 761"/>
                <a:gd name="T69" fmla="*/ 0 h 4883"/>
                <a:gd name="T70" fmla="*/ 0 w 761"/>
                <a:gd name="T71" fmla="*/ 0 h 4883"/>
                <a:gd name="T72" fmla="*/ 0 w 761"/>
                <a:gd name="T73" fmla="*/ 0 h 4883"/>
                <a:gd name="T74" fmla="*/ 0 w 761"/>
                <a:gd name="T75" fmla="*/ 0 h 4883"/>
                <a:gd name="T76" fmla="*/ 0 w 761"/>
                <a:gd name="T77" fmla="*/ 0 h 4883"/>
                <a:gd name="T78" fmla="*/ 0 w 761"/>
                <a:gd name="T79" fmla="*/ 0 h 4883"/>
                <a:gd name="T80" fmla="*/ 0 w 761"/>
                <a:gd name="T81" fmla="*/ 0 h 4883"/>
                <a:gd name="T82" fmla="*/ 0 w 761"/>
                <a:gd name="T83" fmla="*/ 0 h 4883"/>
                <a:gd name="T84" fmla="*/ 0 w 761"/>
                <a:gd name="T85" fmla="*/ 0 h 4883"/>
                <a:gd name="T86" fmla="*/ 0 w 761"/>
                <a:gd name="T87" fmla="*/ 0 h 4883"/>
                <a:gd name="T88" fmla="*/ 0 w 761"/>
                <a:gd name="T89" fmla="*/ 0 h 4883"/>
                <a:gd name="T90" fmla="*/ 0 w 761"/>
                <a:gd name="T91" fmla="*/ 0 h 4883"/>
                <a:gd name="T92" fmla="*/ 0 w 761"/>
                <a:gd name="T93" fmla="*/ 0 h 4883"/>
                <a:gd name="T94" fmla="*/ 0 w 761"/>
                <a:gd name="T95" fmla="*/ 0 h 4883"/>
                <a:gd name="T96" fmla="*/ 0 w 761"/>
                <a:gd name="T97" fmla="*/ 0 h 4883"/>
                <a:gd name="T98" fmla="*/ 0 w 761"/>
                <a:gd name="T99" fmla="*/ 0 h 4883"/>
                <a:gd name="T100" fmla="*/ 0 w 761"/>
                <a:gd name="T101" fmla="*/ 0 h 4883"/>
                <a:gd name="T102" fmla="*/ 0 w 761"/>
                <a:gd name="T103" fmla="*/ 0 h 4883"/>
                <a:gd name="T104" fmla="*/ 0 w 761"/>
                <a:gd name="T105" fmla="*/ 0 h 4883"/>
                <a:gd name="T106" fmla="*/ 0 w 761"/>
                <a:gd name="T107" fmla="*/ 0 h 4883"/>
                <a:gd name="T108" fmla="*/ 0 w 761"/>
                <a:gd name="T109" fmla="*/ 0 h 4883"/>
                <a:gd name="T110" fmla="*/ 0 w 761"/>
                <a:gd name="T111" fmla="*/ 0 h 4883"/>
                <a:gd name="T112" fmla="*/ 0 w 761"/>
                <a:gd name="T113" fmla="*/ 0 h 4883"/>
                <a:gd name="T114" fmla="*/ 0 w 761"/>
                <a:gd name="T115" fmla="*/ 0 h 4883"/>
                <a:gd name="T116" fmla="*/ 0 w 761"/>
                <a:gd name="T117" fmla="*/ 0 h 4883"/>
                <a:gd name="T118" fmla="*/ 0 w 761"/>
                <a:gd name="T119" fmla="*/ 0 h 4883"/>
                <a:gd name="T120" fmla="*/ 0 w 761"/>
                <a:gd name="T121" fmla="*/ 0 h 4883"/>
                <a:gd name="T122" fmla="*/ 0 w 761"/>
                <a:gd name="T123" fmla="*/ 0 h 488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1"/>
                <a:gd name="T187" fmla="*/ 0 h 4883"/>
                <a:gd name="T188" fmla="*/ 761 w 761"/>
                <a:gd name="T189" fmla="*/ 4883 h 488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1" h="4883">
                  <a:moveTo>
                    <a:pt x="429" y="902"/>
                  </a:moveTo>
                  <a:lnTo>
                    <a:pt x="490" y="229"/>
                  </a:lnTo>
                  <a:lnTo>
                    <a:pt x="538" y="475"/>
                  </a:lnTo>
                  <a:lnTo>
                    <a:pt x="566" y="598"/>
                  </a:lnTo>
                  <a:lnTo>
                    <a:pt x="521" y="701"/>
                  </a:lnTo>
                  <a:lnTo>
                    <a:pt x="464" y="827"/>
                  </a:lnTo>
                  <a:lnTo>
                    <a:pt x="447" y="864"/>
                  </a:lnTo>
                  <a:lnTo>
                    <a:pt x="445" y="864"/>
                  </a:lnTo>
                  <a:lnTo>
                    <a:pt x="441" y="881"/>
                  </a:lnTo>
                  <a:lnTo>
                    <a:pt x="438" y="881"/>
                  </a:lnTo>
                  <a:lnTo>
                    <a:pt x="429" y="902"/>
                  </a:lnTo>
                  <a:close/>
                  <a:moveTo>
                    <a:pt x="705" y="990"/>
                  </a:moveTo>
                  <a:lnTo>
                    <a:pt x="717" y="288"/>
                  </a:lnTo>
                  <a:lnTo>
                    <a:pt x="641" y="519"/>
                  </a:lnTo>
                  <a:lnTo>
                    <a:pt x="606" y="611"/>
                  </a:lnTo>
                  <a:lnTo>
                    <a:pt x="648" y="778"/>
                  </a:lnTo>
                  <a:lnTo>
                    <a:pt x="684" y="921"/>
                  </a:lnTo>
                  <a:lnTo>
                    <a:pt x="685" y="920"/>
                  </a:lnTo>
                  <a:lnTo>
                    <a:pt x="694" y="954"/>
                  </a:lnTo>
                  <a:lnTo>
                    <a:pt x="695" y="954"/>
                  </a:lnTo>
                  <a:lnTo>
                    <a:pt x="704" y="991"/>
                  </a:lnTo>
                  <a:lnTo>
                    <a:pt x="705" y="990"/>
                  </a:lnTo>
                  <a:close/>
                  <a:moveTo>
                    <a:pt x="0" y="4466"/>
                  </a:moveTo>
                  <a:lnTo>
                    <a:pt x="202" y="2640"/>
                  </a:lnTo>
                  <a:lnTo>
                    <a:pt x="403" y="690"/>
                  </a:lnTo>
                  <a:lnTo>
                    <a:pt x="471" y="0"/>
                  </a:lnTo>
                  <a:lnTo>
                    <a:pt x="488" y="1"/>
                  </a:lnTo>
                  <a:lnTo>
                    <a:pt x="515" y="13"/>
                  </a:lnTo>
                  <a:lnTo>
                    <a:pt x="534" y="13"/>
                  </a:lnTo>
                  <a:lnTo>
                    <a:pt x="542" y="18"/>
                  </a:lnTo>
                  <a:lnTo>
                    <a:pt x="560" y="19"/>
                  </a:lnTo>
                  <a:lnTo>
                    <a:pt x="587" y="30"/>
                  </a:lnTo>
                  <a:lnTo>
                    <a:pt x="605" y="31"/>
                  </a:lnTo>
                  <a:lnTo>
                    <a:pt x="615" y="37"/>
                  </a:lnTo>
                  <a:lnTo>
                    <a:pt x="633" y="37"/>
                  </a:lnTo>
                  <a:lnTo>
                    <a:pt x="661" y="47"/>
                  </a:lnTo>
                  <a:lnTo>
                    <a:pt x="679" y="49"/>
                  </a:lnTo>
                  <a:lnTo>
                    <a:pt x="689" y="54"/>
                  </a:lnTo>
                  <a:lnTo>
                    <a:pt x="707" y="55"/>
                  </a:lnTo>
                  <a:lnTo>
                    <a:pt x="742" y="66"/>
                  </a:lnTo>
                  <a:lnTo>
                    <a:pt x="752" y="66"/>
                  </a:lnTo>
                  <a:lnTo>
                    <a:pt x="761" y="71"/>
                  </a:lnTo>
                  <a:lnTo>
                    <a:pt x="743" y="1973"/>
                  </a:lnTo>
                  <a:lnTo>
                    <a:pt x="739" y="3934"/>
                  </a:lnTo>
                  <a:lnTo>
                    <a:pt x="743" y="4883"/>
                  </a:lnTo>
                  <a:lnTo>
                    <a:pt x="701" y="4794"/>
                  </a:lnTo>
                  <a:lnTo>
                    <a:pt x="697" y="4796"/>
                  </a:lnTo>
                  <a:lnTo>
                    <a:pt x="695" y="4779"/>
                  </a:lnTo>
                  <a:lnTo>
                    <a:pt x="695" y="4780"/>
                  </a:lnTo>
                  <a:lnTo>
                    <a:pt x="693" y="4757"/>
                  </a:lnTo>
                  <a:lnTo>
                    <a:pt x="693" y="4758"/>
                  </a:lnTo>
                  <a:lnTo>
                    <a:pt x="692" y="4744"/>
                  </a:lnTo>
                  <a:lnTo>
                    <a:pt x="691" y="4745"/>
                  </a:lnTo>
                  <a:lnTo>
                    <a:pt x="690" y="4741"/>
                  </a:lnTo>
                  <a:lnTo>
                    <a:pt x="690" y="4742"/>
                  </a:lnTo>
                  <a:lnTo>
                    <a:pt x="688" y="4724"/>
                  </a:lnTo>
                  <a:lnTo>
                    <a:pt x="687" y="4725"/>
                  </a:lnTo>
                  <a:lnTo>
                    <a:pt x="680" y="4693"/>
                  </a:lnTo>
                  <a:lnTo>
                    <a:pt x="679" y="4694"/>
                  </a:lnTo>
                  <a:lnTo>
                    <a:pt x="680" y="4688"/>
                  </a:lnTo>
                  <a:lnTo>
                    <a:pt x="678" y="4689"/>
                  </a:lnTo>
                  <a:lnTo>
                    <a:pt x="677" y="4681"/>
                  </a:lnTo>
                  <a:lnTo>
                    <a:pt x="677" y="4682"/>
                  </a:lnTo>
                  <a:lnTo>
                    <a:pt x="672" y="4657"/>
                  </a:lnTo>
                  <a:lnTo>
                    <a:pt x="671" y="4658"/>
                  </a:lnTo>
                  <a:lnTo>
                    <a:pt x="669" y="4651"/>
                  </a:lnTo>
                  <a:lnTo>
                    <a:pt x="667" y="4652"/>
                  </a:lnTo>
                  <a:lnTo>
                    <a:pt x="663" y="4622"/>
                  </a:lnTo>
                  <a:lnTo>
                    <a:pt x="661" y="4623"/>
                  </a:lnTo>
                  <a:lnTo>
                    <a:pt x="661" y="4614"/>
                  </a:lnTo>
                  <a:lnTo>
                    <a:pt x="660" y="4615"/>
                  </a:lnTo>
                  <a:lnTo>
                    <a:pt x="656" y="4589"/>
                  </a:lnTo>
                  <a:lnTo>
                    <a:pt x="656" y="4591"/>
                  </a:lnTo>
                  <a:lnTo>
                    <a:pt x="652" y="4559"/>
                  </a:lnTo>
                  <a:lnTo>
                    <a:pt x="651" y="4560"/>
                  </a:lnTo>
                  <a:lnTo>
                    <a:pt x="651" y="4542"/>
                  </a:lnTo>
                  <a:lnTo>
                    <a:pt x="482" y="4477"/>
                  </a:lnTo>
                  <a:lnTo>
                    <a:pt x="331" y="4407"/>
                  </a:lnTo>
                  <a:lnTo>
                    <a:pt x="314" y="4404"/>
                  </a:lnTo>
                  <a:lnTo>
                    <a:pt x="297" y="4391"/>
                  </a:lnTo>
                  <a:lnTo>
                    <a:pt x="281" y="4387"/>
                  </a:lnTo>
                  <a:lnTo>
                    <a:pt x="114" y="4295"/>
                  </a:lnTo>
                  <a:lnTo>
                    <a:pt x="110" y="4324"/>
                  </a:lnTo>
                  <a:lnTo>
                    <a:pt x="110" y="4320"/>
                  </a:lnTo>
                  <a:lnTo>
                    <a:pt x="107" y="4331"/>
                  </a:lnTo>
                  <a:lnTo>
                    <a:pt x="101" y="4345"/>
                  </a:lnTo>
                  <a:lnTo>
                    <a:pt x="98" y="4358"/>
                  </a:lnTo>
                  <a:lnTo>
                    <a:pt x="97" y="4358"/>
                  </a:lnTo>
                  <a:lnTo>
                    <a:pt x="97" y="4354"/>
                  </a:lnTo>
                  <a:lnTo>
                    <a:pt x="92" y="4373"/>
                  </a:lnTo>
                  <a:lnTo>
                    <a:pt x="88" y="4374"/>
                  </a:lnTo>
                  <a:lnTo>
                    <a:pt x="86" y="4382"/>
                  </a:lnTo>
                  <a:lnTo>
                    <a:pt x="85" y="4382"/>
                  </a:lnTo>
                  <a:lnTo>
                    <a:pt x="76" y="4405"/>
                  </a:lnTo>
                  <a:lnTo>
                    <a:pt x="73" y="4406"/>
                  </a:lnTo>
                  <a:lnTo>
                    <a:pt x="70" y="4419"/>
                  </a:lnTo>
                  <a:lnTo>
                    <a:pt x="69" y="4413"/>
                  </a:lnTo>
                  <a:lnTo>
                    <a:pt x="63" y="4434"/>
                  </a:lnTo>
                  <a:lnTo>
                    <a:pt x="49" y="4474"/>
                  </a:lnTo>
                  <a:lnTo>
                    <a:pt x="46" y="4498"/>
                  </a:lnTo>
                  <a:lnTo>
                    <a:pt x="42" y="4495"/>
                  </a:lnTo>
                  <a:lnTo>
                    <a:pt x="40" y="4496"/>
                  </a:lnTo>
                  <a:lnTo>
                    <a:pt x="35" y="4490"/>
                  </a:lnTo>
                  <a:lnTo>
                    <a:pt x="33" y="4491"/>
                  </a:lnTo>
                  <a:lnTo>
                    <a:pt x="19" y="4479"/>
                  </a:lnTo>
                  <a:lnTo>
                    <a:pt x="17" y="4481"/>
                  </a:lnTo>
                  <a:lnTo>
                    <a:pt x="6" y="4472"/>
                  </a:lnTo>
                  <a:lnTo>
                    <a:pt x="5" y="4473"/>
                  </a:lnTo>
                  <a:lnTo>
                    <a:pt x="0" y="4466"/>
                  </a:lnTo>
                  <a:close/>
                  <a:moveTo>
                    <a:pt x="225" y="3034"/>
                  </a:moveTo>
                  <a:lnTo>
                    <a:pt x="295" y="3067"/>
                  </a:lnTo>
                  <a:lnTo>
                    <a:pt x="366" y="3104"/>
                  </a:lnTo>
                  <a:lnTo>
                    <a:pt x="395" y="3115"/>
                  </a:lnTo>
                  <a:lnTo>
                    <a:pt x="407" y="3123"/>
                  </a:lnTo>
                  <a:lnTo>
                    <a:pt x="435" y="3134"/>
                  </a:lnTo>
                  <a:lnTo>
                    <a:pt x="478" y="3152"/>
                  </a:lnTo>
                  <a:lnTo>
                    <a:pt x="549" y="3180"/>
                  </a:lnTo>
                  <a:lnTo>
                    <a:pt x="563" y="3188"/>
                  </a:lnTo>
                  <a:lnTo>
                    <a:pt x="591" y="3196"/>
                  </a:lnTo>
                  <a:lnTo>
                    <a:pt x="647" y="3220"/>
                  </a:lnTo>
                  <a:lnTo>
                    <a:pt x="676" y="3228"/>
                  </a:lnTo>
                  <a:lnTo>
                    <a:pt x="632" y="3141"/>
                  </a:lnTo>
                  <a:lnTo>
                    <a:pt x="628" y="3139"/>
                  </a:lnTo>
                  <a:lnTo>
                    <a:pt x="623" y="3118"/>
                  </a:lnTo>
                  <a:lnTo>
                    <a:pt x="618" y="3116"/>
                  </a:lnTo>
                  <a:lnTo>
                    <a:pt x="580" y="3033"/>
                  </a:lnTo>
                  <a:lnTo>
                    <a:pt x="575" y="3031"/>
                  </a:lnTo>
                  <a:lnTo>
                    <a:pt x="556" y="2981"/>
                  </a:lnTo>
                  <a:lnTo>
                    <a:pt x="538" y="2946"/>
                  </a:lnTo>
                  <a:lnTo>
                    <a:pt x="510" y="2881"/>
                  </a:lnTo>
                  <a:lnTo>
                    <a:pt x="484" y="2824"/>
                  </a:lnTo>
                  <a:lnTo>
                    <a:pt x="469" y="2796"/>
                  </a:lnTo>
                  <a:lnTo>
                    <a:pt x="461" y="2800"/>
                  </a:lnTo>
                  <a:lnTo>
                    <a:pt x="440" y="2830"/>
                  </a:lnTo>
                  <a:lnTo>
                    <a:pt x="430" y="2833"/>
                  </a:lnTo>
                  <a:lnTo>
                    <a:pt x="404" y="2865"/>
                  </a:lnTo>
                  <a:lnTo>
                    <a:pt x="373" y="2894"/>
                  </a:lnTo>
                  <a:lnTo>
                    <a:pt x="355" y="2918"/>
                  </a:lnTo>
                  <a:lnTo>
                    <a:pt x="309" y="2959"/>
                  </a:lnTo>
                  <a:lnTo>
                    <a:pt x="270" y="2997"/>
                  </a:lnTo>
                  <a:lnTo>
                    <a:pt x="264" y="2999"/>
                  </a:lnTo>
                  <a:lnTo>
                    <a:pt x="258" y="3008"/>
                  </a:lnTo>
                  <a:lnTo>
                    <a:pt x="245" y="3015"/>
                  </a:lnTo>
                  <a:lnTo>
                    <a:pt x="229" y="3032"/>
                  </a:lnTo>
                  <a:lnTo>
                    <a:pt x="225" y="3034"/>
                  </a:lnTo>
                  <a:close/>
                  <a:moveTo>
                    <a:pt x="313" y="2136"/>
                  </a:moveTo>
                  <a:lnTo>
                    <a:pt x="347" y="2150"/>
                  </a:lnTo>
                  <a:lnTo>
                    <a:pt x="371" y="2163"/>
                  </a:lnTo>
                  <a:lnTo>
                    <a:pt x="383" y="2164"/>
                  </a:lnTo>
                  <a:lnTo>
                    <a:pt x="417" y="2182"/>
                  </a:lnTo>
                  <a:lnTo>
                    <a:pt x="429" y="2184"/>
                  </a:lnTo>
                  <a:lnTo>
                    <a:pt x="464" y="2202"/>
                  </a:lnTo>
                  <a:lnTo>
                    <a:pt x="476" y="2203"/>
                  </a:lnTo>
                  <a:lnTo>
                    <a:pt x="511" y="2220"/>
                  </a:lnTo>
                  <a:lnTo>
                    <a:pt x="523" y="2221"/>
                  </a:lnTo>
                  <a:lnTo>
                    <a:pt x="557" y="2238"/>
                  </a:lnTo>
                  <a:lnTo>
                    <a:pt x="570" y="2239"/>
                  </a:lnTo>
                  <a:lnTo>
                    <a:pt x="604" y="2256"/>
                  </a:lnTo>
                  <a:lnTo>
                    <a:pt x="616" y="2257"/>
                  </a:lnTo>
                  <a:lnTo>
                    <a:pt x="652" y="2273"/>
                  </a:lnTo>
                  <a:lnTo>
                    <a:pt x="663" y="2273"/>
                  </a:lnTo>
                  <a:lnTo>
                    <a:pt x="688" y="2284"/>
                  </a:lnTo>
                  <a:lnTo>
                    <a:pt x="684" y="2285"/>
                  </a:lnTo>
                  <a:lnTo>
                    <a:pt x="679" y="2296"/>
                  </a:lnTo>
                  <a:lnTo>
                    <a:pt x="665" y="2311"/>
                  </a:lnTo>
                  <a:lnTo>
                    <a:pt x="662" y="2322"/>
                  </a:lnTo>
                  <a:lnTo>
                    <a:pt x="646" y="2337"/>
                  </a:lnTo>
                  <a:lnTo>
                    <a:pt x="643" y="2348"/>
                  </a:lnTo>
                  <a:lnTo>
                    <a:pt x="628" y="2364"/>
                  </a:lnTo>
                  <a:lnTo>
                    <a:pt x="624" y="2375"/>
                  </a:lnTo>
                  <a:lnTo>
                    <a:pt x="616" y="2382"/>
                  </a:lnTo>
                  <a:lnTo>
                    <a:pt x="587" y="2423"/>
                  </a:lnTo>
                  <a:lnTo>
                    <a:pt x="583" y="2424"/>
                  </a:lnTo>
                  <a:lnTo>
                    <a:pt x="572" y="2444"/>
                  </a:lnTo>
                  <a:lnTo>
                    <a:pt x="543" y="2479"/>
                  </a:lnTo>
                  <a:lnTo>
                    <a:pt x="539" y="2486"/>
                  </a:lnTo>
                  <a:lnTo>
                    <a:pt x="538" y="2481"/>
                  </a:lnTo>
                  <a:lnTo>
                    <a:pt x="524" y="2507"/>
                  </a:lnTo>
                  <a:lnTo>
                    <a:pt x="521" y="2508"/>
                  </a:lnTo>
                  <a:lnTo>
                    <a:pt x="504" y="2534"/>
                  </a:lnTo>
                  <a:lnTo>
                    <a:pt x="496" y="2543"/>
                  </a:lnTo>
                  <a:lnTo>
                    <a:pt x="492" y="2549"/>
                  </a:lnTo>
                  <a:lnTo>
                    <a:pt x="491" y="2554"/>
                  </a:lnTo>
                  <a:lnTo>
                    <a:pt x="488" y="2550"/>
                  </a:lnTo>
                  <a:lnTo>
                    <a:pt x="487" y="2556"/>
                  </a:lnTo>
                  <a:lnTo>
                    <a:pt x="484" y="2557"/>
                  </a:lnTo>
                  <a:lnTo>
                    <a:pt x="484" y="2552"/>
                  </a:lnTo>
                  <a:lnTo>
                    <a:pt x="482" y="2558"/>
                  </a:lnTo>
                  <a:lnTo>
                    <a:pt x="442" y="2460"/>
                  </a:lnTo>
                  <a:lnTo>
                    <a:pt x="391" y="2337"/>
                  </a:lnTo>
                  <a:lnTo>
                    <a:pt x="373" y="2289"/>
                  </a:lnTo>
                  <a:lnTo>
                    <a:pt x="340" y="2204"/>
                  </a:lnTo>
                  <a:lnTo>
                    <a:pt x="313" y="2136"/>
                  </a:lnTo>
                  <a:close/>
                  <a:moveTo>
                    <a:pt x="237" y="2920"/>
                  </a:moveTo>
                  <a:lnTo>
                    <a:pt x="303" y="2247"/>
                  </a:lnTo>
                  <a:lnTo>
                    <a:pt x="402" y="2550"/>
                  </a:lnTo>
                  <a:lnTo>
                    <a:pt x="416" y="2590"/>
                  </a:lnTo>
                  <a:lnTo>
                    <a:pt x="418" y="2589"/>
                  </a:lnTo>
                  <a:lnTo>
                    <a:pt x="435" y="2647"/>
                  </a:lnTo>
                  <a:lnTo>
                    <a:pt x="436" y="2646"/>
                  </a:lnTo>
                  <a:lnTo>
                    <a:pt x="442" y="2664"/>
                  </a:lnTo>
                  <a:lnTo>
                    <a:pt x="373" y="2753"/>
                  </a:lnTo>
                  <a:lnTo>
                    <a:pt x="324" y="2815"/>
                  </a:lnTo>
                  <a:lnTo>
                    <a:pt x="292" y="2860"/>
                  </a:lnTo>
                  <a:lnTo>
                    <a:pt x="289" y="2861"/>
                  </a:lnTo>
                  <a:lnTo>
                    <a:pt x="288" y="2867"/>
                  </a:lnTo>
                  <a:lnTo>
                    <a:pt x="285" y="2863"/>
                  </a:lnTo>
                  <a:lnTo>
                    <a:pt x="268" y="2886"/>
                  </a:lnTo>
                  <a:lnTo>
                    <a:pt x="254" y="2902"/>
                  </a:lnTo>
                  <a:lnTo>
                    <a:pt x="250" y="2909"/>
                  </a:lnTo>
                  <a:lnTo>
                    <a:pt x="249" y="2904"/>
                  </a:lnTo>
                  <a:lnTo>
                    <a:pt x="245" y="2917"/>
                  </a:lnTo>
                  <a:lnTo>
                    <a:pt x="244" y="2912"/>
                  </a:lnTo>
                  <a:lnTo>
                    <a:pt x="241" y="2918"/>
                  </a:lnTo>
                  <a:lnTo>
                    <a:pt x="239" y="2913"/>
                  </a:lnTo>
                  <a:lnTo>
                    <a:pt x="237" y="2920"/>
                  </a:lnTo>
                  <a:close/>
                  <a:moveTo>
                    <a:pt x="677" y="3109"/>
                  </a:moveTo>
                  <a:lnTo>
                    <a:pt x="685" y="2400"/>
                  </a:lnTo>
                  <a:lnTo>
                    <a:pt x="645" y="2468"/>
                  </a:lnTo>
                  <a:lnTo>
                    <a:pt x="642" y="2479"/>
                  </a:lnTo>
                  <a:lnTo>
                    <a:pt x="604" y="2537"/>
                  </a:lnTo>
                  <a:lnTo>
                    <a:pt x="588" y="2568"/>
                  </a:lnTo>
                  <a:lnTo>
                    <a:pt x="584" y="2569"/>
                  </a:lnTo>
                  <a:lnTo>
                    <a:pt x="582" y="2581"/>
                  </a:lnTo>
                  <a:lnTo>
                    <a:pt x="573" y="2589"/>
                  </a:lnTo>
                  <a:lnTo>
                    <a:pt x="563" y="2608"/>
                  </a:lnTo>
                  <a:lnTo>
                    <a:pt x="547" y="2630"/>
                  </a:lnTo>
                  <a:lnTo>
                    <a:pt x="540" y="2642"/>
                  </a:lnTo>
                  <a:lnTo>
                    <a:pt x="519" y="2676"/>
                  </a:lnTo>
                  <a:lnTo>
                    <a:pt x="517" y="2681"/>
                  </a:lnTo>
                  <a:lnTo>
                    <a:pt x="514" y="2677"/>
                  </a:lnTo>
                  <a:lnTo>
                    <a:pt x="509" y="2690"/>
                  </a:lnTo>
                  <a:lnTo>
                    <a:pt x="535" y="2762"/>
                  </a:lnTo>
                  <a:lnTo>
                    <a:pt x="539" y="2765"/>
                  </a:lnTo>
                  <a:lnTo>
                    <a:pt x="554" y="2807"/>
                  </a:lnTo>
                  <a:lnTo>
                    <a:pt x="613" y="2954"/>
                  </a:lnTo>
                  <a:lnTo>
                    <a:pt x="635" y="3010"/>
                  </a:lnTo>
                  <a:lnTo>
                    <a:pt x="635" y="3016"/>
                  </a:lnTo>
                  <a:lnTo>
                    <a:pt x="638" y="3013"/>
                  </a:lnTo>
                  <a:lnTo>
                    <a:pt x="652" y="3054"/>
                  </a:lnTo>
                  <a:lnTo>
                    <a:pt x="662" y="3074"/>
                  </a:lnTo>
                  <a:lnTo>
                    <a:pt x="663" y="3082"/>
                  </a:lnTo>
                  <a:lnTo>
                    <a:pt x="665" y="3081"/>
                  </a:lnTo>
                  <a:lnTo>
                    <a:pt x="677" y="3109"/>
                  </a:lnTo>
                  <a:close/>
                  <a:moveTo>
                    <a:pt x="123" y="4056"/>
                  </a:moveTo>
                  <a:lnTo>
                    <a:pt x="140" y="4067"/>
                  </a:lnTo>
                  <a:lnTo>
                    <a:pt x="157" y="4071"/>
                  </a:lnTo>
                  <a:lnTo>
                    <a:pt x="275" y="4139"/>
                  </a:lnTo>
                  <a:lnTo>
                    <a:pt x="292" y="4142"/>
                  </a:lnTo>
                  <a:lnTo>
                    <a:pt x="395" y="4195"/>
                  </a:lnTo>
                  <a:lnTo>
                    <a:pt x="412" y="4198"/>
                  </a:lnTo>
                  <a:lnTo>
                    <a:pt x="530" y="4253"/>
                  </a:lnTo>
                  <a:lnTo>
                    <a:pt x="548" y="4255"/>
                  </a:lnTo>
                  <a:lnTo>
                    <a:pt x="667" y="4304"/>
                  </a:lnTo>
                  <a:lnTo>
                    <a:pt x="538" y="4079"/>
                  </a:lnTo>
                  <a:lnTo>
                    <a:pt x="430" y="3876"/>
                  </a:lnTo>
                  <a:lnTo>
                    <a:pt x="414" y="3840"/>
                  </a:lnTo>
                  <a:lnTo>
                    <a:pt x="404" y="3852"/>
                  </a:lnTo>
                  <a:lnTo>
                    <a:pt x="389" y="3861"/>
                  </a:lnTo>
                  <a:lnTo>
                    <a:pt x="380" y="3871"/>
                  </a:lnTo>
                  <a:lnTo>
                    <a:pt x="350" y="3895"/>
                  </a:lnTo>
                  <a:lnTo>
                    <a:pt x="344" y="3904"/>
                  </a:lnTo>
                  <a:lnTo>
                    <a:pt x="339" y="3901"/>
                  </a:lnTo>
                  <a:lnTo>
                    <a:pt x="320" y="3924"/>
                  </a:lnTo>
                  <a:lnTo>
                    <a:pt x="313" y="3923"/>
                  </a:lnTo>
                  <a:lnTo>
                    <a:pt x="264" y="3964"/>
                  </a:lnTo>
                  <a:lnTo>
                    <a:pt x="253" y="3970"/>
                  </a:lnTo>
                  <a:lnTo>
                    <a:pt x="251" y="3977"/>
                  </a:lnTo>
                  <a:lnTo>
                    <a:pt x="251" y="3971"/>
                  </a:lnTo>
                  <a:lnTo>
                    <a:pt x="248" y="3979"/>
                  </a:lnTo>
                  <a:lnTo>
                    <a:pt x="247" y="3973"/>
                  </a:lnTo>
                  <a:lnTo>
                    <a:pt x="244" y="3981"/>
                  </a:lnTo>
                  <a:lnTo>
                    <a:pt x="240" y="3978"/>
                  </a:lnTo>
                  <a:lnTo>
                    <a:pt x="239" y="3984"/>
                  </a:lnTo>
                  <a:lnTo>
                    <a:pt x="239" y="3979"/>
                  </a:lnTo>
                  <a:lnTo>
                    <a:pt x="232" y="3989"/>
                  </a:lnTo>
                  <a:lnTo>
                    <a:pt x="224" y="3987"/>
                  </a:lnTo>
                  <a:lnTo>
                    <a:pt x="210" y="3996"/>
                  </a:lnTo>
                  <a:lnTo>
                    <a:pt x="204" y="4006"/>
                  </a:lnTo>
                  <a:lnTo>
                    <a:pt x="186" y="4012"/>
                  </a:lnTo>
                  <a:lnTo>
                    <a:pt x="179" y="4022"/>
                  </a:lnTo>
                  <a:lnTo>
                    <a:pt x="123" y="4056"/>
                  </a:lnTo>
                  <a:close/>
                  <a:moveTo>
                    <a:pt x="214" y="3147"/>
                  </a:moveTo>
                  <a:lnTo>
                    <a:pt x="258" y="3173"/>
                  </a:lnTo>
                  <a:lnTo>
                    <a:pt x="285" y="3183"/>
                  </a:lnTo>
                  <a:lnTo>
                    <a:pt x="328" y="3208"/>
                  </a:lnTo>
                  <a:lnTo>
                    <a:pt x="343" y="3210"/>
                  </a:lnTo>
                  <a:lnTo>
                    <a:pt x="386" y="3234"/>
                  </a:lnTo>
                  <a:lnTo>
                    <a:pt x="416" y="3244"/>
                  </a:lnTo>
                  <a:lnTo>
                    <a:pt x="458" y="3267"/>
                  </a:lnTo>
                  <a:lnTo>
                    <a:pt x="473" y="3268"/>
                  </a:lnTo>
                  <a:lnTo>
                    <a:pt x="515" y="3290"/>
                  </a:lnTo>
                  <a:lnTo>
                    <a:pt x="544" y="3298"/>
                  </a:lnTo>
                  <a:lnTo>
                    <a:pt x="603" y="3325"/>
                  </a:lnTo>
                  <a:lnTo>
                    <a:pt x="617" y="3327"/>
                  </a:lnTo>
                  <a:lnTo>
                    <a:pt x="645" y="3340"/>
                  </a:lnTo>
                  <a:lnTo>
                    <a:pt x="660" y="3341"/>
                  </a:lnTo>
                  <a:lnTo>
                    <a:pt x="675" y="3348"/>
                  </a:lnTo>
                  <a:lnTo>
                    <a:pt x="611" y="3422"/>
                  </a:lnTo>
                  <a:lnTo>
                    <a:pt x="545" y="3493"/>
                  </a:lnTo>
                  <a:lnTo>
                    <a:pt x="513" y="3526"/>
                  </a:lnTo>
                  <a:lnTo>
                    <a:pt x="505" y="3531"/>
                  </a:lnTo>
                  <a:lnTo>
                    <a:pt x="494" y="3547"/>
                  </a:lnTo>
                  <a:lnTo>
                    <a:pt x="464" y="3574"/>
                  </a:lnTo>
                  <a:lnTo>
                    <a:pt x="457" y="3583"/>
                  </a:lnTo>
                  <a:lnTo>
                    <a:pt x="446" y="3589"/>
                  </a:lnTo>
                  <a:lnTo>
                    <a:pt x="438" y="3604"/>
                  </a:lnTo>
                  <a:lnTo>
                    <a:pt x="426" y="3610"/>
                  </a:lnTo>
                  <a:lnTo>
                    <a:pt x="422" y="3597"/>
                  </a:lnTo>
                  <a:lnTo>
                    <a:pt x="418" y="3595"/>
                  </a:lnTo>
                  <a:lnTo>
                    <a:pt x="371" y="3493"/>
                  </a:lnTo>
                  <a:lnTo>
                    <a:pt x="336" y="3421"/>
                  </a:lnTo>
                  <a:lnTo>
                    <a:pt x="320" y="3384"/>
                  </a:lnTo>
                  <a:lnTo>
                    <a:pt x="268" y="3274"/>
                  </a:lnTo>
                  <a:lnTo>
                    <a:pt x="214" y="3147"/>
                  </a:lnTo>
                  <a:close/>
                  <a:moveTo>
                    <a:pt x="134" y="3946"/>
                  </a:moveTo>
                  <a:lnTo>
                    <a:pt x="204" y="3260"/>
                  </a:lnTo>
                  <a:lnTo>
                    <a:pt x="277" y="3459"/>
                  </a:lnTo>
                  <a:lnTo>
                    <a:pt x="315" y="3553"/>
                  </a:lnTo>
                  <a:lnTo>
                    <a:pt x="345" y="3627"/>
                  </a:lnTo>
                  <a:lnTo>
                    <a:pt x="362" y="3672"/>
                  </a:lnTo>
                  <a:lnTo>
                    <a:pt x="367" y="3675"/>
                  </a:lnTo>
                  <a:lnTo>
                    <a:pt x="374" y="3700"/>
                  </a:lnTo>
                  <a:lnTo>
                    <a:pt x="376" y="3699"/>
                  </a:lnTo>
                  <a:lnTo>
                    <a:pt x="378" y="3708"/>
                  </a:lnTo>
                  <a:lnTo>
                    <a:pt x="361" y="3728"/>
                  </a:lnTo>
                  <a:lnTo>
                    <a:pt x="338" y="3747"/>
                  </a:lnTo>
                  <a:lnTo>
                    <a:pt x="297" y="3792"/>
                  </a:lnTo>
                  <a:lnTo>
                    <a:pt x="261" y="3828"/>
                  </a:lnTo>
                  <a:lnTo>
                    <a:pt x="255" y="3837"/>
                  </a:lnTo>
                  <a:lnTo>
                    <a:pt x="237" y="3848"/>
                  </a:lnTo>
                  <a:lnTo>
                    <a:pt x="195" y="3893"/>
                  </a:lnTo>
                  <a:lnTo>
                    <a:pt x="190" y="3892"/>
                  </a:lnTo>
                  <a:lnTo>
                    <a:pt x="178" y="3908"/>
                  </a:lnTo>
                  <a:lnTo>
                    <a:pt x="164" y="3918"/>
                  </a:lnTo>
                  <a:lnTo>
                    <a:pt x="158" y="3926"/>
                  </a:lnTo>
                  <a:lnTo>
                    <a:pt x="157" y="3922"/>
                  </a:lnTo>
                  <a:lnTo>
                    <a:pt x="146" y="3938"/>
                  </a:lnTo>
                  <a:lnTo>
                    <a:pt x="145" y="3934"/>
                  </a:lnTo>
                  <a:lnTo>
                    <a:pt x="139" y="3942"/>
                  </a:lnTo>
                  <a:lnTo>
                    <a:pt x="138" y="3938"/>
                  </a:lnTo>
                  <a:lnTo>
                    <a:pt x="134" y="3946"/>
                  </a:lnTo>
                  <a:close/>
                  <a:moveTo>
                    <a:pt x="667" y="4185"/>
                  </a:moveTo>
                  <a:lnTo>
                    <a:pt x="674" y="3467"/>
                  </a:lnTo>
                  <a:lnTo>
                    <a:pt x="656" y="3492"/>
                  </a:lnTo>
                  <a:lnTo>
                    <a:pt x="644" y="3508"/>
                  </a:lnTo>
                  <a:lnTo>
                    <a:pt x="626" y="3533"/>
                  </a:lnTo>
                  <a:lnTo>
                    <a:pt x="564" y="3618"/>
                  </a:lnTo>
                  <a:lnTo>
                    <a:pt x="536" y="3654"/>
                  </a:lnTo>
                  <a:lnTo>
                    <a:pt x="512" y="3678"/>
                  </a:lnTo>
                  <a:lnTo>
                    <a:pt x="481" y="3721"/>
                  </a:lnTo>
                  <a:lnTo>
                    <a:pt x="466" y="3734"/>
                  </a:lnTo>
                  <a:lnTo>
                    <a:pt x="460" y="3743"/>
                  </a:lnTo>
                  <a:lnTo>
                    <a:pt x="477" y="3777"/>
                  </a:lnTo>
                  <a:lnTo>
                    <a:pt x="489" y="3809"/>
                  </a:lnTo>
                  <a:lnTo>
                    <a:pt x="510" y="3854"/>
                  </a:lnTo>
                  <a:lnTo>
                    <a:pt x="598" y="4043"/>
                  </a:lnTo>
                  <a:lnTo>
                    <a:pt x="619" y="4086"/>
                  </a:lnTo>
                  <a:lnTo>
                    <a:pt x="647" y="4143"/>
                  </a:lnTo>
                  <a:lnTo>
                    <a:pt x="667" y="4185"/>
                  </a:lnTo>
                  <a:close/>
                  <a:moveTo>
                    <a:pt x="324" y="2020"/>
                  </a:moveTo>
                  <a:lnTo>
                    <a:pt x="391" y="2050"/>
                  </a:lnTo>
                  <a:lnTo>
                    <a:pt x="427" y="2064"/>
                  </a:lnTo>
                  <a:lnTo>
                    <a:pt x="494" y="2092"/>
                  </a:lnTo>
                  <a:lnTo>
                    <a:pt x="540" y="2112"/>
                  </a:lnTo>
                  <a:lnTo>
                    <a:pt x="573" y="2120"/>
                  </a:lnTo>
                  <a:lnTo>
                    <a:pt x="597" y="2132"/>
                  </a:lnTo>
                  <a:lnTo>
                    <a:pt x="609" y="2133"/>
                  </a:lnTo>
                  <a:lnTo>
                    <a:pt x="631" y="2145"/>
                  </a:lnTo>
                  <a:lnTo>
                    <a:pt x="654" y="2151"/>
                  </a:lnTo>
                  <a:lnTo>
                    <a:pt x="689" y="2163"/>
                  </a:lnTo>
                  <a:lnTo>
                    <a:pt x="669" y="2118"/>
                  </a:lnTo>
                  <a:lnTo>
                    <a:pt x="666" y="2104"/>
                  </a:lnTo>
                  <a:lnTo>
                    <a:pt x="657" y="2088"/>
                  </a:lnTo>
                  <a:lnTo>
                    <a:pt x="648" y="2066"/>
                  </a:lnTo>
                  <a:lnTo>
                    <a:pt x="590" y="1924"/>
                  </a:lnTo>
                  <a:lnTo>
                    <a:pt x="557" y="1836"/>
                  </a:lnTo>
                  <a:lnTo>
                    <a:pt x="543" y="1795"/>
                  </a:lnTo>
                  <a:lnTo>
                    <a:pt x="525" y="1751"/>
                  </a:lnTo>
                  <a:lnTo>
                    <a:pt x="490" y="1801"/>
                  </a:lnTo>
                  <a:lnTo>
                    <a:pt x="453" y="1856"/>
                  </a:lnTo>
                  <a:lnTo>
                    <a:pt x="446" y="1862"/>
                  </a:lnTo>
                  <a:lnTo>
                    <a:pt x="425" y="1894"/>
                  </a:lnTo>
                  <a:lnTo>
                    <a:pt x="420" y="1894"/>
                  </a:lnTo>
                  <a:lnTo>
                    <a:pt x="417" y="1906"/>
                  </a:lnTo>
                  <a:lnTo>
                    <a:pt x="410" y="1914"/>
                  </a:lnTo>
                  <a:lnTo>
                    <a:pt x="374" y="1953"/>
                  </a:lnTo>
                  <a:lnTo>
                    <a:pt x="370" y="1965"/>
                  </a:lnTo>
                  <a:lnTo>
                    <a:pt x="358" y="1974"/>
                  </a:lnTo>
                  <a:lnTo>
                    <a:pt x="332" y="2013"/>
                  </a:lnTo>
                  <a:lnTo>
                    <a:pt x="329" y="2013"/>
                  </a:lnTo>
                  <a:lnTo>
                    <a:pt x="324" y="2020"/>
                  </a:lnTo>
                  <a:close/>
                  <a:moveTo>
                    <a:pt x="408" y="1122"/>
                  </a:moveTo>
                  <a:lnTo>
                    <a:pt x="481" y="1152"/>
                  </a:lnTo>
                  <a:lnTo>
                    <a:pt x="491" y="1150"/>
                  </a:lnTo>
                  <a:lnTo>
                    <a:pt x="619" y="1199"/>
                  </a:lnTo>
                  <a:lnTo>
                    <a:pt x="628" y="1197"/>
                  </a:lnTo>
                  <a:lnTo>
                    <a:pt x="701" y="1224"/>
                  </a:lnTo>
                  <a:lnTo>
                    <a:pt x="657" y="1308"/>
                  </a:lnTo>
                  <a:lnTo>
                    <a:pt x="611" y="1391"/>
                  </a:lnTo>
                  <a:lnTo>
                    <a:pt x="604" y="1407"/>
                  </a:lnTo>
                  <a:lnTo>
                    <a:pt x="600" y="1407"/>
                  </a:lnTo>
                  <a:lnTo>
                    <a:pt x="589" y="1435"/>
                  </a:lnTo>
                  <a:lnTo>
                    <a:pt x="585" y="1435"/>
                  </a:lnTo>
                  <a:lnTo>
                    <a:pt x="581" y="1446"/>
                  </a:lnTo>
                  <a:lnTo>
                    <a:pt x="573" y="1463"/>
                  </a:lnTo>
                  <a:lnTo>
                    <a:pt x="572" y="1458"/>
                  </a:lnTo>
                  <a:lnTo>
                    <a:pt x="562" y="1480"/>
                  </a:lnTo>
                  <a:lnTo>
                    <a:pt x="559" y="1480"/>
                  </a:lnTo>
                  <a:lnTo>
                    <a:pt x="548" y="1503"/>
                  </a:lnTo>
                  <a:lnTo>
                    <a:pt x="547" y="1503"/>
                  </a:lnTo>
                  <a:lnTo>
                    <a:pt x="538" y="1520"/>
                  </a:lnTo>
                  <a:lnTo>
                    <a:pt x="508" y="1432"/>
                  </a:lnTo>
                  <a:lnTo>
                    <a:pt x="461" y="1291"/>
                  </a:lnTo>
                  <a:lnTo>
                    <a:pt x="448" y="1254"/>
                  </a:lnTo>
                  <a:lnTo>
                    <a:pt x="443" y="1229"/>
                  </a:lnTo>
                  <a:lnTo>
                    <a:pt x="441" y="1229"/>
                  </a:lnTo>
                  <a:lnTo>
                    <a:pt x="419" y="1157"/>
                  </a:lnTo>
                  <a:lnTo>
                    <a:pt x="415" y="1138"/>
                  </a:lnTo>
                  <a:lnTo>
                    <a:pt x="413" y="1138"/>
                  </a:lnTo>
                  <a:lnTo>
                    <a:pt x="408" y="1122"/>
                  </a:lnTo>
                  <a:close/>
                  <a:moveTo>
                    <a:pt x="335" y="1904"/>
                  </a:moveTo>
                  <a:lnTo>
                    <a:pt x="398" y="1236"/>
                  </a:lnTo>
                  <a:lnTo>
                    <a:pt x="492" y="1586"/>
                  </a:lnTo>
                  <a:lnTo>
                    <a:pt x="493" y="1585"/>
                  </a:lnTo>
                  <a:lnTo>
                    <a:pt x="504" y="1622"/>
                  </a:lnTo>
                  <a:lnTo>
                    <a:pt x="427" y="1762"/>
                  </a:lnTo>
                  <a:lnTo>
                    <a:pt x="387" y="1823"/>
                  </a:lnTo>
                  <a:lnTo>
                    <a:pt x="344" y="1891"/>
                  </a:lnTo>
                  <a:lnTo>
                    <a:pt x="335" y="1904"/>
                  </a:lnTo>
                  <a:close/>
                  <a:moveTo>
                    <a:pt x="690" y="2044"/>
                  </a:moveTo>
                  <a:lnTo>
                    <a:pt x="700" y="1344"/>
                  </a:lnTo>
                  <a:lnTo>
                    <a:pt x="586" y="1588"/>
                  </a:lnTo>
                  <a:lnTo>
                    <a:pt x="585" y="1588"/>
                  </a:lnTo>
                  <a:lnTo>
                    <a:pt x="580" y="1599"/>
                  </a:lnTo>
                  <a:lnTo>
                    <a:pt x="576" y="1609"/>
                  </a:lnTo>
                  <a:lnTo>
                    <a:pt x="574" y="1605"/>
                  </a:lnTo>
                  <a:lnTo>
                    <a:pt x="568" y="1621"/>
                  </a:lnTo>
                  <a:lnTo>
                    <a:pt x="556" y="1644"/>
                  </a:lnTo>
                  <a:lnTo>
                    <a:pt x="640" y="1900"/>
                  </a:lnTo>
                  <a:lnTo>
                    <a:pt x="655" y="1948"/>
                  </a:lnTo>
                  <a:lnTo>
                    <a:pt x="657" y="1948"/>
                  </a:lnTo>
                  <a:lnTo>
                    <a:pt x="660" y="1966"/>
                  </a:lnTo>
                  <a:lnTo>
                    <a:pt x="662" y="1965"/>
                  </a:lnTo>
                  <a:lnTo>
                    <a:pt x="684" y="2026"/>
                  </a:lnTo>
                  <a:lnTo>
                    <a:pt x="690" y="2044"/>
                  </a:lnTo>
                  <a:close/>
                  <a:moveTo>
                    <a:pt x="419" y="1010"/>
                  </a:moveTo>
                  <a:lnTo>
                    <a:pt x="446" y="1021"/>
                  </a:lnTo>
                  <a:lnTo>
                    <a:pt x="454" y="1020"/>
                  </a:lnTo>
                  <a:lnTo>
                    <a:pt x="508" y="1043"/>
                  </a:lnTo>
                  <a:lnTo>
                    <a:pt x="517" y="1042"/>
                  </a:lnTo>
                  <a:lnTo>
                    <a:pt x="570" y="1063"/>
                  </a:lnTo>
                  <a:lnTo>
                    <a:pt x="579" y="1062"/>
                  </a:lnTo>
                  <a:lnTo>
                    <a:pt x="632" y="1084"/>
                  </a:lnTo>
                  <a:lnTo>
                    <a:pt x="641" y="1083"/>
                  </a:lnTo>
                  <a:lnTo>
                    <a:pt x="685" y="1100"/>
                  </a:lnTo>
                  <a:lnTo>
                    <a:pt x="694" y="1099"/>
                  </a:lnTo>
                  <a:lnTo>
                    <a:pt x="703" y="1102"/>
                  </a:lnTo>
                  <a:lnTo>
                    <a:pt x="642" y="921"/>
                  </a:lnTo>
                  <a:lnTo>
                    <a:pt x="612" y="831"/>
                  </a:lnTo>
                  <a:lnTo>
                    <a:pt x="595" y="764"/>
                  </a:lnTo>
                  <a:lnTo>
                    <a:pt x="594" y="764"/>
                  </a:lnTo>
                  <a:lnTo>
                    <a:pt x="580" y="716"/>
                  </a:lnTo>
                  <a:lnTo>
                    <a:pt x="564" y="753"/>
                  </a:lnTo>
                  <a:lnTo>
                    <a:pt x="562" y="753"/>
                  </a:lnTo>
                  <a:lnTo>
                    <a:pt x="525" y="826"/>
                  </a:lnTo>
                  <a:lnTo>
                    <a:pt x="523" y="826"/>
                  </a:lnTo>
                  <a:lnTo>
                    <a:pt x="509" y="857"/>
                  </a:lnTo>
                  <a:lnTo>
                    <a:pt x="475" y="916"/>
                  </a:lnTo>
                  <a:lnTo>
                    <a:pt x="472" y="923"/>
                  </a:lnTo>
                  <a:lnTo>
                    <a:pt x="468" y="923"/>
                  </a:lnTo>
                  <a:lnTo>
                    <a:pt x="466" y="933"/>
                  </a:lnTo>
                  <a:lnTo>
                    <a:pt x="463" y="933"/>
                  </a:lnTo>
                  <a:lnTo>
                    <a:pt x="419" y="1010"/>
                  </a:lnTo>
                  <a:close/>
                  <a:moveTo>
                    <a:pt x="499" y="123"/>
                  </a:moveTo>
                  <a:lnTo>
                    <a:pt x="514" y="124"/>
                  </a:lnTo>
                  <a:lnTo>
                    <a:pt x="520" y="129"/>
                  </a:lnTo>
                  <a:lnTo>
                    <a:pt x="534" y="129"/>
                  </a:lnTo>
                  <a:lnTo>
                    <a:pt x="541" y="135"/>
                  </a:lnTo>
                  <a:lnTo>
                    <a:pt x="554" y="135"/>
                  </a:lnTo>
                  <a:lnTo>
                    <a:pt x="562" y="140"/>
                  </a:lnTo>
                  <a:lnTo>
                    <a:pt x="575" y="140"/>
                  </a:lnTo>
                  <a:lnTo>
                    <a:pt x="582" y="145"/>
                  </a:lnTo>
                  <a:lnTo>
                    <a:pt x="596" y="145"/>
                  </a:lnTo>
                  <a:lnTo>
                    <a:pt x="602" y="151"/>
                  </a:lnTo>
                  <a:lnTo>
                    <a:pt x="616" y="151"/>
                  </a:lnTo>
                  <a:lnTo>
                    <a:pt x="644" y="160"/>
                  </a:lnTo>
                  <a:lnTo>
                    <a:pt x="671" y="166"/>
                  </a:lnTo>
                  <a:lnTo>
                    <a:pt x="678" y="166"/>
                  </a:lnTo>
                  <a:lnTo>
                    <a:pt x="685" y="171"/>
                  </a:lnTo>
                  <a:lnTo>
                    <a:pt x="699" y="171"/>
                  </a:lnTo>
                  <a:lnTo>
                    <a:pt x="705" y="176"/>
                  </a:lnTo>
                  <a:lnTo>
                    <a:pt x="718" y="176"/>
                  </a:lnTo>
                  <a:lnTo>
                    <a:pt x="681" y="273"/>
                  </a:lnTo>
                  <a:lnTo>
                    <a:pt x="628" y="406"/>
                  </a:lnTo>
                  <a:lnTo>
                    <a:pt x="591" y="493"/>
                  </a:lnTo>
                  <a:lnTo>
                    <a:pt x="568" y="394"/>
                  </a:lnTo>
                  <a:lnTo>
                    <a:pt x="541" y="299"/>
                  </a:lnTo>
                  <a:lnTo>
                    <a:pt x="521" y="214"/>
                  </a:lnTo>
                  <a:lnTo>
                    <a:pt x="503" y="133"/>
                  </a:lnTo>
                  <a:lnTo>
                    <a:pt x="499" y="123"/>
                  </a:lnTo>
                  <a:close/>
                </a:path>
              </a:pathLst>
            </a:custGeom>
            <a:solidFill>
              <a:srgbClr val="C0C0C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2" name="Freeform 190"/>
            <p:cNvSpPr>
              <a:spLocks/>
            </p:cNvSpPr>
            <p:nvPr/>
          </p:nvSpPr>
          <p:spPr bwMode="auto">
            <a:xfrm>
              <a:off x="782" y="2518"/>
              <a:ext cx="136" cy="26"/>
            </a:xfrm>
            <a:custGeom>
              <a:avLst/>
              <a:gdLst>
                <a:gd name="T0" fmla="*/ 0 w 546"/>
                <a:gd name="T1" fmla="*/ 0 h 104"/>
                <a:gd name="T2" fmla="*/ 0 w 546"/>
                <a:gd name="T3" fmla="*/ 0 h 104"/>
                <a:gd name="T4" fmla="*/ 0 w 546"/>
                <a:gd name="T5" fmla="*/ 0 h 104"/>
                <a:gd name="T6" fmla="*/ 0 w 546"/>
                <a:gd name="T7" fmla="*/ 0 h 104"/>
                <a:gd name="T8" fmla="*/ 0 w 546"/>
                <a:gd name="T9" fmla="*/ 0 h 104"/>
                <a:gd name="T10" fmla="*/ 0 w 546"/>
                <a:gd name="T11" fmla="*/ 0 h 104"/>
                <a:gd name="T12" fmla="*/ 0 w 546"/>
                <a:gd name="T13" fmla="*/ 0 h 104"/>
                <a:gd name="T14" fmla="*/ 0 w 546"/>
                <a:gd name="T15" fmla="*/ 0 h 104"/>
                <a:gd name="T16" fmla="*/ 0 w 546"/>
                <a:gd name="T17" fmla="*/ 0 h 104"/>
                <a:gd name="T18" fmla="*/ 0 w 546"/>
                <a:gd name="T19" fmla="*/ 0 h 104"/>
                <a:gd name="T20" fmla="*/ 0 w 546"/>
                <a:gd name="T21" fmla="*/ 0 h 104"/>
                <a:gd name="T22" fmla="*/ 0 w 546"/>
                <a:gd name="T23" fmla="*/ 0 h 104"/>
                <a:gd name="T24" fmla="*/ 0 w 546"/>
                <a:gd name="T25" fmla="*/ 0 h 104"/>
                <a:gd name="T26" fmla="*/ 0 w 546"/>
                <a:gd name="T27" fmla="*/ 0 h 104"/>
                <a:gd name="T28" fmla="*/ 0 w 546"/>
                <a:gd name="T29" fmla="*/ 0 h 104"/>
                <a:gd name="T30" fmla="*/ 0 w 546"/>
                <a:gd name="T31" fmla="*/ 0 h 104"/>
                <a:gd name="T32" fmla="*/ 0 w 546"/>
                <a:gd name="T33" fmla="*/ 0 h 104"/>
                <a:gd name="T34" fmla="*/ 0 w 546"/>
                <a:gd name="T35" fmla="*/ 0 h 104"/>
                <a:gd name="T36" fmla="*/ 0 w 546"/>
                <a:gd name="T37" fmla="*/ 0 h 104"/>
                <a:gd name="T38" fmla="*/ 0 w 546"/>
                <a:gd name="T39" fmla="*/ 0 h 104"/>
                <a:gd name="T40" fmla="*/ 0 w 546"/>
                <a:gd name="T41" fmla="*/ 0 h 104"/>
                <a:gd name="T42" fmla="*/ 0 w 546"/>
                <a:gd name="T43" fmla="*/ 0 h 104"/>
                <a:gd name="T44" fmla="*/ 0 w 546"/>
                <a:gd name="T45" fmla="*/ 0 h 104"/>
                <a:gd name="T46" fmla="*/ 0 w 546"/>
                <a:gd name="T47" fmla="*/ 0 h 104"/>
                <a:gd name="T48" fmla="*/ 0 w 546"/>
                <a:gd name="T49" fmla="*/ 0 h 104"/>
                <a:gd name="T50" fmla="*/ 0 w 546"/>
                <a:gd name="T51" fmla="*/ 0 h 104"/>
                <a:gd name="T52" fmla="*/ 0 w 546"/>
                <a:gd name="T53" fmla="*/ 0 h 104"/>
                <a:gd name="T54" fmla="*/ 0 w 546"/>
                <a:gd name="T55" fmla="*/ 0 h 104"/>
                <a:gd name="T56" fmla="*/ 0 w 546"/>
                <a:gd name="T57" fmla="*/ 0 h 104"/>
                <a:gd name="T58" fmla="*/ 0 w 546"/>
                <a:gd name="T59" fmla="*/ 0 h 104"/>
                <a:gd name="T60" fmla="*/ 0 w 546"/>
                <a:gd name="T61" fmla="*/ 0 h 104"/>
                <a:gd name="T62" fmla="*/ 0 w 546"/>
                <a:gd name="T63" fmla="*/ 0 h 104"/>
                <a:gd name="T64" fmla="*/ 0 w 546"/>
                <a:gd name="T65" fmla="*/ 0 h 104"/>
                <a:gd name="T66" fmla="*/ 0 w 546"/>
                <a:gd name="T67" fmla="*/ 0 h 104"/>
                <a:gd name="T68" fmla="*/ 0 w 546"/>
                <a:gd name="T69" fmla="*/ 0 h 104"/>
                <a:gd name="T70" fmla="*/ 0 w 546"/>
                <a:gd name="T71" fmla="*/ 0 h 104"/>
                <a:gd name="T72" fmla="*/ 0 w 546"/>
                <a:gd name="T73" fmla="*/ 0 h 104"/>
                <a:gd name="T74" fmla="*/ 0 w 546"/>
                <a:gd name="T75" fmla="*/ 0 h 104"/>
                <a:gd name="T76" fmla="*/ 0 w 546"/>
                <a:gd name="T77" fmla="*/ 0 h 104"/>
                <a:gd name="T78" fmla="*/ 0 w 546"/>
                <a:gd name="T79" fmla="*/ 0 h 104"/>
                <a:gd name="T80" fmla="*/ 0 w 546"/>
                <a:gd name="T81" fmla="*/ 0 h 104"/>
                <a:gd name="T82" fmla="*/ 0 w 546"/>
                <a:gd name="T83" fmla="*/ 0 h 104"/>
                <a:gd name="T84" fmla="*/ 0 w 546"/>
                <a:gd name="T85" fmla="*/ 0 h 104"/>
                <a:gd name="T86" fmla="*/ 0 w 546"/>
                <a:gd name="T87" fmla="*/ 0 h 104"/>
                <a:gd name="T88" fmla="*/ 0 w 546"/>
                <a:gd name="T89" fmla="*/ 0 h 104"/>
                <a:gd name="T90" fmla="*/ 0 w 546"/>
                <a:gd name="T91" fmla="*/ 0 h 104"/>
                <a:gd name="T92" fmla="*/ 0 w 546"/>
                <a:gd name="T93" fmla="*/ 0 h 104"/>
                <a:gd name="T94" fmla="*/ 0 w 546"/>
                <a:gd name="T95" fmla="*/ 0 h 104"/>
                <a:gd name="T96" fmla="*/ 0 w 546"/>
                <a:gd name="T97" fmla="*/ 0 h 104"/>
                <a:gd name="T98" fmla="*/ 0 w 546"/>
                <a:gd name="T99" fmla="*/ 0 h 104"/>
                <a:gd name="T100" fmla="*/ 0 w 546"/>
                <a:gd name="T101" fmla="*/ 0 h 104"/>
                <a:gd name="T102" fmla="*/ 0 w 546"/>
                <a:gd name="T103" fmla="*/ 0 h 104"/>
                <a:gd name="T104" fmla="*/ 0 w 546"/>
                <a:gd name="T105" fmla="*/ 0 h 104"/>
                <a:gd name="T106" fmla="*/ 0 w 546"/>
                <a:gd name="T107" fmla="*/ 0 h 104"/>
                <a:gd name="T108" fmla="*/ 0 w 546"/>
                <a:gd name="T109" fmla="*/ 0 h 104"/>
                <a:gd name="T110" fmla="*/ 0 w 546"/>
                <a:gd name="T111" fmla="*/ 0 h 104"/>
                <a:gd name="T112" fmla="*/ 0 w 546"/>
                <a:gd name="T113" fmla="*/ 0 h 104"/>
                <a:gd name="T114" fmla="*/ 0 w 546"/>
                <a:gd name="T115" fmla="*/ 0 h 104"/>
                <a:gd name="T116" fmla="*/ 0 w 546"/>
                <a:gd name="T117" fmla="*/ 0 h 104"/>
                <a:gd name="T118" fmla="*/ 0 w 546"/>
                <a:gd name="T119" fmla="*/ 0 h 104"/>
                <a:gd name="T120" fmla="*/ 0 w 546"/>
                <a:gd name="T121" fmla="*/ 0 h 104"/>
                <a:gd name="T122" fmla="*/ 0 w 546"/>
                <a:gd name="T123" fmla="*/ 0 h 104"/>
                <a:gd name="T124" fmla="*/ 0 w 546"/>
                <a:gd name="T125" fmla="*/ 0 h 1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46"/>
                <a:gd name="T190" fmla="*/ 0 h 104"/>
                <a:gd name="T191" fmla="*/ 546 w 546"/>
                <a:gd name="T192" fmla="*/ 104 h 1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46" h="104">
                  <a:moveTo>
                    <a:pt x="0" y="29"/>
                  </a:moveTo>
                  <a:lnTo>
                    <a:pt x="10" y="34"/>
                  </a:lnTo>
                  <a:lnTo>
                    <a:pt x="28" y="34"/>
                  </a:lnTo>
                  <a:lnTo>
                    <a:pt x="37" y="41"/>
                  </a:lnTo>
                  <a:lnTo>
                    <a:pt x="46" y="41"/>
                  </a:lnTo>
                  <a:lnTo>
                    <a:pt x="55" y="46"/>
                  </a:lnTo>
                  <a:lnTo>
                    <a:pt x="74" y="47"/>
                  </a:lnTo>
                  <a:lnTo>
                    <a:pt x="101" y="58"/>
                  </a:lnTo>
                  <a:lnTo>
                    <a:pt x="120" y="59"/>
                  </a:lnTo>
                  <a:lnTo>
                    <a:pt x="147" y="70"/>
                  </a:lnTo>
                  <a:lnTo>
                    <a:pt x="165" y="70"/>
                  </a:lnTo>
                  <a:lnTo>
                    <a:pt x="193" y="80"/>
                  </a:lnTo>
                  <a:lnTo>
                    <a:pt x="211" y="82"/>
                  </a:lnTo>
                  <a:lnTo>
                    <a:pt x="239" y="92"/>
                  </a:lnTo>
                  <a:lnTo>
                    <a:pt x="257" y="93"/>
                  </a:lnTo>
                  <a:lnTo>
                    <a:pt x="285" y="104"/>
                  </a:lnTo>
                  <a:lnTo>
                    <a:pt x="295" y="104"/>
                  </a:lnTo>
                  <a:lnTo>
                    <a:pt x="302" y="99"/>
                  </a:lnTo>
                  <a:lnTo>
                    <a:pt x="310" y="100"/>
                  </a:lnTo>
                  <a:lnTo>
                    <a:pt x="349" y="87"/>
                  </a:lnTo>
                  <a:lnTo>
                    <a:pt x="357" y="87"/>
                  </a:lnTo>
                  <a:lnTo>
                    <a:pt x="380" y="76"/>
                  </a:lnTo>
                  <a:lnTo>
                    <a:pt x="388" y="76"/>
                  </a:lnTo>
                  <a:lnTo>
                    <a:pt x="411" y="65"/>
                  </a:lnTo>
                  <a:lnTo>
                    <a:pt x="420" y="65"/>
                  </a:lnTo>
                  <a:lnTo>
                    <a:pt x="444" y="55"/>
                  </a:lnTo>
                  <a:lnTo>
                    <a:pt x="451" y="55"/>
                  </a:lnTo>
                  <a:lnTo>
                    <a:pt x="491" y="37"/>
                  </a:lnTo>
                  <a:lnTo>
                    <a:pt x="499" y="37"/>
                  </a:lnTo>
                  <a:lnTo>
                    <a:pt x="523" y="27"/>
                  </a:lnTo>
                  <a:lnTo>
                    <a:pt x="530" y="27"/>
                  </a:lnTo>
                  <a:lnTo>
                    <a:pt x="546" y="20"/>
                  </a:lnTo>
                  <a:lnTo>
                    <a:pt x="540" y="21"/>
                  </a:lnTo>
                  <a:lnTo>
                    <a:pt x="533" y="16"/>
                  </a:lnTo>
                  <a:lnTo>
                    <a:pt x="500" y="18"/>
                  </a:lnTo>
                  <a:lnTo>
                    <a:pt x="487" y="14"/>
                  </a:lnTo>
                  <a:lnTo>
                    <a:pt x="468" y="15"/>
                  </a:lnTo>
                  <a:lnTo>
                    <a:pt x="455" y="11"/>
                  </a:lnTo>
                  <a:lnTo>
                    <a:pt x="429" y="12"/>
                  </a:lnTo>
                  <a:lnTo>
                    <a:pt x="416" y="7"/>
                  </a:lnTo>
                  <a:lnTo>
                    <a:pt x="396" y="8"/>
                  </a:lnTo>
                  <a:lnTo>
                    <a:pt x="390" y="4"/>
                  </a:lnTo>
                  <a:lnTo>
                    <a:pt x="357" y="5"/>
                  </a:lnTo>
                  <a:lnTo>
                    <a:pt x="345" y="0"/>
                  </a:lnTo>
                  <a:lnTo>
                    <a:pt x="328" y="0"/>
                  </a:lnTo>
                  <a:lnTo>
                    <a:pt x="317" y="4"/>
                  </a:lnTo>
                  <a:lnTo>
                    <a:pt x="285" y="2"/>
                  </a:lnTo>
                  <a:lnTo>
                    <a:pt x="275" y="6"/>
                  </a:lnTo>
                  <a:lnTo>
                    <a:pt x="254" y="5"/>
                  </a:lnTo>
                  <a:lnTo>
                    <a:pt x="243" y="9"/>
                  </a:lnTo>
                  <a:lnTo>
                    <a:pt x="211" y="8"/>
                  </a:lnTo>
                  <a:lnTo>
                    <a:pt x="202" y="13"/>
                  </a:lnTo>
                  <a:lnTo>
                    <a:pt x="180" y="12"/>
                  </a:lnTo>
                  <a:lnTo>
                    <a:pt x="170" y="16"/>
                  </a:lnTo>
                  <a:lnTo>
                    <a:pt x="137" y="15"/>
                  </a:lnTo>
                  <a:lnTo>
                    <a:pt x="128" y="19"/>
                  </a:lnTo>
                  <a:lnTo>
                    <a:pt x="106" y="18"/>
                  </a:lnTo>
                  <a:lnTo>
                    <a:pt x="96" y="22"/>
                  </a:lnTo>
                  <a:lnTo>
                    <a:pt x="64" y="21"/>
                  </a:lnTo>
                  <a:lnTo>
                    <a:pt x="53" y="26"/>
                  </a:lnTo>
                  <a:lnTo>
                    <a:pt x="33" y="25"/>
                  </a:lnTo>
                  <a:lnTo>
                    <a:pt x="22" y="29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C0C0C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3" name="Rectangle 191"/>
            <p:cNvSpPr>
              <a:spLocks noChangeArrowheads="1"/>
            </p:cNvSpPr>
            <p:nvPr/>
          </p:nvSpPr>
          <p:spPr bwMode="auto">
            <a:xfrm>
              <a:off x="934" y="2332"/>
              <a:ext cx="13" cy="177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14" name="Freeform 192"/>
            <p:cNvSpPr>
              <a:spLocks/>
            </p:cNvSpPr>
            <p:nvPr/>
          </p:nvSpPr>
          <p:spPr bwMode="auto">
            <a:xfrm>
              <a:off x="656" y="2470"/>
              <a:ext cx="387" cy="114"/>
            </a:xfrm>
            <a:custGeom>
              <a:avLst/>
              <a:gdLst>
                <a:gd name="T0" fmla="*/ 0 w 1549"/>
                <a:gd name="T1" fmla="*/ 0 h 453"/>
                <a:gd name="T2" fmla="*/ 0 w 1549"/>
                <a:gd name="T3" fmla="*/ 0 h 453"/>
                <a:gd name="T4" fmla="*/ 0 w 1549"/>
                <a:gd name="T5" fmla="*/ 0 h 453"/>
                <a:gd name="T6" fmla="*/ 0 w 1549"/>
                <a:gd name="T7" fmla="*/ 0 h 453"/>
                <a:gd name="T8" fmla="*/ 0 w 1549"/>
                <a:gd name="T9" fmla="*/ 0 h 453"/>
                <a:gd name="T10" fmla="*/ 0 w 1549"/>
                <a:gd name="T11" fmla="*/ 0 h 453"/>
                <a:gd name="T12" fmla="*/ 0 w 1549"/>
                <a:gd name="T13" fmla="*/ 0 h 453"/>
                <a:gd name="T14" fmla="*/ 0 w 1549"/>
                <a:gd name="T15" fmla="*/ 0 h 453"/>
                <a:gd name="T16" fmla="*/ 0 w 1549"/>
                <a:gd name="T17" fmla="*/ 0 h 45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49"/>
                <a:gd name="T28" fmla="*/ 0 h 453"/>
                <a:gd name="T29" fmla="*/ 1549 w 1549"/>
                <a:gd name="T30" fmla="*/ 453 h 45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49" h="453">
                  <a:moveTo>
                    <a:pt x="19" y="136"/>
                  </a:moveTo>
                  <a:lnTo>
                    <a:pt x="0" y="318"/>
                  </a:lnTo>
                  <a:lnTo>
                    <a:pt x="392" y="453"/>
                  </a:lnTo>
                  <a:lnTo>
                    <a:pt x="1158" y="453"/>
                  </a:lnTo>
                  <a:lnTo>
                    <a:pt x="1549" y="318"/>
                  </a:lnTo>
                  <a:lnTo>
                    <a:pt x="1531" y="136"/>
                  </a:lnTo>
                  <a:lnTo>
                    <a:pt x="1178" y="0"/>
                  </a:lnTo>
                  <a:lnTo>
                    <a:pt x="415" y="0"/>
                  </a:lnTo>
                  <a:lnTo>
                    <a:pt x="19" y="136"/>
                  </a:lnTo>
                  <a:close/>
                </a:path>
              </a:pathLst>
            </a:custGeom>
            <a:solidFill>
              <a:srgbClr val="F0F0F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5" name="Freeform 193"/>
            <p:cNvSpPr>
              <a:spLocks/>
            </p:cNvSpPr>
            <p:nvPr/>
          </p:nvSpPr>
          <p:spPr bwMode="auto">
            <a:xfrm>
              <a:off x="661" y="2504"/>
              <a:ext cx="378" cy="34"/>
            </a:xfrm>
            <a:custGeom>
              <a:avLst/>
              <a:gdLst>
                <a:gd name="T0" fmla="*/ 0 w 1512"/>
                <a:gd name="T1" fmla="*/ 0 h 135"/>
                <a:gd name="T2" fmla="*/ 0 w 1512"/>
                <a:gd name="T3" fmla="*/ 0 h 135"/>
                <a:gd name="T4" fmla="*/ 0 w 1512"/>
                <a:gd name="T5" fmla="*/ 0 h 135"/>
                <a:gd name="T6" fmla="*/ 0 w 1512"/>
                <a:gd name="T7" fmla="*/ 0 h 1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12"/>
                <a:gd name="T13" fmla="*/ 0 h 135"/>
                <a:gd name="T14" fmla="*/ 1512 w 1512"/>
                <a:gd name="T15" fmla="*/ 135 h 1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12" h="135">
                  <a:moveTo>
                    <a:pt x="1512" y="0"/>
                  </a:moveTo>
                  <a:lnTo>
                    <a:pt x="1130" y="135"/>
                  </a:lnTo>
                  <a:lnTo>
                    <a:pt x="382" y="13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6" name="Freeform 194"/>
            <p:cNvSpPr>
              <a:spLocks/>
            </p:cNvSpPr>
            <p:nvPr/>
          </p:nvSpPr>
          <p:spPr bwMode="auto">
            <a:xfrm>
              <a:off x="656" y="2516"/>
              <a:ext cx="387" cy="34"/>
            </a:xfrm>
            <a:custGeom>
              <a:avLst/>
              <a:gdLst>
                <a:gd name="T0" fmla="*/ 0 w 1549"/>
                <a:gd name="T1" fmla="*/ 0 h 137"/>
                <a:gd name="T2" fmla="*/ 0 w 1549"/>
                <a:gd name="T3" fmla="*/ 0 h 137"/>
                <a:gd name="T4" fmla="*/ 0 w 1549"/>
                <a:gd name="T5" fmla="*/ 0 h 137"/>
                <a:gd name="T6" fmla="*/ 0 w 1549"/>
                <a:gd name="T7" fmla="*/ 0 h 13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49"/>
                <a:gd name="T13" fmla="*/ 0 h 137"/>
                <a:gd name="T14" fmla="*/ 1549 w 1549"/>
                <a:gd name="T15" fmla="*/ 137 h 13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49" h="137">
                  <a:moveTo>
                    <a:pt x="0" y="137"/>
                  </a:moveTo>
                  <a:lnTo>
                    <a:pt x="405" y="0"/>
                  </a:lnTo>
                  <a:lnTo>
                    <a:pt x="1145" y="0"/>
                  </a:lnTo>
                  <a:lnTo>
                    <a:pt x="1549" y="137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7" name="Freeform 195"/>
            <p:cNvSpPr>
              <a:spLocks/>
            </p:cNvSpPr>
            <p:nvPr/>
          </p:nvSpPr>
          <p:spPr bwMode="auto">
            <a:xfrm>
              <a:off x="656" y="2504"/>
              <a:ext cx="387" cy="80"/>
            </a:xfrm>
            <a:custGeom>
              <a:avLst/>
              <a:gdLst>
                <a:gd name="T0" fmla="*/ 0 w 1549"/>
                <a:gd name="T1" fmla="*/ 0 h 317"/>
                <a:gd name="T2" fmla="*/ 0 w 1549"/>
                <a:gd name="T3" fmla="*/ 0 h 317"/>
                <a:gd name="T4" fmla="*/ 0 w 1549"/>
                <a:gd name="T5" fmla="*/ 0 h 317"/>
                <a:gd name="T6" fmla="*/ 0 w 1549"/>
                <a:gd name="T7" fmla="*/ 0 h 317"/>
                <a:gd name="T8" fmla="*/ 0 w 1549"/>
                <a:gd name="T9" fmla="*/ 0 h 317"/>
                <a:gd name="T10" fmla="*/ 0 w 1549"/>
                <a:gd name="T11" fmla="*/ 0 h 317"/>
                <a:gd name="T12" fmla="*/ 0 w 1549"/>
                <a:gd name="T13" fmla="*/ 0 h 317"/>
                <a:gd name="T14" fmla="*/ 0 w 1549"/>
                <a:gd name="T15" fmla="*/ 0 h 317"/>
                <a:gd name="T16" fmla="*/ 0 w 1549"/>
                <a:gd name="T17" fmla="*/ 0 h 31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49"/>
                <a:gd name="T28" fmla="*/ 0 h 317"/>
                <a:gd name="T29" fmla="*/ 1549 w 1549"/>
                <a:gd name="T30" fmla="*/ 317 h 31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49" h="317">
                  <a:moveTo>
                    <a:pt x="0" y="182"/>
                  </a:moveTo>
                  <a:lnTo>
                    <a:pt x="19" y="0"/>
                  </a:lnTo>
                  <a:lnTo>
                    <a:pt x="401" y="135"/>
                  </a:lnTo>
                  <a:lnTo>
                    <a:pt x="1149" y="135"/>
                  </a:lnTo>
                  <a:lnTo>
                    <a:pt x="1531" y="0"/>
                  </a:lnTo>
                  <a:lnTo>
                    <a:pt x="1549" y="182"/>
                  </a:lnTo>
                  <a:lnTo>
                    <a:pt x="1158" y="317"/>
                  </a:lnTo>
                  <a:lnTo>
                    <a:pt x="392" y="317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rgbClr val="80808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8" name="Freeform 196"/>
            <p:cNvSpPr>
              <a:spLocks/>
            </p:cNvSpPr>
            <p:nvPr/>
          </p:nvSpPr>
          <p:spPr bwMode="auto">
            <a:xfrm>
              <a:off x="757" y="2470"/>
              <a:ext cx="3" cy="46"/>
            </a:xfrm>
            <a:custGeom>
              <a:avLst/>
              <a:gdLst>
                <a:gd name="T0" fmla="*/ 0 w 10"/>
                <a:gd name="T1" fmla="*/ 0 h 181"/>
                <a:gd name="T2" fmla="*/ 0 w 10"/>
                <a:gd name="T3" fmla="*/ 0 h 181"/>
                <a:gd name="T4" fmla="*/ 0 w 10"/>
                <a:gd name="T5" fmla="*/ 0 h 181"/>
                <a:gd name="T6" fmla="*/ 0 w 10"/>
                <a:gd name="T7" fmla="*/ 0 h 181"/>
                <a:gd name="T8" fmla="*/ 0 w 10"/>
                <a:gd name="T9" fmla="*/ 0 h 181"/>
                <a:gd name="T10" fmla="*/ 0 w 10"/>
                <a:gd name="T11" fmla="*/ 0 h 181"/>
                <a:gd name="T12" fmla="*/ 0 w 10"/>
                <a:gd name="T13" fmla="*/ 0 h 181"/>
                <a:gd name="T14" fmla="*/ 0 w 10"/>
                <a:gd name="T15" fmla="*/ 0 h 181"/>
                <a:gd name="T16" fmla="*/ 0 w 10"/>
                <a:gd name="T17" fmla="*/ 0 h 181"/>
                <a:gd name="T18" fmla="*/ 0 w 10"/>
                <a:gd name="T19" fmla="*/ 0 h 181"/>
                <a:gd name="T20" fmla="*/ 0 w 10"/>
                <a:gd name="T21" fmla="*/ 0 h 181"/>
                <a:gd name="T22" fmla="*/ 0 w 10"/>
                <a:gd name="T23" fmla="*/ 0 h 181"/>
                <a:gd name="T24" fmla="*/ 0 w 10"/>
                <a:gd name="T25" fmla="*/ 0 h 181"/>
                <a:gd name="T26" fmla="*/ 0 w 10"/>
                <a:gd name="T27" fmla="*/ 0 h 181"/>
                <a:gd name="T28" fmla="*/ 0 w 10"/>
                <a:gd name="T29" fmla="*/ 0 h 181"/>
                <a:gd name="T30" fmla="*/ 0 w 10"/>
                <a:gd name="T31" fmla="*/ 0 h 181"/>
                <a:gd name="T32" fmla="*/ 0 w 10"/>
                <a:gd name="T33" fmla="*/ 0 h 181"/>
                <a:gd name="T34" fmla="*/ 0 w 10"/>
                <a:gd name="T35" fmla="*/ 0 h 181"/>
                <a:gd name="T36" fmla="*/ 0 w 10"/>
                <a:gd name="T37" fmla="*/ 0 h 181"/>
                <a:gd name="T38" fmla="*/ 0 w 10"/>
                <a:gd name="T39" fmla="*/ 0 h 181"/>
                <a:gd name="T40" fmla="*/ 0 w 10"/>
                <a:gd name="T41" fmla="*/ 0 h 181"/>
                <a:gd name="T42" fmla="*/ 0 w 10"/>
                <a:gd name="T43" fmla="*/ 0 h 181"/>
                <a:gd name="T44" fmla="*/ 0 w 10"/>
                <a:gd name="T45" fmla="*/ 0 h 181"/>
                <a:gd name="T46" fmla="*/ 0 w 10"/>
                <a:gd name="T47" fmla="*/ 0 h 181"/>
                <a:gd name="T48" fmla="*/ 0 w 10"/>
                <a:gd name="T49" fmla="*/ 0 h 181"/>
                <a:gd name="T50" fmla="*/ 0 w 10"/>
                <a:gd name="T51" fmla="*/ 0 h 181"/>
                <a:gd name="T52" fmla="*/ 0 w 10"/>
                <a:gd name="T53" fmla="*/ 0 h 181"/>
                <a:gd name="T54" fmla="*/ 0 w 10"/>
                <a:gd name="T55" fmla="*/ 0 h 181"/>
                <a:gd name="T56" fmla="*/ 0 w 10"/>
                <a:gd name="T57" fmla="*/ 0 h 181"/>
                <a:gd name="T58" fmla="*/ 0 w 10"/>
                <a:gd name="T59" fmla="*/ 0 h 181"/>
                <a:gd name="T60" fmla="*/ 0 w 10"/>
                <a:gd name="T61" fmla="*/ 0 h 181"/>
                <a:gd name="T62" fmla="*/ 0 w 10"/>
                <a:gd name="T63" fmla="*/ 0 h 181"/>
                <a:gd name="T64" fmla="*/ 0 w 10"/>
                <a:gd name="T65" fmla="*/ 0 h 1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"/>
                <a:gd name="T100" fmla="*/ 0 h 181"/>
                <a:gd name="T101" fmla="*/ 10 w 10"/>
                <a:gd name="T102" fmla="*/ 181 h 1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" h="181">
                  <a:moveTo>
                    <a:pt x="10" y="0"/>
                  </a:moveTo>
                  <a:lnTo>
                    <a:pt x="9" y="6"/>
                  </a:lnTo>
                  <a:lnTo>
                    <a:pt x="9" y="12"/>
                  </a:lnTo>
                  <a:lnTo>
                    <a:pt x="9" y="18"/>
                  </a:lnTo>
                  <a:lnTo>
                    <a:pt x="9" y="23"/>
                  </a:lnTo>
                  <a:lnTo>
                    <a:pt x="7" y="28"/>
                  </a:lnTo>
                  <a:lnTo>
                    <a:pt x="7" y="35"/>
                  </a:lnTo>
                  <a:lnTo>
                    <a:pt x="7" y="40"/>
                  </a:lnTo>
                  <a:lnTo>
                    <a:pt x="7" y="46"/>
                  </a:lnTo>
                  <a:lnTo>
                    <a:pt x="6" y="51"/>
                  </a:lnTo>
                  <a:lnTo>
                    <a:pt x="6" y="57"/>
                  </a:lnTo>
                  <a:lnTo>
                    <a:pt x="6" y="63"/>
                  </a:lnTo>
                  <a:lnTo>
                    <a:pt x="5" y="68"/>
                  </a:lnTo>
                  <a:lnTo>
                    <a:pt x="5" y="74"/>
                  </a:lnTo>
                  <a:lnTo>
                    <a:pt x="5" y="80"/>
                  </a:lnTo>
                  <a:lnTo>
                    <a:pt x="5" y="85"/>
                  </a:lnTo>
                  <a:lnTo>
                    <a:pt x="5" y="91"/>
                  </a:lnTo>
                  <a:lnTo>
                    <a:pt x="4" y="96"/>
                  </a:lnTo>
                  <a:lnTo>
                    <a:pt x="4" y="102"/>
                  </a:lnTo>
                  <a:lnTo>
                    <a:pt x="4" y="108"/>
                  </a:lnTo>
                  <a:lnTo>
                    <a:pt x="3" y="113"/>
                  </a:lnTo>
                  <a:lnTo>
                    <a:pt x="3" y="120"/>
                  </a:lnTo>
                  <a:lnTo>
                    <a:pt x="3" y="125"/>
                  </a:lnTo>
                  <a:lnTo>
                    <a:pt x="3" y="131"/>
                  </a:lnTo>
                  <a:lnTo>
                    <a:pt x="2" y="136"/>
                  </a:lnTo>
                  <a:lnTo>
                    <a:pt x="2" y="141"/>
                  </a:lnTo>
                  <a:lnTo>
                    <a:pt x="2" y="148"/>
                  </a:lnTo>
                  <a:lnTo>
                    <a:pt x="2" y="153"/>
                  </a:lnTo>
                  <a:lnTo>
                    <a:pt x="1" y="158"/>
                  </a:lnTo>
                  <a:lnTo>
                    <a:pt x="1" y="164"/>
                  </a:lnTo>
                  <a:lnTo>
                    <a:pt x="1" y="170"/>
                  </a:lnTo>
                  <a:lnTo>
                    <a:pt x="1" y="176"/>
                  </a:lnTo>
                  <a:lnTo>
                    <a:pt x="0" y="181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9" name="Freeform 197"/>
            <p:cNvSpPr>
              <a:spLocks/>
            </p:cNvSpPr>
            <p:nvPr/>
          </p:nvSpPr>
          <p:spPr bwMode="auto">
            <a:xfrm>
              <a:off x="940" y="2470"/>
              <a:ext cx="2" cy="46"/>
            </a:xfrm>
            <a:custGeom>
              <a:avLst/>
              <a:gdLst>
                <a:gd name="T0" fmla="*/ 0 w 9"/>
                <a:gd name="T1" fmla="*/ 0 h 181"/>
                <a:gd name="T2" fmla="*/ 0 w 9"/>
                <a:gd name="T3" fmla="*/ 0 h 181"/>
                <a:gd name="T4" fmla="*/ 0 w 9"/>
                <a:gd name="T5" fmla="*/ 0 h 181"/>
                <a:gd name="T6" fmla="*/ 0 w 9"/>
                <a:gd name="T7" fmla="*/ 0 h 181"/>
                <a:gd name="T8" fmla="*/ 0 w 9"/>
                <a:gd name="T9" fmla="*/ 0 h 181"/>
                <a:gd name="T10" fmla="*/ 0 w 9"/>
                <a:gd name="T11" fmla="*/ 0 h 181"/>
                <a:gd name="T12" fmla="*/ 0 w 9"/>
                <a:gd name="T13" fmla="*/ 0 h 181"/>
                <a:gd name="T14" fmla="*/ 0 w 9"/>
                <a:gd name="T15" fmla="*/ 0 h 181"/>
                <a:gd name="T16" fmla="*/ 0 w 9"/>
                <a:gd name="T17" fmla="*/ 0 h 181"/>
                <a:gd name="T18" fmla="*/ 0 w 9"/>
                <a:gd name="T19" fmla="*/ 0 h 181"/>
                <a:gd name="T20" fmla="*/ 0 w 9"/>
                <a:gd name="T21" fmla="*/ 0 h 181"/>
                <a:gd name="T22" fmla="*/ 0 w 9"/>
                <a:gd name="T23" fmla="*/ 0 h 181"/>
                <a:gd name="T24" fmla="*/ 0 w 9"/>
                <a:gd name="T25" fmla="*/ 0 h 181"/>
                <a:gd name="T26" fmla="*/ 0 w 9"/>
                <a:gd name="T27" fmla="*/ 0 h 181"/>
                <a:gd name="T28" fmla="*/ 0 w 9"/>
                <a:gd name="T29" fmla="*/ 0 h 181"/>
                <a:gd name="T30" fmla="*/ 0 w 9"/>
                <a:gd name="T31" fmla="*/ 0 h 181"/>
                <a:gd name="T32" fmla="*/ 0 w 9"/>
                <a:gd name="T33" fmla="*/ 0 h 181"/>
                <a:gd name="T34" fmla="*/ 0 w 9"/>
                <a:gd name="T35" fmla="*/ 0 h 181"/>
                <a:gd name="T36" fmla="*/ 0 w 9"/>
                <a:gd name="T37" fmla="*/ 0 h 181"/>
                <a:gd name="T38" fmla="*/ 0 w 9"/>
                <a:gd name="T39" fmla="*/ 0 h 181"/>
                <a:gd name="T40" fmla="*/ 0 w 9"/>
                <a:gd name="T41" fmla="*/ 0 h 181"/>
                <a:gd name="T42" fmla="*/ 0 w 9"/>
                <a:gd name="T43" fmla="*/ 0 h 181"/>
                <a:gd name="T44" fmla="*/ 0 w 9"/>
                <a:gd name="T45" fmla="*/ 0 h 181"/>
                <a:gd name="T46" fmla="*/ 0 w 9"/>
                <a:gd name="T47" fmla="*/ 0 h 181"/>
                <a:gd name="T48" fmla="*/ 0 w 9"/>
                <a:gd name="T49" fmla="*/ 0 h 181"/>
                <a:gd name="T50" fmla="*/ 0 w 9"/>
                <a:gd name="T51" fmla="*/ 0 h 181"/>
                <a:gd name="T52" fmla="*/ 0 w 9"/>
                <a:gd name="T53" fmla="*/ 0 h 181"/>
                <a:gd name="T54" fmla="*/ 0 w 9"/>
                <a:gd name="T55" fmla="*/ 0 h 181"/>
                <a:gd name="T56" fmla="*/ 0 w 9"/>
                <a:gd name="T57" fmla="*/ 0 h 181"/>
                <a:gd name="T58" fmla="*/ 0 w 9"/>
                <a:gd name="T59" fmla="*/ 0 h 181"/>
                <a:gd name="T60" fmla="*/ 0 w 9"/>
                <a:gd name="T61" fmla="*/ 0 h 181"/>
                <a:gd name="T62" fmla="*/ 0 w 9"/>
                <a:gd name="T63" fmla="*/ 0 h 181"/>
                <a:gd name="T64" fmla="*/ 0 w 9"/>
                <a:gd name="T65" fmla="*/ 0 h 1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"/>
                <a:gd name="T100" fmla="*/ 0 h 181"/>
                <a:gd name="T101" fmla="*/ 9 w 9"/>
                <a:gd name="T102" fmla="*/ 181 h 1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" h="181">
                  <a:moveTo>
                    <a:pt x="9" y="181"/>
                  </a:moveTo>
                  <a:lnTo>
                    <a:pt x="9" y="176"/>
                  </a:lnTo>
                  <a:lnTo>
                    <a:pt x="9" y="170"/>
                  </a:lnTo>
                  <a:lnTo>
                    <a:pt x="8" y="164"/>
                  </a:lnTo>
                  <a:lnTo>
                    <a:pt x="8" y="158"/>
                  </a:lnTo>
                  <a:lnTo>
                    <a:pt x="8" y="153"/>
                  </a:lnTo>
                  <a:lnTo>
                    <a:pt x="8" y="148"/>
                  </a:lnTo>
                  <a:lnTo>
                    <a:pt x="6" y="141"/>
                  </a:lnTo>
                  <a:lnTo>
                    <a:pt x="6" y="136"/>
                  </a:lnTo>
                  <a:lnTo>
                    <a:pt x="6" y="131"/>
                  </a:lnTo>
                  <a:lnTo>
                    <a:pt x="6" y="125"/>
                  </a:lnTo>
                  <a:lnTo>
                    <a:pt x="5" y="120"/>
                  </a:lnTo>
                  <a:lnTo>
                    <a:pt x="5" y="113"/>
                  </a:lnTo>
                  <a:lnTo>
                    <a:pt x="5" y="108"/>
                  </a:lnTo>
                  <a:lnTo>
                    <a:pt x="5" y="102"/>
                  </a:lnTo>
                  <a:lnTo>
                    <a:pt x="4" y="97"/>
                  </a:lnTo>
                  <a:lnTo>
                    <a:pt x="4" y="91"/>
                  </a:lnTo>
                  <a:lnTo>
                    <a:pt x="4" y="85"/>
                  </a:lnTo>
                  <a:lnTo>
                    <a:pt x="4" y="80"/>
                  </a:lnTo>
                  <a:lnTo>
                    <a:pt x="3" y="75"/>
                  </a:lnTo>
                  <a:lnTo>
                    <a:pt x="3" y="68"/>
                  </a:lnTo>
                  <a:lnTo>
                    <a:pt x="3" y="63"/>
                  </a:lnTo>
                  <a:lnTo>
                    <a:pt x="3" y="57"/>
                  </a:lnTo>
                  <a:lnTo>
                    <a:pt x="2" y="51"/>
                  </a:lnTo>
                  <a:lnTo>
                    <a:pt x="2" y="46"/>
                  </a:lnTo>
                  <a:lnTo>
                    <a:pt x="2" y="40"/>
                  </a:lnTo>
                  <a:lnTo>
                    <a:pt x="2" y="35"/>
                  </a:lnTo>
                  <a:lnTo>
                    <a:pt x="1" y="28"/>
                  </a:lnTo>
                  <a:lnTo>
                    <a:pt x="1" y="23"/>
                  </a:lnTo>
                  <a:lnTo>
                    <a:pt x="1" y="18"/>
                  </a:lnTo>
                  <a:lnTo>
                    <a:pt x="1" y="12"/>
                  </a:ln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0" name="Line 198"/>
            <p:cNvSpPr>
              <a:spLocks noChangeShapeType="1"/>
            </p:cNvSpPr>
            <p:nvPr/>
          </p:nvSpPr>
          <p:spPr bwMode="auto">
            <a:xfrm flipV="1">
              <a:off x="754" y="2538"/>
              <a:ext cx="1" cy="4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1" name="Line 199"/>
            <p:cNvSpPr>
              <a:spLocks noChangeShapeType="1"/>
            </p:cNvSpPr>
            <p:nvPr/>
          </p:nvSpPr>
          <p:spPr bwMode="auto">
            <a:xfrm flipV="1">
              <a:off x="945" y="2538"/>
              <a:ext cx="1" cy="46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2" name="Rectangle 200"/>
            <p:cNvSpPr>
              <a:spLocks noChangeArrowheads="1"/>
            </p:cNvSpPr>
            <p:nvPr/>
          </p:nvSpPr>
          <p:spPr bwMode="auto">
            <a:xfrm>
              <a:off x="1036" y="2383"/>
              <a:ext cx="13" cy="176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423" name="Rectangle 201"/>
            <p:cNvSpPr>
              <a:spLocks noChangeArrowheads="1"/>
            </p:cNvSpPr>
            <p:nvPr/>
          </p:nvSpPr>
          <p:spPr bwMode="auto">
            <a:xfrm>
              <a:off x="652" y="2389"/>
              <a:ext cx="14" cy="176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zh-CN" altLang="en-US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5372" name="Freeform 3047"/>
          <p:cNvSpPr>
            <a:spLocks/>
          </p:cNvSpPr>
          <p:nvPr/>
        </p:nvSpPr>
        <p:spPr bwMode="auto">
          <a:xfrm rot="14084242" flipV="1">
            <a:off x="1826419" y="2131219"/>
            <a:ext cx="741363" cy="561975"/>
          </a:xfrm>
          <a:custGeom>
            <a:avLst/>
            <a:gdLst>
              <a:gd name="T0" fmla="*/ 0 w 467"/>
              <a:gd name="T1" fmla="*/ 0 h 439"/>
              <a:gd name="T2" fmla="*/ 2147483647 w 467"/>
              <a:gd name="T3" fmla="*/ 2147483647 h 439"/>
              <a:gd name="T4" fmla="*/ 2147483647 w 467"/>
              <a:gd name="T5" fmla="*/ 2147483647 h 439"/>
              <a:gd name="T6" fmla="*/ 2147483647 w 467"/>
              <a:gd name="T7" fmla="*/ 2147483647 h 439"/>
              <a:gd name="T8" fmla="*/ 0 60000 65536"/>
              <a:gd name="T9" fmla="*/ 0 60000 65536"/>
              <a:gd name="T10" fmla="*/ 0 60000 65536"/>
              <a:gd name="T11" fmla="*/ 0 60000 65536"/>
              <a:gd name="T12" fmla="*/ 0 w 467"/>
              <a:gd name="T13" fmla="*/ 0 h 439"/>
              <a:gd name="T14" fmla="*/ 467 w 467"/>
              <a:gd name="T15" fmla="*/ 439 h 4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67" h="439">
                <a:moveTo>
                  <a:pt x="0" y="0"/>
                </a:moveTo>
                <a:lnTo>
                  <a:pt x="326" y="241"/>
                </a:lnTo>
                <a:lnTo>
                  <a:pt x="150" y="202"/>
                </a:lnTo>
                <a:lnTo>
                  <a:pt x="466" y="438"/>
                </a:lnTo>
              </a:path>
            </a:pathLst>
          </a:custGeom>
          <a:noFill/>
          <a:ln w="50800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grpSp>
        <p:nvGrpSpPr>
          <p:cNvPr id="12" name="Group 3055"/>
          <p:cNvGrpSpPr>
            <a:grpSpLocks/>
          </p:cNvGrpSpPr>
          <p:nvPr/>
        </p:nvGrpSpPr>
        <p:grpSpPr bwMode="auto">
          <a:xfrm>
            <a:off x="1616075" y="2062163"/>
            <a:ext cx="573088" cy="384175"/>
            <a:chOff x="0" y="2403"/>
            <a:chExt cx="877" cy="669"/>
          </a:xfrm>
        </p:grpSpPr>
        <p:sp>
          <p:nvSpPr>
            <p:cNvPr id="15405" name="Text Box 3050"/>
            <p:cNvSpPr txBox="1">
              <a:spLocks noChangeArrowheads="1"/>
            </p:cNvSpPr>
            <p:nvPr/>
          </p:nvSpPr>
          <p:spPr bwMode="auto">
            <a:xfrm>
              <a:off x="0" y="2403"/>
              <a:ext cx="877" cy="4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altLang="zh-CN" sz="1200" b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FAIL!!</a:t>
              </a:r>
            </a:p>
          </p:txBody>
        </p:sp>
        <p:grpSp>
          <p:nvGrpSpPr>
            <p:cNvPr id="13" name="Group 3054"/>
            <p:cNvGrpSpPr>
              <a:grpSpLocks/>
            </p:cNvGrpSpPr>
            <p:nvPr/>
          </p:nvGrpSpPr>
          <p:grpSpPr bwMode="auto">
            <a:xfrm>
              <a:off x="384" y="2784"/>
              <a:ext cx="288" cy="288"/>
              <a:chOff x="2400" y="3408"/>
              <a:chExt cx="288" cy="288"/>
            </a:xfrm>
          </p:grpSpPr>
          <p:sp>
            <p:nvSpPr>
              <p:cNvPr id="15407" name="Line 3052"/>
              <p:cNvSpPr>
                <a:spLocks noChangeShapeType="1"/>
              </p:cNvSpPr>
              <p:nvPr/>
            </p:nvSpPr>
            <p:spPr bwMode="auto">
              <a:xfrm flipH="1">
                <a:off x="2400" y="3408"/>
                <a:ext cx="288" cy="288"/>
              </a:xfrm>
              <a:prstGeom prst="line">
                <a:avLst/>
              </a:prstGeom>
              <a:noFill/>
              <a:ln w="381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15408" name="Line 3053"/>
              <p:cNvSpPr>
                <a:spLocks noChangeShapeType="1"/>
              </p:cNvSpPr>
              <p:nvPr/>
            </p:nvSpPr>
            <p:spPr bwMode="auto">
              <a:xfrm>
                <a:off x="2400" y="3408"/>
                <a:ext cx="288" cy="288"/>
              </a:xfrm>
              <a:prstGeom prst="line">
                <a:avLst/>
              </a:prstGeom>
              <a:noFill/>
              <a:ln w="381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sp>
        <p:nvSpPr>
          <p:cNvPr id="15374" name="TextBox 2995"/>
          <p:cNvSpPr txBox="1">
            <a:spLocks noChangeArrowheads="1"/>
          </p:cNvSpPr>
          <p:nvPr/>
        </p:nvSpPr>
        <p:spPr bwMode="auto">
          <a:xfrm>
            <a:off x="3795713" y="2517775"/>
            <a:ext cx="4572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>
            <a:spAutoFit/>
          </a:bodyPr>
          <a:lstStyle/>
          <a:p>
            <a:r>
              <a:rPr lang="en-US" altLang="zh-CN" sz="900">
                <a:solidFill>
                  <a:srgbClr val="000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Voice</a:t>
            </a:r>
            <a:endParaRPr lang="zh-CN" altLang="en-US" sz="900">
              <a:solidFill>
                <a:srgbClr val="000000"/>
              </a:solidFill>
              <a:latin typeface="Arial" pitchFamily="34" charset="0"/>
              <a:ea typeface="华文细黑" pitchFamily="2" charset="-122"/>
              <a:cs typeface="Arial" pitchFamily="34" charset="0"/>
            </a:endParaRPr>
          </a:p>
        </p:txBody>
      </p:sp>
      <p:sp>
        <p:nvSpPr>
          <p:cNvPr id="15375" name="TextBox 37"/>
          <p:cNvSpPr txBox="1">
            <a:spLocks noChangeArrowheads="1"/>
          </p:cNvSpPr>
          <p:nvPr/>
        </p:nvSpPr>
        <p:spPr bwMode="auto">
          <a:xfrm>
            <a:off x="436563" y="3911600"/>
            <a:ext cx="8707437" cy="688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marL="139700" indent="-139700" defTabSz="814388" eaLnBrk="0" hangingPunct="0">
              <a:lnSpc>
                <a:spcPct val="150000"/>
              </a:lnSpc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sym typeface="Wingdings" pitchFamily="2" charset="2"/>
              </a:rPr>
              <a:t>Digital </a:t>
            </a: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DMO to enable group voice communication in field where network is not available</a:t>
            </a:r>
          </a:p>
          <a:p>
            <a:pPr marL="139700" indent="-139700" defTabSz="814388" eaLnBrk="0" hangingPunct="0">
              <a:lnSpc>
                <a:spcPct val="150000"/>
              </a:lnSpc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Fallback to ensure available communication under the same </a:t>
            </a:r>
            <a:r>
              <a:rPr lang="en-US" altLang="zh-CN" sz="1400" dirty="0" err="1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eNode</a:t>
            </a: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 B if core network fails</a:t>
            </a:r>
          </a:p>
        </p:txBody>
      </p:sp>
      <p:sp>
        <p:nvSpPr>
          <p:cNvPr id="3003" name="圆角矩形 73"/>
          <p:cNvSpPr/>
          <p:nvPr/>
        </p:nvSpPr>
        <p:spPr bwMode="auto">
          <a:xfrm>
            <a:off x="521293" y="914846"/>
            <a:ext cx="3905428" cy="329268"/>
          </a:xfrm>
          <a:prstGeom prst="roundRect">
            <a:avLst/>
          </a:prstGeom>
          <a:solidFill>
            <a:srgbClr val="B90000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6846" tIns="8423" rIns="16846" bIns="8423" anchor="ctr" anchorCtr="1"/>
          <a:lstStyle/>
          <a:p>
            <a:pPr defTabSz="587375" eaLnBrk="0" hangingPunct="0">
              <a:buClr>
                <a:srgbClr val="CC9900"/>
              </a:buClr>
              <a:buSzPct val="60000"/>
              <a:buFont typeface="Wingdings" pitchFamily="2" charset="2"/>
              <a:buNone/>
            </a:pPr>
            <a:r>
              <a:rPr lang="en-US" altLang="zh-CN" sz="1400" b="1">
                <a:solidFill>
                  <a:srgbClr val="FFFFFF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Digital DMO Mode</a:t>
            </a:r>
            <a:endParaRPr lang="zh-CN" altLang="en-US" sz="1400" b="1">
              <a:solidFill>
                <a:srgbClr val="FFFFFF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3004" name="圆角矩形 73"/>
          <p:cNvSpPr/>
          <p:nvPr/>
        </p:nvSpPr>
        <p:spPr bwMode="auto">
          <a:xfrm>
            <a:off x="4707308" y="918790"/>
            <a:ext cx="3905428" cy="329268"/>
          </a:xfrm>
          <a:prstGeom prst="roundRect">
            <a:avLst/>
          </a:prstGeom>
          <a:solidFill>
            <a:srgbClr val="B90000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>
            <a:ext uri="{909E8E84-426E-40DD-AFC4-6F175D3DCCD1}"/>
            <a:ext uri="{91240B29-F687-4F45-9708-019B960494DF}"/>
            <a:ext uri="{AF507438-7753-43E0-B8FC-AC1667EBCBE1}"/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6846" tIns="8423" rIns="16846" bIns="8423" anchor="ctr" anchorCtr="1"/>
          <a:lstStyle/>
          <a:p>
            <a:pPr defTabSz="587375" eaLnBrk="0" hangingPunct="0">
              <a:buClr>
                <a:srgbClr val="CC9900"/>
              </a:buClr>
              <a:buSzPct val="60000"/>
              <a:buFont typeface="Wingdings" pitchFamily="2" charset="2"/>
              <a:buNone/>
            </a:pPr>
            <a:r>
              <a:rPr lang="en-US" altLang="zh-CN" sz="1400" b="1">
                <a:solidFill>
                  <a:srgbClr val="FFFFFF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Fall Back Mode</a:t>
            </a:r>
            <a:endParaRPr lang="zh-CN" altLang="en-US" sz="1400" b="1">
              <a:solidFill>
                <a:srgbClr val="FFFFFF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</p:txBody>
      </p:sp>
      <p:pic>
        <p:nvPicPr>
          <p:cNvPr id="15382" name="Picture 2" descr="eCNS1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70563" y="1384300"/>
            <a:ext cx="376237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83" name="Picture 528" descr="图片13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89663" y="2022475"/>
            <a:ext cx="515937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84" name="直接连接符 58"/>
          <p:cNvCxnSpPr>
            <a:cxnSpLocks noChangeShapeType="1"/>
          </p:cNvCxnSpPr>
          <p:nvPr/>
        </p:nvCxnSpPr>
        <p:spPr bwMode="auto">
          <a:xfrm>
            <a:off x="5980113" y="1787525"/>
            <a:ext cx="485775" cy="422275"/>
          </a:xfrm>
          <a:prstGeom prst="line">
            <a:avLst/>
          </a:prstGeom>
          <a:noFill/>
          <a:ln w="25400" algn="ctr">
            <a:solidFill>
              <a:srgbClr val="0000FF"/>
            </a:solidFill>
            <a:round/>
            <a:headEnd/>
            <a:tailEnd/>
          </a:ln>
        </p:spPr>
      </p:cxnSp>
      <p:pic>
        <p:nvPicPr>
          <p:cNvPr id="15385" name="Picture 13" descr="eCNS1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829425" y="1384300"/>
            <a:ext cx="377825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86" name="直接连接符 58"/>
          <p:cNvCxnSpPr>
            <a:cxnSpLocks noChangeShapeType="1"/>
          </p:cNvCxnSpPr>
          <p:nvPr/>
        </p:nvCxnSpPr>
        <p:spPr bwMode="auto">
          <a:xfrm flipH="1">
            <a:off x="6465888" y="1787525"/>
            <a:ext cx="574675" cy="422275"/>
          </a:xfrm>
          <a:prstGeom prst="line">
            <a:avLst/>
          </a:prstGeom>
          <a:noFill/>
          <a:ln w="25400" algn="ctr">
            <a:solidFill>
              <a:srgbClr val="0000FF"/>
            </a:solidFill>
            <a:round/>
            <a:headEnd/>
            <a:tailEnd/>
          </a:ln>
        </p:spPr>
      </p:cxnSp>
      <p:grpSp>
        <p:nvGrpSpPr>
          <p:cNvPr id="14" name="组合 47"/>
          <p:cNvGrpSpPr>
            <a:grpSpLocks/>
          </p:cNvGrpSpPr>
          <p:nvPr/>
        </p:nvGrpSpPr>
        <p:grpSpPr bwMode="auto">
          <a:xfrm>
            <a:off x="6003925" y="1830388"/>
            <a:ext cx="222250" cy="188912"/>
            <a:chOff x="4987648" y="2546479"/>
            <a:chExt cx="440100" cy="307240"/>
          </a:xfrm>
        </p:grpSpPr>
        <p:cxnSp>
          <p:nvCxnSpPr>
            <p:cNvPr id="3005" name="Straight Connector 24"/>
            <p:cNvCxnSpPr/>
            <p:nvPr/>
          </p:nvCxnSpPr>
          <p:spPr>
            <a:xfrm flipH="1">
              <a:off x="5059951" y="2546479"/>
              <a:ext cx="254628" cy="30724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06" name="Straight Connector 26"/>
            <p:cNvCxnSpPr/>
            <p:nvPr/>
          </p:nvCxnSpPr>
          <p:spPr>
            <a:xfrm flipH="1" flipV="1">
              <a:off x="4987648" y="2660081"/>
              <a:ext cx="440100" cy="80037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388" name="Picture 27" descr="移动终端-正.pn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21363" y="2714625"/>
            <a:ext cx="166687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89" name="Picture 27" descr="移动终端-正.pn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58025" y="2714625"/>
            <a:ext cx="165100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13" name="Freeform 51"/>
          <p:cNvSpPr/>
          <p:nvPr/>
        </p:nvSpPr>
        <p:spPr>
          <a:xfrm>
            <a:off x="5989638" y="2297113"/>
            <a:ext cx="622300" cy="746125"/>
          </a:xfrm>
          <a:custGeom>
            <a:avLst/>
            <a:gdLst>
              <a:gd name="connsiteX0" fmla="*/ 997527 w 1213658"/>
              <a:gd name="connsiteY0" fmla="*/ 967047 h 1083425"/>
              <a:gd name="connsiteX1" fmla="*/ 1047403 w 1213658"/>
              <a:gd name="connsiteY1" fmla="*/ 19396 h 1083425"/>
              <a:gd name="connsiteX2" fmla="*/ 0 w 1213658"/>
              <a:gd name="connsiteY2" fmla="*/ 1083425 h 1083425"/>
              <a:gd name="connsiteX3" fmla="*/ 0 w 1213658"/>
              <a:gd name="connsiteY3" fmla="*/ 1083425 h 1083425"/>
              <a:gd name="connsiteX0" fmla="*/ 1138220 w 1246285"/>
              <a:gd name="connsiteY0" fmla="*/ 1395756 h 1395756"/>
              <a:gd name="connsiteX1" fmla="*/ 1047403 w 1246285"/>
              <a:gd name="connsiteY1" fmla="*/ 47390 h 1395756"/>
              <a:gd name="connsiteX2" fmla="*/ 0 w 1246285"/>
              <a:gd name="connsiteY2" fmla="*/ 1111419 h 1395756"/>
              <a:gd name="connsiteX3" fmla="*/ 0 w 1246285"/>
              <a:gd name="connsiteY3" fmla="*/ 1111419 h 139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46285" h="1395756">
                <a:moveTo>
                  <a:pt x="1138220" y="1395756"/>
                </a:moveTo>
                <a:cubicBezTo>
                  <a:pt x="1246285" y="912232"/>
                  <a:pt x="1237106" y="94780"/>
                  <a:pt x="1047403" y="47390"/>
                </a:cubicBezTo>
                <a:cubicBezTo>
                  <a:pt x="857700" y="0"/>
                  <a:pt x="0" y="1111419"/>
                  <a:pt x="0" y="1111419"/>
                </a:cubicBezTo>
                <a:lnTo>
                  <a:pt x="0" y="1111419"/>
                </a:lnTo>
              </a:path>
            </a:pathLst>
          </a:cu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62" tIns="34281" rIns="68562" bIns="34281" anchor="ctr"/>
          <a:lstStyle/>
          <a:p>
            <a:pPr algn="ctr">
              <a:defRPr/>
            </a:pPr>
            <a:endParaRPr lang="zh-CN" altLang="en-US"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sp>
        <p:nvSpPr>
          <p:cNvPr id="3014" name="Freeform 52"/>
          <p:cNvSpPr/>
          <p:nvPr/>
        </p:nvSpPr>
        <p:spPr>
          <a:xfrm>
            <a:off x="6416675" y="2316163"/>
            <a:ext cx="784225" cy="695325"/>
          </a:xfrm>
          <a:custGeom>
            <a:avLst/>
            <a:gdLst>
              <a:gd name="connsiteX0" fmla="*/ 0 w 1280160"/>
              <a:gd name="connsiteY0" fmla="*/ 38793 h 1122219"/>
              <a:gd name="connsiteX1" fmla="*/ 465513 w 1280160"/>
              <a:gd name="connsiteY1" fmla="*/ 155171 h 1122219"/>
              <a:gd name="connsiteX2" fmla="*/ 1064029 w 1280160"/>
              <a:gd name="connsiteY2" fmla="*/ 969819 h 1122219"/>
              <a:gd name="connsiteX3" fmla="*/ 1280160 w 1280160"/>
              <a:gd name="connsiteY3" fmla="*/ 1069571 h 1122219"/>
              <a:gd name="connsiteX4" fmla="*/ 1280160 w 1280160"/>
              <a:gd name="connsiteY4" fmla="*/ 1069571 h 1122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0160" h="1122219">
                <a:moveTo>
                  <a:pt x="0" y="38793"/>
                </a:moveTo>
                <a:cubicBezTo>
                  <a:pt x="144087" y="19396"/>
                  <a:pt x="288175" y="0"/>
                  <a:pt x="465513" y="155171"/>
                </a:cubicBezTo>
                <a:cubicBezTo>
                  <a:pt x="642851" y="310342"/>
                  <a:pt x="928255" y="817419"/>
                  <a:pt x="1064029" y="969819"/>
                </a:cubicBezTo>
                <a:cubicBezTo>
                  <a:pt x="1199803" y="1122219"/>
                  <a:pt x="1280160" y="1069571"/>
                  <a:pt x="1280160" y="1069571"/>
                </a:cubicBezTo>
                <a:lnTo>
                  <a:pt x="1280160" y="1069571"/>
                </a:lnTo>
              </a:path>
            </a:pathLst>
          </a:custGeom>
          <a:ln w="1905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62" tIns="34281" rIns="68562" bIns="34281" anchor="ctr"/>
          <a:lstStyle/>
          <a:p>
            <a:pPr algn="ctr">
              <a:defRPr/>
            </a:pPr>
            <a:endParaRPr lang="zh-CN" altLang="en-US">
              <a:latin typeface="Arial Unicode MS" pitchFamily="34" charset="-122"/>
              <a:ea typeface="Arial Unicode MS" pitchFamily="34" charset="-122"/>
              <a:cs typeface="Arial Unicode MS" pitchFamily="34" charset="-122"/>
            </a:endParaRPr>
          </a:p>
        </p:txBody>
      </p:sp>
      <p:cxnSp>
        <p:nvCxnSpPr>
          <p:cNvPr id="3016" name="Straight Connector 38"/>
          <p:cNvCxnSpPr/>
          <p:nvPr/>
        </p:nvCxnSpPr>
        <p:spPr>
          <a:xfrm flipH="1">
            <a:off x="6819900" y="1809750"/>
            <a:ext cx="122238" cy="168275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7" name="Straight Connector 39"/>
          <p:cNvCxnSpPr/>
          <p:nvPr/>
        </p:nvCxnSpPr>
        <p:spPr>
          <a:xfrm flipH="1" flipV="1">
            <a:off x="6783388" y="1871663"/>
            <a:ext cx="212725" cy="42862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94" name="Picture 27" descr="移动终端-正.pn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37313" y="2700338"/>
            <a:ext cx="166687" cy="5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23" name="Rectangle 21"/>
          <p:cNvSpPr>
            <a:spLocks noChangeArrowheads="1"/>
          </p:cNvSpPr>
          <p:nvPr/>
        </p:nvSpPr>
        <p:spPr bwMode="auto">
          <a:xfrm>
            <a:off x="5527675" y="3359150"/>
            <a:ext cx="22891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defTabSz="762000">
              <a:defRPr/>
            </a:pPr>
            <a:r>
              <a:rPr lang="en-GB" altLang="zh-CN" sz="1200" dirty="0">
                <a:solidFill>
                  <a:srgbClr val="C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rPr>
              <a:t>PTP + Group call + Monitoring </a:t>
            </a:r>
            <a:endParaRPr lang="en-GB" altLang="zh-CN" sz="12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  <a:ea typeface="宋体" charset="-122"/>
              <a:cs typeface="Arial" pitchFamily="34" charset="0"/>
            </a:endParaRPr>
          </a:p>
        </p:txBody>
      </p:sp>
      <p:sp>
        <p:nvSpPr>
          <p:cNvPr id="82" name="Rectangle 21"/>
          <p:cNvSpPr>
            <a:spLocks noChangeArrowheads="1"/>
          </p:cNvSpPr>
          <p:nvPr/>
        </p:nvSpPr>
        <p:spPr bwMode="auto">
          <a:xfrm>
            <a:off x="733425" y="3371850"/>
            <a:ext cx="351155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defTabSz="762000">
              <a:defRPr/>
            </a:pPr>
            <a:r>
              <a:rPr lang="en-GB" altLang="zh-CN" sz="1200" dirty="0">
                <a:solidFill>
                  <a:srgbClr val="C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Arial" pitchFamily="34" charset="0"/>
                <a:ea typeface="宋体" charset="-122"/>
                <a:cs typeface="Arial" pitchFamily="34" charset="0"/>
              </a:rPr>
              <a:t>Group call with strong Anti-interference capability</a:t>
            </a:r>
            <a:endParaRPr lang="en-GB" altLang="zh-CN" sz="1200" dirty="0">
              <a:solidFill>
                <a:srgbClr val="C00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pitchFamily="34" charset="0"/>
              <a:ea typeface="宋体" charset="-122"/>
              <a:cs typeface="Arial" pitchFamily="34" charset="0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 bwMode="auto">
          <a:xfrm>
            <a:off x="274638" y="246063"/>
            <a:ext cx="8894762" cy="66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altLang="zh-CN" sz="2100" b="1" noProof="1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  <a:sym typeface="Calibri" pitchFamily="34" charset="0"/>
              </a:rPr>
              <a:t>Ruggedized Devices &amp; Professional Accessories for Harsh Environments</a:t>
            </a:r>
          </a:p>
        </p:txBody>
      </p:sp>
      <p:sp>
        <p:nvSpPr>
          <p:cNvPr id="4" name="Rounded Rectangle 41"/>
          <p:cNvSpPr/>
          <p:nvPr/>
        </p:nvSpPr>
        <p:spPr bwMode="auto">
          <a:xfrm>
            <a:off x="4475163" y="965200"/>
            <a:ext cx="4010025" cy="3606800"/>
          </a:xfrm>
          <a:prstGeom prst="roundRect">
            <a:avLst>
              <a:gd name="adj" fmla="val 1532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sp>
      <p:sp>
        <p:nvSpPr>
          <p:cNvPr id="5" name="矩形 4"/>
          <p:cNvSpPr/>
          <p:nvPr>
            <p:custDataLst>
              <p:tags r:id="rId1"/>
            </p:custDataLst>
          </p:nvPr>
        </p:nvSpPr>
        <p:spPr bwMode="auto">
          <a:xfrm>
            <a:off x="4525963" y="3432175"/>
            <a:ext cx="2600325" cy="30162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5214" tIns="57607" rIns="115214" bIns="57607" anchor="ctr"/>
          <a:lstStyle/>
          <a:p>
            <a:pPr algn="ctr" defTabSz="822325">
              <a:lnSpc>
                <a:spcPts val="2000"/>
              </a:lnSpc>
              <a:buClr>
                <a:srgbClr val="C00000"/>
              </a:buClr>
              <a:buSzPct val="60000"/>
            </a:pPr>
            <a:endParaRPr kumimoji="1" lang="en-US" altLang="zh-CN" sz="1600"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" name="矩形 5"/>
          <p:cNvSpPr/>
          <p:nvPr>
            <p:custDataLst>
              <p:tags r:id="rId2"/>
            </p:custDataLst>
          </p:nvPr>
        </p:nvSpPr>
        <p:spPr bwMode="auto">
          <a:xfrm>
            <a:off x="4525963" y="1377950"/>
            <a:ext cx="2600325" cy="301625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5214" tIns="57607" rIns="115214" bIns="57607" anchor="ctr"/>
          <a:lstStyle/>
          <a:p>
            <a:pPr algn="ctr" defTabSz="822325">
              <a:lnSpc>
                <a:spcPts val="2000"/>
              </a:lnSpc>
              <a:buClr>
                <a:srgbClr val="C00000"/>
              </a:buClr>
              <a:buSzPct val="60000"/>
            </a:pPr>
            <a:endParaRPr kumimoji="1" lang="en-US" altLang="zh-CN" sz="1600"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" name="矩形 6"/>
          <p:cNvSpPr/>
          <p:nvPr>
            <p:custDataLst>
              <p:tags r:id="rId3"/>
            </p:custDataLst>
          </p:nvPr>
        </p:nvSpPr>
        <p:spPr bwMode="auto">
          <a:xfrm>
            <a:off x="4525963" y="2428875"/>
            <a:ext cx="2600325" cy="303213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tx1">
                  <a:lumMod val="75000"/>
                  <a:lumOff val="2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5214" tIns="57607" rIns="115214" bIns="57607" anchor="ctr"/>
          <a:lstStyle/>
          <a:p>
            <a:pPr algn="ctr" defTabSz="822325">
              <a:lnSpc>
                <a:spcPts val="2000"/>
              </a:lnSpc>
              <a:buClr>
                <a:srgbClr val="C00000"/>
              </a:buClr>
              <a:buSzPct val="60000"/>
            </a:pPr>
            <a:endParaRPr kumimoji="1" lang="en-US" altLang="zh-CN" sz="1600"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8" name="矩形 7"/>
          <p:cNvSpPr/>
          <p:nvPr>
            <p:custDataLst>
              <p:tags r:id="rId4"/>
            </p:custDataLst>
          </p:nvPr>
        </p:nvSpPr>
        <p:spPr bwMode="auto">
          <a:xfrm>
            <a:off x="4525963" y="1003300"/>
            <a:ext cx="3910012" cy="301625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121935" tIns="60968" rIns="121935" bIns="60968"/>
          <a:lstStyle/>
          <a:p>
            <a:pPr algn="ctr" defTabSz="731838" eaLnBrk="0" hangingPunct="0">
              <a:lnSpc>
                <a:spcPts val="3300"/>
              </a:lnSpc>
              <a:buClr>
                <a:srgbClr val="CC9900"/>
              </a:buClr>
              <a:buSzPct val="60000"/>
            </a:pPr>
            <a:endParaRPr lang="en-US" altLang="zh-CN" noProof="1">
              <a:solidFill>
                <a:schemeClr val="bg1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9" name="Rounded Rectangle 41"/>
          <p:cNvSpPr/>
          <p:nvPr/>
        </p:nvSpPr>
        <p:spPr bwMode="auto">
          <a:xfrm>
            <a:off x="374650" y="969963"/>
            <a:ext cx="4008438" cy="3606800"/>
          </a:xfrm>
          <a:prstGeom prst="roundRect">
            <a:avLst>
              <a:gd name="adj" fmla="val 1532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</p:sp>
      <p:sp>
        <p:nvSpPr>
          <p:cNvPr id="54281" name="Rectangle 11"/>
          <p:cNvSpPr>
            <a:spLocks noChangeArrowheads="1"/>
          </p:cNvSpPr>
          <p:nvPr/>
        </p:nvSpPr>
        <p:spPr bwMode="auto">
          <a:xfrm>
            <a:off x="790575" y="1000125"/>
            <a:ext cx="319563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7" tIns="45714" rIns="91427" bIns="45714" anchor="ctr"/>
          <a:lstStyle/>
          <a:p>
            <a:pPr algn="ctr"/>
            <a:r>
              <a:rPr kumimoji="1" lang="en-US" altLang="zh-CN" sz="1500" b="1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t>Ruggedized Devices</a:t>
            </a:r>
          </a:p>
        </p:txBody>
      </p:sp>
      <p:sp>
        <p:nvSpPr>
          <p:cNvPr id="54282" name="Rectangle 11"/>
          <p:cNvSpPr>
            <a:spLocks noChangeArrowheads="1"/>
          </p:cNvSpPr>
          <p:nvPr/>
        </p:nvSpPr>
        <p:spPr bwMode="auto">
          <a:xfrm>
            <a:off x="4699000" y="1000125"/>
            <a:ext cx="357028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7" tIns="45714" rIns="91427" bIns="45714" anchor="ctr"/>
          <a:lstStyle/>
          <a:p>
            <a:pPr algn="ctr"/>
            <a:r>
              <a:rPr kumimoji="1" lang="en-US" altLang="zh-CN" sz="1500" b="1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t>Professional Handset Accessories</a:t>
            </a:r>
          </a:p>
        </p:txBody>
      </p:sp>
      <p:pic>
        <p:nvPicPr>
          <p:cNvPr id="54283" name="Picture 18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219700" y="3738563"/>
            <a:ext cx="1192213" cy="766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84" name="Picture 21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70475" y="1689100"/>
            <a:ext cx="1309688" cy="722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85" name="Picture 24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876800" y="2797175"/>
            <a:ext cx="1868488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组合 3"/>
          <p:cNvGrpSpPr>
            <a:grpSpLocks/>
          </p:cNvGrpSpPr>
          <p:nvPr/>
        </p:nvGrpSpPr>
        <p:grpSpPr bwMode="auto">
          <a:xfrm>
            <a:off x="7262813" y="1385888"/>
            <a:ext cx="1073150" cy="3100387"/>
            <a:chOff x="7349752" y="1714500"/>
            <a:chExt cx="1235587" cy="3832860"/>
          </a:xfrm>
        </p:grpSpPr>
        <p:pic>
          <p:nvPicPr>
            <p:cNvPr id="54308" name="Picture 15"/>
            <p:cNvPicPr preferRelativeResize="0">
              <a:picLocks noChangeArrowheads="1"/>
            </p:cNvPicPr>
            <p:nvPr/>
          </p:nvPicPr>
          <p:blipFill>
            <a:blip r:embed="rId11" cstate="print">
              <a:lum contrast="20000"/>
            </a:blip>
            <a:srcRect/>
            <a:stretch>
              <a:fillRect/>
            </a:stretch>
          </p:blipFill>
          <p:spPr bwMode="auto">
            <a:xfrm>
              <a:off x="7349752" y="1714500"/>
              <a:ext cx="1235587" cy="1235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309" name="Picture 19"/>
            <p:cNvPicPr preferRelativeResize="0">
              <a:picLocks noChangeArrowheads="1"/>
            </p:cNvPicPr>
            <p:nvPr/>
          </p:nvPicPr>
          <p:blipFill>
            <a:blip r:embed="rId12" cstate="print">
              <a:lum contrast="20000"/>
            </a:blip>
            <a:srcRect/>
            <a:stretch>
              <a:fillRect/>
            </a:stretch>
          </p:blipFill>
          <p:spPr bwMode="auto">
            <a:xfrm>
              <a:off x="7349752" y="3013136"/>
              <a:ext cx="1235587" cy="1235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4310" name="Picture 3"/>
            <p:cNvPicPr preferRelativeResize="0">
              <a:picLocks noChangeArrowheads="1"/>
            </p:cNvPicPr>
            <p:nvPr/>
          </p:nvPicPr>
          <p:blipFill>
            <a:blip r:embed="rId13" cstate="print">
              <a:lum contrast="20000"/>
            </a:blip>
            <a:srcRect/>
            <a:stretch>
              <a:fillRect/>
            </a:stretch>
          </p:blipFill>
          <p:spPr bwMode="auto">
            <a:xfrm>
              <a:off x="7349752" y="4311773"/>
              <a:ext cx="1235587" cy="1235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4287" name="Rectangle 18"/>
          <p:cNvSpPr>
            <a:spLocks noChangeArrowheads="1"/>
          </p:cNvSpPr>
          <p:nvPr/>
        </p:nvSpPr>
        <p:spPr bwMode="auto">
          <a:xfrm>
            <a:off x="4665663" y="1404938"/>
            <a:ext cx="2309812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33" tIns="33916" rIns="67833" bIns="33916">
            <a:spAutoFit/>
          </a:bodyPr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and speaker/shoulder speaker</a:t>
            </a:r>
          </a:p>
        </p:txBody>
      </p:sp>
      <p:sp>
        <p:nvSpPr>
          <p:cNvPr id="54288" name="Rectangle 18"/>
          <p:cNvSpPr>
            <a:spLocks noChangeArrowheads="1"/>
          </p:cNvSpPr>
          <p:nvPr/>
        </p:nvSpPr>
        <p:spPr bwMode="auto">
          <a:xfrm>
            <a:off x="4675188" y="2468563"/>
            <a:ext cx="2292350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33" tIns="33916" rIns="67833" bIns="33916">
            <a:spAutoFit/>
          </a:bodyPr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roat vibration Mic headphone</a:t>
            </a:r>
          </a:p>
        </p:txBody>
      </p:sp>
      <p:sp>
        <p:nvSpPr>
          <p:cNvPr id="54289" name="Rectangle 18"/>
          <p:cNvSpPr>
            <a:spLocks noChangeArrowheads="1"/>
          </p:cNvSpPr>
          <p:nvPr/>
        </p:nvSpPr>
        <p:spPr bwMode="auto">
          <a:xfrm>
            <a:off x="4787900" y="3449638"/>
            <a:ext cx="206692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7833" tIns="33916" rIns="67833" bIns="33916">
            <a:spAutoFit/>
          </a:bodyPr>
          <a:lstStyle/>
          <a:p>
            <a:pPr algn="ctr"/>
            <a:r>
              <a:rPr lang="en-US" altLang="zh-CN" sz="120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ise-cancelling headphone</a:t>
            </a:r>
          </a:p>
        </p:txBody>
      </p:sp>
      <p:pic>
        <p:nvPicPr>
          <p:cNvPr id="54290" name="Picture 25" descr="CPE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66713" y="2784475"/>
            <a:ext cx="1033462" cy="471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91" name="Picture 4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08000" y="3395663"/>
            <a:ext cx="1041400" cy="1103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" name="Rectangle 116"/>
          <p:cNvSpPr>
            <a:spLocks noChangeArrowheads="1"/>
          </p:cNvSpPr>
          <p:nvPr/>
        </p:nvSpPr>
        <p:spPr bwMode="auto">
          <a:xfrm>
            <a:off x="1465263" y="1638300"/>
            <a:ext cx="2940050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>
            <a:spAutoFit/>
          </a:bodyPr>
          <a:lstStyle/>
          <a:p>
            <a:pPr marL="117475" indent="-117475" defTabSz="684213">
              <a:lnSpc>
                <a:spcPct val="120000"/>
              </a:lnSpc>
              <a:buClr>
                <a:srgbClr val="7F7F7F"/>
              </a:buClr>
              <a:buFontTx/>
              <a:buChar char="•"/>
            </a:pPr>
            <a:r>
              <a:rPr lang="en-US" altLang="zh-CN" sz="1200">
                <a:latin typeface="Arial" pitchFamily="34" charset="0"/>
                <a:ea typeface="微软雅黑" pitchFamily="34" charset="-122"/>
              </a:rPr>
              <a:t>IP67, 0.5m deep water &lt; 30 minutes</a:t>
            </a:r>
          </a:p>
          <a:p>
            <a:pPr marL="117475" indent="-117475" defTabSz="684213">
              <a:lnSpc>
                <a:spcPct val="120000"/>
              </a:lnSpc>
              <a:buClr>
                <a:srgbClr val="7F7F7F"/>
              </a:buClr>
              <a:buFontTx/>
              <a:buChar char="•"/>
            </a:pPr>
            <a:r>
              <a:rPr lang="en-US" altLang="zh-CN" sz="1200">
                <a:latin typeface="Arial" pitchFamily="34" charset="0"/>
                <a:ea typeface="微软雅黑" pitchFamily="34" charset="-122"/>
              </a:rPr>
              <a:t>Compliance with MIL-STD 810F</a:t>
            </a:r>
          </a:p>
          <a:p>
            <a:pPr marL="117475" indent="-117475" defTabSz="684213">
              <a:lnSpc>
                <a:spcPct val="120000"/>
              </a:lnSpc>
              <a:buClr>
                <a:srgbClr val="7F7F7F"/>
              </a:buClr>
              <a:buFontTx/>
              <a:buChar char="•"/>
            </a:pPr>
            <a:r>
              <a:rPr lang="en-US" altLang="zh-CN" sz="1200">
                <a:latin typeface="Arial" pitchFamily="34" charset="0"/>
                <a:ea typeface="微软雅黑" pitchFamily="34" charset="-122"/>
              </a:rPr>
              <a:t>Working temperature: </a:t>
            </a:r>
            <a:r>
              <a:rPr lang="zh-CN" altLang="en-US" sz="1200">
                <a:latin typeface="Arial" pitchFamily="34" charset="0"/>
                <a:ea typeface="微软雅黑" pitchFamily="34" charset="-122"/>
              </a:rPr>
              <a:t>－</a:t>
            </a:r>
            <a:r>
              <a:rPr lang="en-US" altLang="zh-CN" sz="1200">
                <a:latin typeface="Arial" pitchFamily="34" charset="0"/>
                <a:ea typeface="微软雅黑" pitchFamily="34" charset="-122"/>
              </a:rPr>
              <a:t>20℃</a:t>
            </a:r>
            <a:r>
              <a:rPr lang="zh-CN" altLang="en-US" sz="1200">
                <a:latin typeface="Arial" pitchFamily="34" charset="0"/>
                <a:ea typeface="微软雅黑" pitchFamily="34" charset="-122"/>
              </a:rPr>
              <a:t>～＋</a:t>
            </a:r>
            <a:r>
              <a:rPr lang="en-US" altLang="zh-CN" sz="1200">
                <a:latin typeface="Arial" pitchFamily="34" charset="0"/>
                <a:ea typeface="微软雅黑" pitchFamily="34" charset="-122"/>
              </a:rPr>
              <a:t>60℃</a:t>
            </a:r>
          </a:p>
        </p:txBody>
      </p:sp>
      <p:sp>
        <p:nvSpPr>
          <p:cNvPr id="53" name="Rectangle 116"/>
          <p:cNvSpPr>
            <a:spLocks noChangeArrowheads="1"/>
          </p:cNvSpPr>
          <p:nvPr/>
        </p:nvSpPr>
        <p:spPr bwMode="auto">
          <a:xfrm>
            <a:off x="1479550" y="2617788"/>
            <a:ext cx="2782888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>
            <a:spAutoFit/>
          </a:bodyPr>
          <a:lstStyle/>
          <a:p>
            <a:pPr marL="117475" indent="-117475" defTabSz="684213">
              <a:lnSpc>
                <a:spcPct val="120000"/>
              </a:lnSpc>
              <a:buClr>
                <a:srgbClr val="7F7F7F"/>
              </a:buClr>
              <a:buFontTx/>
              <a:buChar char="•"/>
            </a:pPr>
            <a:r>
              <a:rPr lang="en-US" altLang="zh-CN" sz="1200">
                <a:latin typeface="Arial" pitchFamily="34" charset="0"/>
                <a:ea typeface="微软雅黑" pitchFamily="34" charset="-122"/>
              </a:rPr>
              <a:t>Anti-lightning, shock proof, dust proof and water proof</a:t>
            </a:r>
          </a:p>
          <a:p>
            <a:pPr marL="117475" indent="-117475" defTabSz="684213">
              <a:lnSpc>
                <a:spcPct val="120000"/>
              </a:lnSpc>
              <a:buClr>
                <a:srgbClr val="7F7F7F"/>
              </a:buClr>
              <a:buFontTx/>
              <a:buChar char="•"/>
            </a:pPr>
            <a:r>
              <a:rPr lang="en-US" altLang="zh-CN" sz="1200">
                <a:latin typeface="Arial" pitchFamily="34" charset="0"/>
                <a:ea typeface="微软雅黑" pitchFamily="34" charset="-122"/>
              </a:rPr>
              <a:t>Working temperature: </a:t>
            </a:r>
            <a:r>
              <a:rPr lang="en-GB" altLang="zh-CN" sz="1200">
                <a:latin typeface="Arial" pitchFamily="34" charset="0"/>
                <a:ea typeface="微软雅黑" pitchFamily="34" charset="-122"/>
              </a:rPr>
              <a:t>-40</a:t>
            </a:r>
            <a:r>
              <a:rPr lang="zh-CN" altLang="zh-CN" sz="1200">
                <a:latin typeface="Arial" pitchFamily="34" charset="0"/>
                <a:ea typeface="微软雅黑" pitchFamily="34" charset="-122"/>
              </a:rPr>
              <a:t>℃～</a:t>
            </a:r>
            <a:r>
              <a:rPr lang="en-GB" altLang="zh-CN" sz="1200">
                <a:latin typeface="Arial" pitchFamily="34" charset="0"/>
                <a:ea typeface="微软雅黑" pitchFamily="34" charset="-122"/>
              </a:rPr>
              <a:t>60</a:t>
            </a:r>
            <a:r>
              <a:rPr lang="zh-CN" altLang="zh-CN" sz="1200">
                <a:latin typeface="Arial" pitchFamily="34" charset="0"/>
                <a:ea typeface="微软雅黑" pitchFamily="34" charset="-122"/>
              </a:rPr>
              <a:t>℃</a:t>
            </a:r>
            <a:endParaRPr lang="zh-CN" altLang="en-US" sz="1200">
              <a:latin typeface="Arial" pitchFamily="34" charset="0"/>
              <a:ea typeface="微软雅黑" pitchFamily="34" charset="-122"/>
            </a:endParaRPr>
          </a:p>
        </p:txBody>
      </p:sp>
      <p:pic>
        <p:nvPicPr>
          <p:cNvPr id="54294" name="Picture 14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795463" y="3381375"/>
            <a:ext cx="1063625" cy="1119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95" name="Picture 5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079750" y="3381375"/>
            <a:ext cx="1076325" cy="1116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矩形 55"/>
          <p:cNvSpPr/>
          <p:nvPr>
            <p:custDataLst>
              <p:tags r:id="rId5"/>
            </p:custDataLst>
          </p:nvPr>
        </p:nvSpPr>
        <p:spPr bwMode="auto">
          <a:xfrm>
            <a:off x="434975" y="1003300"/>
            <a:ext cx="3910013" cy="301625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63500" algn="ctr" rotWithShape="0">
              <a:prstClr val="black">
                <a:alpha val="40000"/>
              </a:prstClr>
            </a:outerShdw>
          </a:effectLst>
        </p:spPr>
        <p:txBody>
          <a:bodyPr lIns="121935" tIns="60968" rIns="121935" bIns="60968"/>
          <a:lstStyle/>
          <a:p>
            <a:pPr algn="ctr" defTabSz="731838" eaLnBrk="0" hangingPunct="0">
              <a:lnSpc>
                <a:spcPts val="3300"/>
              </a:lnSpc>
              <a:buClr>
                <a:srgbClr val="CC9900"/>
              </a:buClr>
              <a:buSzPct val="60000"/>
            </a:pPr>
            <a:endParaRPr lang="en-US" altLang="zh-CN" noProof="1">
              <a:solidFill>
                <a:schemeClr val="bg1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54297" name="Rectangle 11"/>
          <p:cNvSpPr>
            <a:spLocks noChangeArrowheads="1"/>
          </p:cNvSpPr>
          <p:nvPr/>
        </p:nvSpPr>
        <p:spPr bwMode="auto">
          <a:xfrm>
            <a:off x="701675" y="1000125"/>
            <a:ext cx="3570288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27" tIns="45714" rIns="91427" bIns="45714" anchor="ctr"/>
          <a:lstStyle/>
          <a:p>
            <a:pPr algn="ctr"/>
            <a:r>
              <a:rPr kumimoji="1" lang="en-US" altLang="zh-CN" sz="1500" b="1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t>Ruggedized Devices</a:t>
            </a:r>
          </a:p>
        </p:txBody>
      </p:sp>
      <p:pic>
        <p:nvPicPr>
          <p:cNvPr id="54298" name="Picture 3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39750" y="1379538"/>
            <a:ext cx="388938" cy="103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299" name="Picture 27" descr="移动终端-正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941388" y="1684338"/>
            <a:ext cx="290512" cy="7048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54300" name="TextBox 60"/>
          <p:cNvSpPr txBox="1">
            <a:spLocks noChangeArrowheads="1"/>
          </p:cNvSpPr>
          <p:nvPr/>
        </p:nvSpPr>
        <p:spPr bwMode="auto">
          <a:xfrm>
            <a:off x="1428750" y="1349375"/>
            <a:ext cx="18986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4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EP820\EP680\EP681</a:t>
            </a:r>
            <a:endParaRPr lang="zh-CN" altLang="en-US" sz="14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301" name="TextBox 61"/>
          <p:cNvSpPr txBox="1">
            <a:spLocks noChangeArrowheads="1"/>
          </p:cNvSpPr>
          <p:nvPr/>
        </p:nvSpPr>
        <p:spPr bwMode="auto">
          <a:xfrm>
            <a:off x="1473200" y="2379663"/>
            <a:ext cx="7429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zh-CN" sz="1400" b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EG860</a:t>
            </a:r>
            <a:endParaRPr lang="zh-CN" altLang="en-US" sz="1400" b="1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 bwMode="auto">
          <a:xfrm>
            <a:off x="206375" y="258763"/>
            <a:ext cx="8537575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altLang="zh-CN" sz="2100" b="1" noProof="1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  <a:sym typeface="Calibri" pitchFamily="34" charset="0"/>
              </a:rPr>
              <a:t>High Reliability with Remote Disaster Recovery and</a:t>
            </a:r>
            <a:r>
              <a:rPr lang="zh-CN" altLang="en-US" sz="2100" b="1" noProof="1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  <a:sym typeface="Calibri" pitchFamily="34" charset="0"/>
              </a:rPr>
              <a:t> </a:t>
            </a:r>
            <a:r>
              <a:rPr lang="en-US" altLang="zh-CN" sz="2100" b="1" noProof="1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  <a:sym typeface="Calibri" pitchFamily="34" charset="0"/>
              </a:rPr>
              <a:t>Self-Healing</a:t>
            </a:r>
          </a:p>
        </p:txBody>
      </p:sp>
      <p:sp>
        <p:nvSpPr>
          <p:cNvPr id="53251" name="TextBox 2"/>
          <p:cNvSpPr txBox="1">
            <a:spLocks noChangeArrowheads="1"/>
          </p:cNvSpPr>
          <p:nvPr/>
        </p:nvSpPr>
        <p:spPr bwMode="auto">
          <a:xfrm>
            <a:off x="690563" y="2286000"/>
            <a:ext cx="7007225" cy="147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gray">
          <a:xfrm>
            <a:off x="2108200" y="3001963"/>
            <a:ext cx="5830888" cy="15954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 marL="284163" indent="-284163">
              <a:buFont typeface="Wingdings" pitchFamily="2" charset="2"/>
              <a:buChar char="§"/>
            </a:pPr>
            <a:endParaRPr lang="en-US" altLang="zh-CN">
              <a:solidFill>
                <a:srgbClr val="2D2015"/>
              </a:solidFill>
              <a:latin typeface="Arial" pitchFamily="34" charset="0"/>
              <a:cs typeface="Arial" pitchFamily="34" charset="0"/>
            </a:endParaRPr>
          </a:p>
          <a:p>
            <a:pPr marL="284163" indent="-284163"/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gray">
          <a:xfrm>
            <a:off x="2108200" y="1254125"/>
            <a:ext cx="5830888" cy="15954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/>
          <a:lstStyle/>
          <a:p>
            <a:pPr marL="284163" indent="-284163">
              <a:buFont typeface="Wingdings" pitchFamily="2" charset="2"/>
              <a:buChar char="§"/>
            </a:pPr>
            <a:endParaRPr lang="en-US" altLang="zh-CN">
              <a:solidFill>
                <a:srgbClr val="2D2015"/>
              </a:solidFill>
              <a:latin typeface="Arial" pitchFamily="34" charset="0"/>
              <a:cs typeface="Arial" pitchFamily="34" charset="0"/>
            </a:endParaRPr>
          </a:p>
          <a:p>
            <a:pPr marL="284163" indent="-284163"/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右箭头 5"/>
          <p:cNvSpPr/>
          <p:nvPr/>
        </p:nvSpPr>
        <p:spPr bwMode="auto">
          <a:xfrm rot="16200000">
            <a:off x="57150" y="2420938"/>
            <a:ext cx="3783013" cy="585787"/>
          </a:xfrm>
          <a:prstGeom prst="rightArrow">
            <a:avLst>
              <a:gd name="adj1" fmla="val 47969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3255" name="椭圆 6"/>
          <p:cNvSpPr>
            <a:spLocks noChangeAspect="1"/>
          </p:cNvSpPr>
          <p:nvPr/>
        </p:nvSpPr>
        <p:spPr bwMode="auto">
          <a:xfrm>
            <a:off x="1724025" y="1874838"/>
            <a:ext cx="414338" cy="414337"/>
          </a:xfrm>
          <a:prstGeom prst="ellipse">
            <a:avLst/>
          </a:prstGeom>
          <a:solidFill>
            <a:srgbClr val="C00000"/>
          </a:solidFill>
          <a:ln w="3810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53256" name="矩形 7"/>
          <p:cNvSpPr>
            <a:spLocks noChangeArrowheads="1"/>
          </p:cNvSpPr>
          <p:nvPr/>
        </p:nvSpPr>
        <p:spPr bwMode="auto">
          <a:xfrm>
            <a:off x="365125" y="3409950"/>
            <a:ext cx="150336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oard-level backup</a:t>
            </a:r>
          </a:p>
        </p:txBody>
      </p:sp>
      <p:sp>
        <p:nvSpPr>
          <p:cNvPr id="53257" name="矩形 8"/>
          <p:cNvSpPr>
            <a:spLocks noChangeArrowheads="1"/>
          </p:cNvSpPr>
          <p:nvPr/>
        </p:nvSpPr>
        <p:spPr bwMode="auto">
          <a:xfrm>
            <a:off x="384175" y="1803400"/>
            <a:ext cx="1503363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NE-level backup</a:t>
            </a:r>
          </a:p>
        </p:txBody>
      </p:sp>
      <p:pic>
        <p:nvPicPr>
          <p:cNvPr id="5325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90775" y="3094038"/>
            <a:ext cx="2886075" cy="143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9" name="Oval 230"/>
          <p:cNvSpPr>
            <a:spLocks noChangeArrowheads="1"/>
          </p:cNvSpPr>
          <p:nvPr/>
        </p:nvSpPr>
        <p:spPr bwMode="auto">
          <a:xfrm>
            <a:off x="2754313" y="4156075"/>
            <a:ext cx="1619250" cy="411163"/>
          </a:xfrm>
          <a:prstGeom prst="ellipse">
            <a:avLst/>
          </a:prstGeom>
          <a:noFill/>
          <a:ln w="19050" algn="ctr">
            <a:solidFill>
              <a:srgbClr val="C00000"/>
            </a:solidFill>
            <a:prstDash val="dash"/>
            <a:round/>
            <a:headEnd/>
            <a:tailEnd/>
          </a:ln>
        </p:spPr>
        <p:txBody>
          <a:bodyPr lIns="79200" tIns="39600" rIns="79200" bIns="39600"/>
          <a:lstStyle/>
          <a:p>
            <a:pPr defTabSz="801688"/>
            <a:endParaRPr lang="zh-CN" altLang="zh-CN" sz="140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53260" name="Picture 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59425" y="3073400"/>
            <a:ext cx="2116138" cy="1503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61" name="Oval 230"/>
          <p:cNvSpPr>
            <a:spLocks noChangeArrowheads="1"/>
          </p:cNvSpPr>
          <p:nvPr/>
        </p:nvSpPr>
        <p:spPr bwMode="auto">
          <a:xfrm>
            <a:off x="5592763" y="3733800"/>
            <a:ext cx="1309687" cy="549275"/>
          </a:xfrm>
          <a:prstGeom prst="ellipse">
            <a:avLst/>
          </a:prstGeom>
          <a:noFill/>
          <a:ln w="19050" algn="ctr">
            <a:solidFill>
              <a:srgbClr val="C00000"/>
            </a:solidFill>
            <a:prstDash val="dash"/>
            <a:round/>
            <a:headEnd/>
            <a:tailEnd/>
          </a:ln>
        </p:spPr>
        <p:txBody>
          <a:bodyPr lIns="79200" tIns="39600" rIns="79200" bIns="39600"/>
          <a:lstStyle/>
          <a:p>
            <a:pPr defTabSz="801688"/>
            <a:endParaRPr lang="zh-CN" altLang="zh-CN" sz="140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cxnSp>
        <p:nvCxnSpPr>
          <p:cNvPr id="53262" name="直接箭头连接符 13"/>
          <p:cNvCxnSpPr>
            <a:cxnSpLocks noChangeShapeType="1"/>
            <a:stCxn id="53259" idx="7"/>
          </p:cNvCxnSpPr>
          <p:nvPr/>
        </p:nvCxnSpPr>
        <p:spPr bwMode="auto">
          <a:xfrm flipV="1">
            <a:off x="4137025" y="3895725"/>
            <a:ext cx="307975" cy="320675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/>
            <a:tailEnd type="arrow" w="med" len="med"/>
          </a:ln>
        </p:spPr>
      </p:cxnSp>
      <p:sp>
        <p:nvSpPr>
          <p:cNvPr id="53263" name="TextBox 14"/>
          <p:cNvSpPr txBox="1">
            <a:spLocks noChangeArrowheads="1"/>
          </p:cNvSpPr>
          <p:nvPr/>
        </p:nvSpPr>
        <p:spPr bwMode="auto">
          <a:xfrm>
            <a:off x="4089400" y="3560763"/>
            <a:ext cx="13208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Board backup for base station</a:t>
            </a:r>
            <a:endParaRPr lang="zh-CN" altLang="en-US" sz="1000">
              <a:solidFill>
                <a:srgbClr val="FF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cxnSp>
        <p:nvCxnSpPr>
          <p:cNvPr id="53264" name="直接箭头连接符 15"/>
          <p:cNvCxnSpPr>
            <a:cxnSpLocks noChangeShapeType="1"/>
          </p:cNvCxnSpPr>
          <p:nvPr/>
        </p:nvCxnSpPr>
        <p:spPr bwMode="auto">
          <a:xfrm flipV="1">
            <a:off x="6605588" y="3652838"/>
            <a:ext cx="317500" cy="127000"/>
          </a:xfrm>
          <a:prstGeom prst="straightConnector1">
            <a:avLst/>
          </a:prstGeom>
          <a:noFill/>
          <a:ln w="9525">
            <a:solidFill>
              <a:srgbClr val="FF0000"/>
            </a:solidFill>
            <a:round/>
            <a:headEnd/>
            <a:tailEnd type="arrow" w="med" len="med"/>
          </a:ln>
        </p:spPr>
      </p:cxnSp>
      <p:sp>
        <p:nvSpPr>
          <p:cNvPr id="53265" name="TextBox 16"/>
          <p:cNvSpPr txBox="1">
            <a:spLocks noChangeArrowheads="1"/>
          </p:cNvSpPr>
          <p:nvPr/>
        </p:nvSpPr>
        <p:spPr bwMode="auto">
          <a:xfrm>
            <a:off x="6680200" y="3357563"/>
            <a:ext cx="10255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Board backup for CN</a:t>
            </a:r>
            <a:endParaRPr lang="zh-CN" altLang="en-US" sz="1000">
              <a:solidFill>
                <a:srgbClr val="FF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grpSp>
        <p:nvGrpSpPr>
          <p:cNvPr id="3" name="组合 17"/>
          <p:cNvGrpSpPr>
            <a:grpSpLocks/>
          </p:cNvGrpSpPr>
          <p:nvPr/>
        </p:nvGrpSpPr>
        <p:grpSpPr bwMode="auto">
          <a:xfrm>
            <a:off x="2317750" y="1419225"/>
            <a:ext cx="5861050" cy="1362075"/>
            <a:chOff x="2600960" y="1554481"/>
            <a:chExt cx="5618480" cy="1158239"/>
          </a:xfrm>
        </p:grpSpPr>
        <p:grpSp>
          <p:nvGrpSpPr>
            <p:cNvPr id="7" name="组合 93"/>
            <p:cNvGrpSpPr>
              <a:grpSpLocks/>
            </p:cNvGrpSpPr>
            <p:nvPr/>
          </p:nvGrpSpPr>
          <p:grpSpPr bwMode="auto">
            <a:xfrm>
              <a:off x="2600960" y="1595120"/>
              <a:ext cx="1971040" cy="1107440"/>
              <a:chOff x="4023360" y="938667"/>
              <a:chExt cx="1525559" cy="1733413"/>
            </a:xfrm>
          </p:grpSpPr>
          <p:pic>
            <p:nvPicPr>
              <p:cNvPr id="53294" name="Picture 333" descr="图片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4200922" y="941450"/>
                <a:ext cx="343437" cy="321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3295" name="Picture 528" descr="图片131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023360" y="1613594"/>
                <a:ext cx="514993" cy="5662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3296" name="Picture 333" descr="图片1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5135948" y="938667"/>
                <a:ext cx="343437" cy="3215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3297" name="Picture 528" descr="图片131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5033926" y="1643042"/>
                <a:ext cx="514993" cy="5662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53298" name="直接连接符 84"/>
              <p:cNvCxnSpPr>
                <a:cxnSpLocks noChangeShapeType="1"/>
              </p:cNvCxnSpPr>
              <p:nvPr/>
            </p:nvCxnSpPr>
            <p:spPr bwMode="auto">
              <a:xfrm flipH="1">
                <a:off x="4280857" y="1263008"/>
                <a:ext cx="91784" cy="350586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53299" name="直接连接符 85"/>
              <p:cNvCxnSpPr>
                <a:cxnSpLocks noChangeShapeType="1"/>
              </p:cNvCxnSpPr>
              <p:nvPr/>
            </p:nvCxnSpPr>
            <p:spPr bwMode="auto">
              <a:xfrm>
                <a:off x="4372640" y="1263007"/>
                <a:ext cx="918783" cy="380035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/>
              </a:ln>
            </p:spPr>
          </p:cxnSp>
          <p:cxnSp>
            <p:nvCxnSpPr>
              <p:cNvPr id="53300" name="直接连接符 86"/>
              <p:cNvCxnSpPr>
                <a:cxnSpLocks noChangeShapeType="1"/>
              </p:cNvCxnSpPr>
              <p:nvPr/>
            </p:nvCxnSpPr>
            <p:spPr bwMode="auto">
              <a:xfrm flipH="1">
                <a:off x="4347694" y="1260225"/>
                <a:ext cx="959972" cy="372498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cxnSp>
            <p:nvCxnSpPr>
              <p:cNvPr id="53301" name="直接连接符 87"/>
              <p:cNvCxnSpPr>
                <a:cxnSpLocks noChangeShapeType="1"/>
              </p:cNvCxnSpPr>
              <p:nvPr/>
            </p:nvCxnSpPr>
            <p:spPr bwMode="auto">
              <a:xfrm flipH="1">
                <a:off x="5291423" y="1260225"/>
                <a:ext cx="16244" cy="382817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dash"/>
                <a:round/>
                <a:headEnd/>
                <a:tailEnd/>
              </a:ln>
            </p:spPr>
          </p:cxnSp>
          <p:sp>
            <p:nvSpPr>
              <p:cNvPr id="53302" name="任意多边形 88"/>
              <p:cNvSpPr>
                <a:spLocks/>
              </p:cNvSpPr>
              <p:nvPr/>
            </p:nvSpPr>
            <p:spPr bwMode="auto">
              <a:xfrm>
                <a:off x="4219028" y="1212048"/>
                <a:ext cx="137148" cy="1120891"/>
              </a:xfrm>
              <a:custGeom>
                <a:avLst/>
                <a:gdLst>
                  <a:gd name="T0" fmla="*/ 6 w 194896"/>
                  <a:gd name="T1" fmla="*/ 0 h 1784838"/>
                  <a:gd name="T2" fmla="*/ 1 w 194896"/>
                  <a:gd name="T3" fmla="*/ 1 h 1784838"/>
                  <a:gd name="T4" fmla="*/ 4 w 194896"/>
                  <a:gd name="T5" fmla="*/ 2 h 1784838"/>
                  <a:gd name="T6" fmla="*/ 0 60000 65536"/>
                  <a:gd name="T7" fmla="*/ 0 60000 65536"/>
                  <a:gd name="T8" fmla="*/ 0 60000 65536"/>
                  <a:gd name="T9" fmla="*/ 0 w 194896"/>
                  <a:gd name="T10" fmla="*/ 0 h 1784838"/>
                  <a:gd name="T11" fmla="*/ 194896 w 194896"/>
                  <a:gd name="T12" fmla="*/ 1784838 h 178483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94896" h="1784838">
                    <a:moveTo>
                      <a:pt x="194896" y="0"/>
                    </a:moveTo>
                    <a:cubicBezTo>
                      <a:pt x="107706" y="224936"/>
                      <a:pt x="20516" y="449873"/>
                      <a:pt x="10258" y="747346"/>
                    </a:cubicBezTo>
                    <a:cubicBezTo>
                      <a:pt x="0" y="1044819"/>
                      <a:pt x="111369" y="1595803"/>
                      <a:pt x="133350" y="1784838"/>
                    </a:cubicBezTo>
                  </a:path>
                </a:pathLst>
              </a:custGeom>
              <a:noFill/>
              <a:ln w="222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lIns="121935" tIns="60968" rIns="121935" bIns="60968" anchor="ctr"/>
              <a:lstStyle/>
              <a:p>
                <a:endParaRPr lang="en-US"/>
              </a:p>
            </p:txBody>
          </p:sp>
          <p:sp>
            <p:nvSpPr>
              <p:cNvPr id="53303" name="任意多边形 89"/>
              <p:cNvSpPr>
                <a:spLocks/>
              </p:cNvSpPr>
              <p:nvPr/>
            </p:nvSpPr>
            <p:spPr bwMode="auto">
              <a:xfrm>
                <a:off x="4351716" y="1220523"/>
                <a:ext cx="1091239" cy="1099964"/>
              </a:xfrm>
              <a:custGeom>
                <a:avLst/>
                <a:gdLst>
                  <a:gd name="T0" fmla="*/ 0 w 1446335"/>
                  <a:gd name="T1" fmla="*/ 0 h 1723292"/>
                  <a:gd name="T2" fmla="*/ 332 w 1446335"/>
                  <a:gd name="T3" fmla="*/ 1 h 1723292"/>
                  <a:gd name="T4" fmla="*/ 382 w 1446335"/>
                  <a:gd name="T5" fmla="*/ 3 h 1723292"/>
                  <a:gd name="T6" fmla="*/ 382 w 1446335"/>
                  <a:gd name="T7" fmla="*/ 3 h 172329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6335"/>
                  <a:gd name="T13" fmla="*/ 0 h 1723292"/>
                  <a:gd name="T14" fmla="*/ 1446335 w 1446335"/>
                  <a:gd name="T15" fmla="*/ 1723292 h 172329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6335" h="1723292">
                    <a:moveTo>
                      <a:pt x="0" y="0"/>
                    </a:moveTo>
                    <a:cubicBezTo>
                      <a:pt x="490171" y="291612"/>
                      <a:pt x="980343" y="583224"/>
                      <a:pt x="1213339" y="870439"/>
                    </a:cubicBezTo>
                    <a:cubicBezTo>
                      <a:pt x="1446335" y="1157654"/>
                      <a:pt x="1397977" y="1723292"/>
                      <a:pt x="1397977" y="1723292"/>
                    </a:cubicBezTo>
                  </a:path>
                </a:pathLst>
              </a:custGeom>
              <a:noFill/>
              <a:ln w="25400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lIns="121935" tIns="60968" rIns="121935" bIns="60968" anchor="ctr"/>
              <a:lstStyle/>
              <a:p>
                <a:endParaRPr lang="en-US"/>
              </a:p>
            </p:txBody>
          </p:sp>
          <p:pic>
            <p:nvPicPr>
              <p:cNvPr id="53304" name="Picture 3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4176471" y="2379716"/>
                <a:ext cx="248340" cy="2923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3305" name="Picture 3"/>
              <p:cNvPicPr>
                <a:picLocks noChangeAspect="1" noChangeArrowheads="1"/>
              </p:cNvPicPr>
              <p:nvPr/>
            </p:nvPicPr>
            <p:blipFill>
              <a:blip r:embed="rId7" cstate="print">
                <a:clrChange>
                  <a:clrFrom>
                    <a:srgbClr val="F2F2F2"/>
                  </a:clrFrom>
                  <a:clrTo>
                    <a:srgbClr val="F2F2F2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5235241" y="2363296"/>
                <a:ext cx="248340" cy="2923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53276" name="Picture 333" descr="图片1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685332" y="1607058"/>
              <a:ext cx="443725" cy="2054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77" name="Picture 528" descr="图片13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455920" y="2036476"/>
              <a:ext cx="665377" cy="361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78" name="Picture 333" descr="图片1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893397" y="1605280"/>
              <a:ext cx="443725" cy="2054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79" name="Picture 528" descr="图片13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761583" y="2055290"/>
              <a:ext cx="665377" cy="3617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53280" name="直接连接符 84"/>
            <p:cNvCxnSpPr>
              <a:cxnSpLocks noChangeShapeType="1"/>
            </p:cNvCxnSpPr>
            <p:nvPr/>
          </p:nvCxnSpPr>
          <p:spPr bwMode="auto">
            <a:xfrm flipH="1">
              <a:off x="5788609" y="1812494"/>
              <a:ext cx="118586" cy="22398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53281" name="直接连接符 85"/>
            <p:cNvCxnSpPr>
              <a:cxnSpLocks noChangeShapeType="1"/>
            </p:cNvCxnSpPr>
            <p:nvPr/>
          </p:nvCxnSpPr>
          <p:spPr bwMode="auto">
            <a:xfrm>
              <a:off x="5907194" y="1812494"/>
              <a:ext cx="1187078" cy="24279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53282" name="直接连接符 86"/>
            <p:cNvCxnSpPr>
              <a:cxnSpLocks noChangeShapeType="1"/>
            </p:cNvCxnSpPr>
            <p:nvPr/>
          </p:nvCxnSpPr>
          <p:spPr bwMode="auto">
            <a:xfrm flipH="1">
              <a:off x="5874963" y="1810716"/>
              <a:ext cx="1240295" cy="23798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cxnSp>
          <p:nvCxnSpPr>
            <p:cNvPr id="53283" name="直接连接符 87"/>
            <p:cNvCxnSpPr>
              <a:cxnSpLocks noChangeShapeType="1"/>
            </p:cNvCxnSpPr>
            <p:nvPr/>
          </p:nvCxnSpPr>
          <p:spPr bwMode="auto">
            <a:xfrm flipH="1">
              <a:off x="7094272" y="1810716"/>
              <a:ext cx="20987" cy="24457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</p:spPr>
        </p:cxnSp>
        <p:pic>
          <p:nvPicPr>
            <p:cNvPr id="53284" name="Picture 3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2F2F2"/>
                </a:clrFrom>
                <a:clrTo>
                  <a:srgbClr val="F2F2F2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653741" y="2525935"/>
              <a:ext cx="320858" cy="186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85" name="Picture 3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2F2F2"/>
                </a:clrFrom>
                <a:clrTo>
                  <a:srgbClr val="F2F2F2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021684" y="2515445"/>
              <a:ext cx="320858" cy="186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86" name="Picture 15" descr="05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760720" y="1561514"/>
              <a:ext cx="263946" cy="2638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287" name="任意多边形 30"/>
            <p:cNvSpPr>
              <a:spLocks/>
            </p:cNvSpPr>
            <p:nvPr/>
          </p:nvSpPr>
          <p:spPr bwMode="auto">
            <a:xfrm>
              <a:off x="5703147" y="1778000"/>
              <a:ext cx="1327573" cy="731520"/>
            </a:xfrm>
            <a:custGeom>
              <a:avLst/>
              <a:gdLst>
                <a:gd name="T0" fmla="*/ 1327573 w 1327573"/>
                <a:gd name="T1" fmla="*/ 0 h 731520"/>
                <a:gd name="T2" fmla="*/ 220133 w 1327573"/>
                <a:gd name="T3" fmla="*/ 355600 h 731520"/>
                <a:gd name="T4" fmla="*/ 6773 w 1327573"/>
                <a:gd name="T5" fmla="*/ 731520 h 731520"/>
                <a:gd name="T6" fmla="*/ 0 60000 65536"/>
                <a:gd name="T7" fmla="*/ 0 60000 65536"/>
                <a:gd name="T8" fmla="*/ 0 60000 65536"/>
                <a:gd name="T9" fmla="*/ 0 w 1327573"/>
                <a:gd name="T10" fmla="*/ 0 h 731520"/>
                <a:gd name="T11" fmla="*/ 1327573 w 1327573"/>
                <a:gd name="T12" fmla="*/ 731520 h 7315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27573" h="731520">
                  <a:moveTo>
                    <a:pt x="1327573" y="0"/>
                  </a:moveTo>
                  <a:cubicBezTo>
                    <a:pt x="883919" y="116840"/>
                    <a:pt x="440266" y="233680"/>
                    <a:pt x="220133" y="355600"/>
                  </a:cubicBezTo>
                  <a:cubicBezTo>
                    <a:pt x="0" y="477520"/>
                    <a:pt x="3386" y="604520"/>
                    <a:pt x="6773" y="731520"/>
                  </a:cubicBezTo>
                </a:path>
              </a:pathLst>
            </a:custGeom>
            <a:noFill/>
            <a:ln w="25400">
              <a:solidFill>
                <a:srgbClr val="C00000"/>
              </a:solidFill>
              <a:round/>
              <a:headEnd/>
              <a:tailEnd/>
            </a:ln>
          </p:spPr>
          <p:txBody>
            <a:bodyPr lIns="121935" tIns="60968" rIns="121935" bIns="60968" anchor="ctr"/>
            <a:lstStyle/>
            <a:p>
              <a:endParaRPr lang="en-US"/>
            </a:p>
          </p:txBody>
        </p:sp>
        <p:sp>
          <p:nvSpPr>
            <p:cNvPr id="53288" name="任意多边形 31"/>
            <p:cNvSpPr>
              <a:spLocks/>
            </p:cNvSpPr>
            <p:nvPr/>
          </p:nvSpPr>
          <p:spPr bwMode="auto">
            <a:xfrm>
              <a:off x="7051040" y="1788160"/>
              <a:ext cx="225213" cy="690880"/>
            </a:xfrm>
            <a:custGeom>
              <a:avLst/>
              <a:gdLst>
                <a:gd name="T0" fmla="*/ 0 w 225213"/>
                <a:gd name="T1" fmla="*/ 0 h 690880"/>
                <a:gd name="T2" fmla="*/ 193040 w 225213"/>
                <a:gd name="T3" fmla="*/ 477520 h 690880"/>
                <a:gd name="T4" fmla="*/ 193040 w 225213"/>
                <a:gd name="T5" fmla="*/ 690880 h 690880"/>
                <a:gd name="T6" fmla="*/ 0 60000 65536"/>
                <a:gd name="T7" fmla="*/ 0 60000 65536"/>
                <a:gd name="T8" fmla="*/ 0 60000 65536"/>
                <a:gd name="T9" fmla="*/ 0 w 225213"/>
                <a:gd name="T10" fmla="*/ 0 h 690880"/>
                <a:gd name="T11" fmla="*/ 225213 w 225213"/>
                <a:gd name="T12" fmla="*/ 690880 h 69088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5213" h="690880">
                  <a:moveTo>
                    <a:pt x="0" y="0"/>
                  </a:moveTo>
                  <a:cubicBezTo>
                    <a:pt x="80433" y="181186"/>
                    <a:pt x="160867" y="362373"/>
                    <a:pt x="193040" y="477520"/>
                  </a:cubicBezTo>
                  <a:cubicBezTo>
                    <a:pt x="225213" y="592667"/>
                    <a:pt x="209126" y="641773"/>
                    <a:pt x="193040" y="690880"/>
                  </a:cubicBezTo>
                </a:path>
              </a:pathLst>
            </a:custGeom>
            <a:noFill/>
            <a:ln w="25400">
              <a:solidFill>
                <a:srgbClr val="C00000"/>
              </a:solidFill>
              <a:round/>
              <a:headEnd/>
              <a:tailEnd/>
            </a:ln>
          </p:spPr>
          <p:txBody>
            <a:bodyPr lIns="121935" tIns="60968" rIns="121935" bIns="60968" anchor="ctr"/>
            <a:lstStyle/>
            <a:p>
              <a:endParaRPr lang="en-US"/>
            </a:p>
          </p:txBody>
        </p:sp>
        <p:sp>
          <p:nvSpPr>
            <p:cNvPr id="33" name="右箭头 32"/>
            <p:cNvSpPr/>
            <p:nvPr/>
          </p:nvSpPr>
          <p:spPr bwMode="auto">
            <a:xfrm>
              <a:off x="4815177" y="1940561"/>
              <a:ext cx="538717" cy="314534"/>
            </a:xfrm>
            <a:prstGeom prst="rightArrow">
              <a:avLst/>
            </a:prstGeom>
            <a:solidFill>
              <a:srgbClr val="C00000"/>
            </a:solidFill>
            <a:ln>
              <a:noFill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 anchor="ctr"/>
            <a:lstStyle/>
            <a:p>
              <a:pPr algn="ctr" defTabSz="877888" eaLnBrk="0" hangingPunct="0"/>
              <a:endParaRPr lang="zh-CN" altLang="en-US" sz="14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53290" name="TextBox 33"/>
            <p:cNvSpPr txBox="1">
              <a:spLocks noChangeArrowheads="1"/>
            </p:cNvSpPr>
            <p:nvPr/>
          </p:nvSpPr>
          <p:spPr bwMode="auto">
            <a:xfrm>
              <a:off x="2824480" y="1554481"/>
              <a:ext cx="1320800" cy="209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000">
                  <a:solidFill>
                    <a:srgbClr val="FF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Active</a:t>
              </a:r>
              <a:endParaRPr lang="zh-CN" altLang="en-US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53291" name="TextBox 34"/>
            <p:cNvSpPr txBox="1">
              <a:spLocks noChangeArrowheads="1"/>
            </p:cNvSpPr>
            <p:nvPr/>
          </p:nvSpPr>
          <p:spPr bwMode="auto">
            <a:xfrm>
              <a:off x="4074160" y="1564641"/>
              <a:ext cx="1320800" cy="209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000">
                  <a:solidFill>
                    <a:srgbClr val="FF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Standby</a:t>
              </a:r>
              <a:endParaRPr lang="zh-CN" altLang="en-US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53292" name="TextBox 35"/>
            <p:cNvSpPr txBox="1">
              <a:spLocks noChangeArrowheads="1"/>
            </p:cNvSpPr>
            <p:nvPr/>
          </p:nvSpPr>
          <p:spPr bwMode="auto">
            <a:xfrm>
              <a:off x="6065520" y="1584961"/>
              <a:ext cx="1320800" cy="209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altLang="zh-CN" sz="1000">
                  <a:solidFill>
                    <a:srgbClr val="FF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Failure</a:t>
              </a:r>
              <a:endParaRPr lang="zh-CN" altLang="en-US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53293" name="TextBox 36"/>
            <p:cNvSpPr txBox="1">
              <a:spLocks noChangeArrowheads="1"/>
            </p:cNvSpPr>
            <p:nvPr/>
          </p:nvSpPr>
          <p:spPr bwMode="auto">
            <a:xfrm>
              <a:off x="6898640" y="1584961"/>
              <a:ext cx="1320800" cy="2094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CN" sz="1000">
                  <a:solidFill>
                    <a:srgbClr val="FF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Active</a:t>
              </a:r>
              <a:endParaRPr lang="zh-CN" altLang="en-US" sz="1000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</p:grpSp>
      <p:sp>
        <p:nvSpPr>
          <p:cNvPr id="53267" name="矩形 49"/>
          <p:cNvSpPr>
            <a:spLocks noChangeArrowheads="1"/>
          </p:cNvSpPr>
          <p:nvPr/>
        </p:nvSpPr>
        <p:spPr bwMode="auto">
          <a:xfrm>
            <a:off x="2025650" y="739775"/>
            <a:ext cx="24955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2000" b="1" i="1" noProof="1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99.999% </a:t>
            </a:r>
            <a:r>
              <a:rPr lang="en-US" altLang="zh-CN" sz="1600" noProof="1">
                <a:solidFill>
                  <a:srgbClr val="FF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Availability</a:t>
            </a:r>
            <a:endParaRPr lang="zh-CN" altLang="en-US" sz="1600" dirty="0">
              <a:solidFill>
                <a:srgbClr val="FF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53268" name="椭圆 50"/>
          <p:cNvSpPr>
            <a:spLocks noChangeAspect="1"/>
          </p:cNvSpPr>
          <p:nvPr/>
        </p:nvSpPr>
        <p:spPr bwMode="auto">
          <a:xfrm>
            <a:off x="1733550" y="3427413"/>
            <a:ext cx="414338" cy="414337"/>
          </a:xfrm>
          <a:prstGeom prst="ellipse">
            <a:avLst/>
          </a:prstGeom>
          <a:solidFill>
            <a:srgbClr val="C00000"/>
          </a:solidFill>
          <a:ln w="38100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500034" y="642924"/>
            <a:ext cx="3143272" cy="8572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Arial Unicode MS" pitchFamily="34" charset="-122"/>
                <a:cs typeface="Arial" pitchFamily="34" charset="0"/>
              </a:rPr>
              <a:t>CONTENTS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Arial Unicode MS" pitchFamily="34" charset="-122"/>
              <a:cs typeface="Arial" pitchFamily="34" charset="0"/>
            </a:endParaRPr>
          </a:p>
        </p:txBody>
      </p:sp>
      <p:sp>
        <p:nvSpPr>
          <p:cNvPr id="6" name="文本占位符 4"/>
          <p:cNvSpPr txBox="1">
            <a:spLocks/>
          </p:cNvSpPr>
          <p:nvPr/>
        </p:nvSpPr>
        <p:spPr>
          <a:xfrm>
            <a:off x="1214414" y="1785932"/>
            <a:ext cx="7014755" cy="23852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>
              <a:spcBef>
                <a:spcPts val="1800"/>
              </a:spcBef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mergency Challenges 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roadband LTE Trunking Standard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Solution Highlights</a:t>
            </a: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uccessful Deployments</a:t>
            </a:r>
          </a:p>
        </p:txBody>
      </p:sp>
      <p:sp>
        <p:nvSpPr>
          <p:cNvPr id="7" name="Freeform 57"/>
          <p:cNvSpPr>
            <a:spLocks noChangeAspect="1" noEditPoints="1"/>
          </p:cNvSpPr>
          <p:nvPr/>
        </p:nvSpPr>
        <p:spPr bwMode="auto">
          <a:xfrm>
            <a:off x="615129" y="3132111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8" name="Freeform 57"/>
          <p:cNvSpPr>
            <a:spLocks noChangeAspect="1" noEditPoints="1"/>
          </p:cNvSpPr>
          <p:nvPr/>
        </p:nvSpPr>
        <p:spPr bwMode="auto">
          <a:xfrm>
            <a:off x="642910" y="182187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9" name="Freeform 57"/>
          <p:cNvSpPr>
            <a:spLocks noChangeAspect="1" noEditPoints="1"/>
          </p:cNvSpPr>
          <p:nvPr/>
        </p:nvSpPr>
        <p:spPr bwMode="auto">
          <a:xfrm>
            <a:off x="615129" y="248916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10" name="Freeform 57"/>
          <p:cNvSpPr>
            <a:spLocks noChangeAspect="1" noEditPoints="1"/>
          </p:cNvSpPr>
          <p:nvPr/>
        </p:nvSpPr>
        <p:spPr bwMode="auto">
          <a:xfrm>
            <a:off x="611560" y="3715585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solidFill>
                <a:srgbClr val="C0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itle 1"/>
          <p:cNvSpPr>
            <a:spLocks noGrp="1"/>
          </p:cNvSpPr>
          <p:nvPr>
            <p:ph type="title"/>
          </p:nvPr>
        </p:nvSpPr>
        <p:spPr>
          <a:xfrm>
            <a:off x="252413" y="290513"/>
            <a:ext cx="8686800" cy="558800"/>
          </a:xfrm>
        </p:spPr>
        <p:txBody>
          <a:bodyPr/>
          <a:lstStyle/>
          <a:p>
            <a:r>
              <a:rPr lang="en-US" altLang="zh-CN" sz="2700" dirty="0" smtClean="0">
                <a:latin typeface="Arial" pitchFamily="34" charset="0"/>
                <a:sym typeface="Wingdings" pitchFamily="2" charset="2"/>
              </a:rPr>
              <a:t>Comprehensive Industry Applications Worldwide</a:t>
            </a:r>
          </a:p>
        </p:txBody>
      </p:sp>
      <p:sp>
        <p:nvSpPr>
          <p:cNvPr id="31747" name="Rounded Rectangle 41"/>
          <p:cNvSpPr>
            <a:spLocks noChangeArrowheads="1"/>
          </p:cNvSpPr>
          <p:nvPr/>
        </p:nvSpPr>
        <p:spPr bwMode="auto">
          <a:xfrm>
            <a:off x="342900" y="892175"/>
            <a:ext cx="5110163" cy="3717925"/>
          </a:xfrm>
          <a:prstGeom prst="roundRect">
            <a:avLst>
              <a:gd name="adj" fmla="val 2236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8" tIns="45714" rIns="91428" bIns="45714"/>
          <a:lstStyle/>
          <a:p>
            <a:pPr defTabSz="912813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240" name="矩形 239"/>
          <p:cNvSpPr/>
          <p:nvPr/>
        </p:nvSpPr>
        <p:spPr>
          <a:xfrm>
            <a:off x="396875" y="790575"/>
            <a:ext cx="4991100" cy="769938"/>
          </a:xfrm>
          <a:prstGeom prst="rect">
            <a:avLst/>
          </a:prstGeom>
        </p:spPr>
        <p:txBody>
          <a:bodyPr lIns="91428" tIns="45714" rIns="91428" bIns="45714">
            <a:spAutoFit/>
          </a:bodyPr>
          <a:lstStyle/>
          <a:p>
            <a:pPr algn="ctr" defTabSz="8015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400" b="1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eLTE:</a:t>
            </a:r>
            <a:r>
              <a:rPr lang="en-US" altLang="zh-CN" sz="1400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</a:t>
            </a:r>
            <a:r>
              <a:rPr lang="en-US" altLang="zh-CN" sz="2000" b="1" kern="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141</a:t>
            </a:r>
            <a:r>
              <a:rPr lang="en-US" altLang="zh-CN" sz="2800" kern="0" dirty="0">
                <a:solidFill>
                  <a:srgbClr val="C00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</a:t>
            </a:r>
            <a:r>
              <a:rPr lang="en-US" altLang="zh-CN" sz="1400" b="1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Contracts,</a:t>
            </a:r>
            <a:r>
              <a:rPr lang="en-US" altLang="zh-CN" sz="2000" b="1" kern="0" dirty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</a:t>
            </a:r>
            <a:r>
              <a:rPr lang="en-US" altLang="zh-CN" sz="2000" b="1" kern="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76</a:t>
            </a:r>
            <a:r>
              <a:rPr lang="en-US" altLang="zh-CN" sz="2000" kern="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 </a:t>
            </a:r>
            <a:r>
              <a:rPr lang="en-US" altLang="zh-CN" sz="1400" b="1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  <a:sym typeface="Wingdings" pitchFamily="2" charset="2"/>
              </a:rPr>
              <a:t>Enterprise</a:t>
            </a:r>
            <a:r>
              <a:rPr lang="en-US" altLang="zh-CN" sz="2000" kern="0" dirty="0">
                <a:solidFill>
                  <a:prstClr val="white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 </a:t>
            </a:r>
            <a:r>
              <a:rPr lang="en-US" altLang="zh-CN" sz="1400" b="1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Networks</a:t>
            </a:r>
          </a:p>
          <a:p>
            <a:pPr algn="ctr" defTabSz="8015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1600" kern="0" dirty="0">
                <a:solidFill>
                  <a:prstClr val="black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</a:t>
            </a:r>
            <a:r>
              <a:rPr lang="en-US" altLang="zh-CN" sz="1200" b="1" kern="0" dirty="0">
                <a:solidFill>
                  <a:prstClr val="white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( As of  Q2 2015)</a:t>
            </a:r>
          </a:p>
        </p:txBody>
      </p:sp>
      <p:grpSp>
        <p:nvGrpSpPr>
          <p:cNvPr id="2" name="组合 352"/>
          <p:cNvGrpSpPr>
            <a:grpSpLocks/>
          </p:cNvGrpSpPr>
          <p:nvPr/>
        </p:nvGrpSpPr>
        <p:grpSpPr bwMode="auto">
          <a:xfrm>
            <a:off x="368300" y="1879600"/>
            <a:ext cx="4991100" cy="2274888"/>
            <a:chOff x="584425" y="1514014"/>
            <a:chExt cx="4991100" cy="2570163"/>
          </a:xfrm>
        </p:grpSpPr>
        <p:sp>
          <p:nvSpPr>
            <p:cNvPr id="242" name="Freeform 413"/>
            <p:cNvSpPr>
              <a:spLocks noEditPoints="1"/>
            </p:cNvSpPr>
            <p:nvPr/>
          </p:nvSpPr>
          <p:spPr bwMode="auto">
            <a:xfrm>
              <a:off x="584425" y="1514014"/>
              <a:ext cx="4991100" cy="2570163"/>
            </a:xfrm>
            <a:custGeom>
              <a:avLst/>
              <a:gdLst/>
              <a:ahLst/>
              <a:cxnLst>
                <a:cxn ang="0">
                  <a:pos x="1477" y="121"/>
                </a:cxn>
                <a:cxn ang="0">
                  <a:pos x="1204" y="81"/>
                </a:cxn>
                <a:cxn ang="0">
                  <a:pos x="1097" y="51"/>
                </a:cxn>
                <a:cxn ang="0">
                  <a:pos x="1002" y="20"/>
                </a:cxn>
                <a:cxn ang="0">
                  <a:pos x="1777" y="54"/>
                </a:cxn>
                <a:cxn ang="0">
                  <a:pos x="754" y="72"/>
                </a:cxn>
                <a:cxn ang="0">
                  <a:pos x="3367" y="193"/>
                </a:cxn>
                <a:cxn ang="0">
                  <a:pos x="3191" y="236"/>
                </a:cxn>
                <a:cxn ang="0">
                  <a:pos x="3108" y="466"/>
                </a:cxn>
                <a:cxn ang="0">
                  <a:pos x="2999" y="600"/>
                </a:cxn>
                <a:cxn ang="0">
                  <a:pos x="2823" y="884"/>
                </a:cxn>
                <a:cxn ang="0">
                  <a:pos x="2701" y="754"/>
                </a:cxn>
                <a:cxn ang="0">
                  <a:pos x="2307" y="714"/>
                </a:cxn>
                <a:cxn ang="0">
                  <a:pos x="2071" y="724"/>
                </a:cxn>
                <a:cxn ang="0">
                  <a:pos x="2111" y="1218"/>
                </a:cxn>
                <a:cxn ang="0">
                  <a:pos x="1778" y="1141"/>
                </a:cxn>
                <a:cxn ang="0">
                  <a:pos x="1522" y="645"/>
                </a:cxn>
                <a:cxn ang="0">
                  <a:pos x="1747" y="297"/>
                </a:cxn>
                <a:cxn ang="0">
                  <a:pos x="1827" y="250"/>
                </a:cxn>
                <a:cxn ang="0">
                  <a:pos x="2021" y="185"/>
                </a:cxn>
                <a:cxn ang="0">
                  <a:pos x="2244" y="111"/>
                </a:cxn>
                <a:cxn ang="0">
                  <a:pos x="2386" y="99"/>
                </a:cxn>
                <a:cxn ang="0">
                  <a:pos x="2123" y="129"/>
                </a:cxn>
                <a:cxn ang="0">
                  <a:pos x="2836" y="77"/>
                </a:cxn>
                <a:cxn ang="0">
                  <a:pos x="672" y="123"/>
                </a:cxn>
                <a:cxn ang="0">
                  <a:pos x="1033" y="96"/>
                </a:cxn>
                <a:cxn ang="0">
                  <a:pos x="1025" y="158"/>
                </a:cxn>
                <a:cxn ang="0">
                  <a:pos x="779" y="298"/>
                </a:cxn>
                <a:cxn ang="0">
                  <a:pos x="1052" y="372"/>
                </a:cxn>
                <a:cxn ang="0">
                  <a:pos x="943" y="441"/>
                </a:cxn>
                <a:cxn ang="0">
                  <a:pos x="506" y="812"/>
                </a:cxn>
                <a:cxn ang="0">
                  <a:pos x="822" y="913"/>
                </a:cxn>
                <a:cxn ang="0">
                  <a:pos x="1164" y="1315"/>
                </a:cxn>
                <a:cxn ang="0">
                  <a:pos x="990" y="1804"/>
                </a:cxn>
                <a:cxn ang="0">
                  <a:pos x="700" y="1211"/>
                </a:cxn>
                <a:cxn ang="0">
                  <a:pos x="501" y="841"/>
                </a:cxn>
                <a:cxn ang="0">
                  <a:pos x="318" y="375"/>
                </a:cxn>
                <a:cxn ang="0">
                  <a:pos x="133" y="283"/>
                </a:cxn>
                <a:cxn ang="0">
                  <a:pos x="201" y="156"/>
                </a:cxn>
                <a:cxn ang="0">
                  <a:pos x="811" y="146"/>
                </a:cxn>
                <a:cxn ang="0">
                  <a:pos x="966" y="106"/>
                </a:cxn>
                <a:cxn ang="0">
                  <a:pos x="1512" y="181"/>
                </a:cxn>
                <a:cxn ang="0">
                  <a:pos x="1611" y="275"/>
                </a:cxn>
                <a:cxn ang="0">
                  <a:pos x="1664" y="347"/>
                </a:cxn>
                <a:cxn ang="0">
                  <a:pos x="1062" y="422"/>
                </a:cxn>
                <a:cxn ang="0">
                  <a:pos x="727" y="401"/>
                </a:cxn>
                <a:cxn ang="0">
                  <a:pos x="2024" y="442"/>
                </a:cxn>
                <a:cxn ang="0">
                  <a:pos x="1639" y="528"/>
                </a:cxn>
                <a:cxn ang="0">
                  <a:pos x="2041" y="598"/>
                </a:cxn>
                <a:cxn ang="0">
                  <a:pos x="1810" y="541"/>
                </a:cxn>
                <a:cxn ang="0">
                  <a:pos x="1750" y="518"/>
                </a:cxn>
                <a:cxn ang="0">
                  <a:pos x="3118" y="608"/>
                </a:cxn>
                <a:cxn ang="0">
                  <a:pos x="2942" y="802"/>
                </a:cxn>
                <a:cxn ang="0">
                  <a:pos x="3096" y="883"/>
                </a:cxn>
                <a:cxn ang="0">
                  <a:pos x="3123" y="908"/>
                </a:cxn>
                <a:cxn ang="0">
                  <a:pos x="3039" y="1074"/>
                </a:cxn>
                <a:cxn ang="0">
                  <a:pos x="3168" y="1033"/>
                </a:cxn>
                <a:cxn ang="0">
                  <a:pos x="3233" y="1095"/>
                </a:cxn>
                <a:cxn ang="0">
                  <a:pos x="1030" y="1072"/>
                </a:cxn>
                <a:cxn ang="0">
                  <a:pos x="3186" y="1234"/>
                </a:cxn>
                <a:cxn ang="0">
                  <a:pos x="3201" y="1546"/>
                </a:cxn>
                <a:cxn ang="0">
                  <a:pos x="2215" y="1296"/>
                </a:cxn>
                <a:cxn ang="0">
                  <a:pos x="3516" y="1631"/>
                </a:cxn>
              </a:cxnLst>
              <a:rect l="0" t="0" r="r" b="b"/>
              <a:pathLst>
                <a:path w="3632" h="1804">
                  <a:moveTo>
                    <a:pt x="1470" y="0"/>
                  </a:moveTo>
                  <a:lnTo>
                    <a:pt x="1490" y="0"/>
                  </a:lnTo>
                  <a:lnTo>
                    <a:pt x="1510" y="2"/>
                  </a:lnTo>
                  <a:lnTo>
                    <a:pt x="1510" y="4"/>
                  </a:lnTo>
                  <a:lnTo>
                    <a:pt x="1512" y="5"/>
                  </a:lnTo>
                  <a:lnTo>
                    <a:pt x="1500" y="7"/>
                  </a:lnTo>
                  <a:lnTo>
                    <a:pt x="1490" y="9"/>
                  </a:lnTo>
                  <a:lnTo>
                    <a:pt x="1510" y="10"/>
                  </a:lnTo>
                  <a:lnTo>
                    <a:pt x="1531" y="10"/>
                  </a:lnTo>
                  <a:lnTo>
                    <a:pt x="1531" y="12"/>
                  </a:lnTo>
                  <a:lnTo>
                    <a:pt x="1531" y="12"/>
                  </a:lnTo>
                  <a:lnTo>
                    <a:pt x="1527" y="14"/>
                  </a:lnTo>
                  <a:lnTo>
                    <a:pt x="1526" y="15"/>
                  </a:lnTo>
                  <a:lnTo>
                    <a:pt x="1514" y="15"/>
                  </a:lnTo>
                  <a:lnTo>
                    <a:pt x="1500" y="17"/>
                  </a:lnTo>
                  <a:lnTo>
                    <a:pt x="1500" y="19"/>
                  </a:lnTo>
                  <a:lnTo>
                    <a:pt x="1500" y="22"/>
                  </a:lnTo>
                  <a:lnTo>
                    <a:pt x="1504" y="22"/>
                  </a:lnTo>
                  <a:lnTo>
                    <a:pt x="1509" y="22"/>
                  </a:lnTo>
                  <a:lnTo>
                    <a:pt x="1527" y="17"/>
                  </a:lnTo>
                  <a:lnTo>
                    <a:pt x="1549" y="14"/>
                  </a:lnTo>
                  <a:lnTo>
                    <a:pt x="1571" y="12"/>
                  </a:lnTo>
                  <a:lnTo>
                    <a:pt x="1589" y="14"/>
                  </a:lnTo>
                  <a:lnTo>
                    <a:pt x="1591" y="15"/>
                  </a:lnTo>
                  <a:lnTo>
                    <a:pt x="1591" y="17"/>
                  </a:lnTo>
                  <a:lnTo>
                    <a:pt x="1589" y="20"/>
                  </a:lnTo>
                  <a:lnTo>
                    <a:pt x="1589" y="24"/>
                  </a:lnTo>
                  <a:lnTo>
                    <a:pt x="1566" y="25"/>
                  </a:lnTo>
                  <a:lnTo>
                    <a:pt x="1546" y="29"/>
                  </a:lnTo>
                  <a:lnTo>
                    <a:pt x="1537" y="32"/>
                  </a:lnTo>
                  <a:lnTo>
                    <a:pt x="1529" y="36"/>
                  </a:lnTo>
                  <a:lnTo>
                    <a:pt x="1522" y="41"/>
                  </a:lnTo>
                  <a:lnTo>
                    <a:pt x="1515" y="46"/>
                  </a:lnTo>
                  <a:lnTo>
                    <a:pt x="1517" y="49"/>
                  </a:lnTo>
                  <a:lnTo>
                    <a:pt x="1517" y="54"/>
                  </a:lnTo>
                  <a:lnTo>
                    <a:pt x="1526" y="56"/>
                  </a:lnTo>
                  <a:lnTo>
                    <a:pt x="1532" y="57"/>
                  </a:lnTo>
                  <a:lnTo>
                    <a:pt x="1531" y="59"/>
                  </a:lnTo>
                  <a:lnTo>
                    <a:pt x="1531" y="61"/>
                  </a:lnTo>
                  <a:lnTo>
                    <a:pt x="1517" y="62"/>
                  </a:lnTo>
                  <a:lnTo>
                    <a:pt x="1505" y="62"/>
                  </a:lnTo>
                  <a:lnTo>
                    <a:pt x="1505" y="64"/>
                  </a:lnTo>
                  <a:lnTo>
                    <a:pt x="1505" y="67"/>
                  </a:lnTo>
                  <a:lnTo>
                    <a:pt x="1512" y="67"/>
                  </a:lnTo>
                  <a:lnTo>
                    <a:pt x="1515" y="69"/>
                  </a:lnTo>
                  <a:lnTo>
                    <a:pt x="1517" y="72"/>
                  </a:lnTo>
                  <a:lnTo>
                    <a:pt x="1517" y="76"/>
                  </a:lnTo>
                  <a:lnTo>
                    <a:pt x="1517" y="77"/>
                  </a:lnTo>
                  <a:lnTo>
                    <a:pt x="1517" y="77"/>
                  </a:lnTo>
                  <a:lnTo>
                    <a:pt x="1524" y="77"/>
                  </a:lnTo>
                  <a:lnTo>
                    <a:pt x="1529" y="77"/>
                  </a:lnTo>
                  <a:lnTo>
                    <a:pt x="1527" y="81"/>
                  </a:lnTo>
                  <a:lnTo>
                    <a:pt x="1527" y="84"/>
                  </a:lnTo>
                  <a:lnTo>
                    <a:pt x="1517" y="84"/>
                  </a:lnTo>
                  <a:lnTo>
                    <a:pt x="1509" y="84"/>
                  </a:lnTo>
                  <a:lnTo>
                    <a:pt x="1509" y="89"/>
                  </a:lnTo>
                  <a:lnTo>
                    <a:pt x="1509" y="94"/>
                  </a:lnTo>
                  <a:lnTo>
                    <a:pt x="1499" y="94"/>
                  </a:lnTo>
                  <a:lnTo>
                    <a:pt x="1492" y="97"/>
                  </a:lnTo>
                  <a:lnTo>
                    <a:pt x="1487" y="99"/>
                  </a:lnTo>
                  <a:lnTo>
                    <a:pt x="1479" y="103"/>
                  </a:lnTo>
                  <a:lnTo>
                    <a:pt x="1480" y="109"/>
                  </a:lnTo>
                  <a:lnTo>
                    <a:pt x="1482" y="114"/>
                  </a:lnTo>
                  <a:lnTo>
                    <a:pt x="1475" y="114"/>
                  </a:lnTo>
                  <a:lnTo>
                    <a:pt x="1470" y="114"/>
                  </a:lnTo>
                  <a:lnTo>
                    <a:pt x="1474" y="116"/>
                  </a:lnTo>
                  <a:lnTo>
                    <a:pt x="1477" y="118"/>
                  </a:lnTo>
                  <a:lnTo>
                    <a:pt x="1477" y="121"/>
                  </a:lnTo>
                  <a:lnTo>
                    <a:pt x="1479" y="126"/>
                  </a:lnTo>
                  <a:lnTo>
                    <a:pt x="1477" y="128"/>
                  </a:lnTo>
                  <a:lnTo>
                    <a:pt x="1477" y="129"/>
                  </a:lnTo>
                  <a:lnTo>
                    <a:pt x="1459" y="126"/>
                  </a:lnTo>
                  <a:lnTo>
                    <a:pt x="1443" y="121"/>
                  </a:lnTo>
                  <a:lnTo>
                    <a:pt x="1445" y="124"/>
                  </a:lnTo>
                  <a:lnTo>
                    <a:pt x="1447" y="126"/>
                  </a:lnTo>
                  <a:lnTo>
                    <a:pt x="1440" y="126"/>
                  </a:lnTo>
                  <a:lnTo>
                    <a:pt x="1433" y="126"/>
                  </a:lnTo>
                  <a:lnTo>
                    <a:pt x="1433" y="129"/>
                  </a:lnTo>
                  <a:lnTo>
                    <a:pt x="1433" y="133"/>
                  </a:lnTo>
                  <a:lnTo>
                    <a:pt x="1450" y="133"/>
                  </a:lnTo>
                  <a:lnTo>
                    <a:pt x="1465" y="133"/>
                  </a:lnTo>
                  <a:lnTo>
                    <a:pt x="1467" y="138"/>
                  </a:lnTo>
                  <a:lnTo>
                    <a:pt x="1467" y="141"/>
                  </a:lnTo>
                  <a:lnTo>
                    <a:pt x="1443" y="149"/>
                  </a:lnTo>
                  <a:lnTo>
                    <a:pt x="1418" y="158"/>
                  </a:lnTo>
                  <a:lnTo>
                    <a:pt x="1397" y="159"/>
                  </a:lnTo>
                  <a:lnTo>
                    <a:pt x="1375" y="161"/>
                  </a:lnTo>
                  <a:lnTo>
                    <a:pt x="1363" y="173"/>
                  </a:lnTo>
                  <a:lnTo>
                    <a:pt x="1350" y="183"/>
                  </a:lnTo>
                  <a:lnTo>
                    <a:pt x="1336" y="188"/>
                  </a:lnTo>
                  <a:lnTo>
                    <a:pt x="1320" y="190"/>
                  </a:lnTo>
                  <a:lnTo>
                    <a:pt x="1305" y="191"/>
                  </a:lnTo>
                  <a:lnTo>
                    <a:pt x="1289" y="195"/>
                  </a:lnTo>
                  <a:lnTo>
                    <a:pt x="1288" y="203"/>
                  </a:lnTo>
                  <a:lnTo>
                    <a:pt x="1286" y="211"/>
                  </a:lnTo>
                  <a:lnTo>
                    <a:pt x="1274" y="218"/>
                  </a:lnTo>
                  <a:lnTo>
                    <a:pt x="1263" y="226"/>
                  </a:lnTo>
                  <a:lnTo>
                    <a:pt x="1263" y="231"/>
                  </a:lnTo>
                  <a:lnTo>
                    <a:pt x="1261" y="236"/>
                  </a:lnTo>
                  <a:lnTo>
                    <a:pt x="1248" y="246"/>
                  </a:lnTo>
                  <a:lnTo>
                    <a:pt x="1236" y="255"/>
                  </a:lnTo>
                  <a:lnTo>
                    <a:pt x="1226" y="250"/>
                  </a:lnTo>
                  <a:lnTo>
                    <a:pt x="1216" y="245"/>
                  </a:lnTo>
                  <a:lnTo>
                    <a:pt x="1209" y="246"/>
                  </a:lnTo>
                  <a:lnTo>
                    <a:pt x="1201" y="246"/>
                  </a:lnTo>
                  <a:lnTo>
                    <a:pt x="1196" y="228"/>
                  </a:lnTo>
                  <a:lnTo>
                    <a:pt x="1187" y="210"/>
                  </a:lnTo>
                  <a:lnTo>
                    <a:pt x="1192" y="205"/>
                  </a:lnTo>
                  <a:lnTo>
                    <a:pt x="1196" y="201"/>
                  </a:lnTo>
                  <a:lnTo>
                    <a:pt x="1194" y="201"/>
                  </a:lnTo>
                  <a:lnTo>
                    <a:pt x="1191" y="201"/>
                  </a:lnTo>
                  <a:lnTo>
                    <a:pt x="1189" y="203"/>
                  </a:lnTo>
                  <a:lnTo>
                    <a:pt x="1186" y="203"/>
                  </a:lnTo>
                  <a:lnTo>
                    <a:pt x="1191" y="181"/>
                  </a:lnTo>
                  <a:lnTo>
                    <a:pt x="1196" y="159"/>
                  </a:lnTo>
                  <a:lnTo>
                    <a:pt x="1197" y="159"/>
                  </a:lnTo>
                  <a:lnTo>
                    <a:pt x="1197" y="159"/>
                  </a:lnTo>
                  <a:lnTo>
                    <a:pt x="1204" y="161"/>
                  </a:lnTo>
                  <a:lnTo>
                    <a:pt x="1207" y="163"/>
                  </a:lnTo>
                  <a:lnTo>
                    <a:pt x="1211" y="163"/>
                  </a:lnTo>
                  <a:lnTo>
                    <a:pt x="1214" y="161"/>
                  </a:lnTo>
                  <a:lnTo>
                    <a:pt x="1212" y="158"/>
                  </a:lnTo>
                  <a:lnTo>
                    <a:pt x="1211" y="154"/>
                  </a:lnTo>
                  <a:lnTo>
                    <a:pt x="1221" y="149"/>
                  </a:lnTo>
                  <a:lnTo>
                    <a:pt x="1231" y="143"/>
                  </a:lnTo>
                  <a:lnTo>
                    <a:pt x="1228" y="129"/>
                  </a:lnTo>
                  <a:lnTo>
                    <a:pt x="1226" y="118"/>
                  </a:lnTo>
                  <a:lnTo>
                    <a:pt x="1217" y="118"/>
                  </a:lnTo>
                  <a:lnTo>
                    <a:pt x="1212" y="116"/>
                  </a:lnTo>
                  <a:lnTo>
                    <a:pt x="1207" y="114"/>
                  </a:lnTo>
                  <a:lnTo>
                    <a:pt x="1204" y="111"/>
                  </a:lnTo>
                  <a:lnTo>
                    <a:pt x="1207" y="106"/>
                  </a:lnTo>
                  <a:lnTo>
                    <a:pt x="1211" y="103"/>
                  </a:lnTo>
                  <a:lnTo>
                    <a:pt x="1212" y="96"/>
                  </a:lnTo>
                  <a:lnTo>
                    <a:pt x="1212" y="87"/>
                  </a:lnTo>
                  <a:lnTo>
                    <a:pt x="1204" y="81"/>
                  </a:lnTo>
                  <a:lnTo>
                    <a:pt x="1197" y="72"/>
                  </a:lnTo>
                  <a:lnTo>
                    <a:pt x="1181" y="71"/>
                  </a:lnTo>
                  <a:lnTo>
                    <a:pt x="1162" y="71"/>
                  </a:lnTo>
                  <a:lnTo>
                    <a:pt x="1145" y="69"/>
                  </a:lnTo>
                  <a:lnTo>
                    <a:pt x="1129" y="69"/>
                  </a:lnTo>
                  <a:lnTo>
                    <a:pt x="1129" y="66"/>
                  </a:lnTo>
                  <a:lnTo>
                    <a:pt x="1129" y="62"/>
                  </a:lnTo>
                  <a:lnTo>
                    <a:pt x="1130" y="61"/>
                  </a:lnTo>
                  <a:lnTo>
                    <a:pt x="1132" y="59"/>
                  </a:lnTo>
                  <a:lnTo>
                    <a:pt x="1144" y="61"/>
                  </a:lnTo>
                  <a:lnTo>
                    <a:pt x="1157" y="61"/>
                  </a:lnTo>
                  <a:lnTo>
                    <a:pt x="1157" y="61"/>
                  </a:lnTo>
                  <a:lnTo>
                    <a:pt x="1157" y="59"/>
                  </a:lnTo>
                  <a:lnTo>
                    <a:pt x="1156" y="57"/>
                  </a:lnTo>
                  <a:lnTo>
                    <a:pt x="1154" y="54"/>
                  </a:lnTo>
                  <a:lnTo>
                    <a:pt x="1142" y="56"/>
                  </a:lnTo>
                  <a:lnTo>
                    <a:pt x="1130" y="56"/>
                  </a:lnTo>
                  <a:lnTo>
                    <a:pt x="1127" y="56"/>
                  </a:lnTo>
                  <a:lnTo>
                    <a:pt x="1122" y="54"/>
                  </a:lnTo>
                  <a:lnTo>
                    <a:pt x="1119" y="52"/>
                  </a:lnTo>
                  <a:lnTo>
                    <a:pt x="1115" y="51"/>
                  </a:lnTo>
                  <a:lnTo>
                    <a:pt x="1117" y="47"/>
                  </a:lnTo>
                  <a:lnTo>
                    <a:pt x="1120" y="46"/>
                  </a:lnTo>
                  <a:lnTo>
                    <a:pt x="1130" y="42"/>
                  </a:lnTo>
                  <a:lnTo>
                    <a:pt x="1140" y="41"/>
                  </a:lnTo>
                  <a:lnTo>
                    <a:pt x="1149" y="39"/>
                  </a:lnTo>
                  <a:lnTo>
                    <a:pt x="1159" y="39"/>
                  </a:lnTo>
                  <a:lnTo>
                    <a:pt x="1177" y="39"/>
                  </a:lnTo>
                  <a:lnTo>
                    <a:pt x="1196" y="39"/>
                  </a:lnTo>
                  <a:lnTo>
                    <a:pt x="1192" y="32"/>
                  </a:lnTo>
                  <a:lnTo>
                    <a:pt x="1187" y="25"/>
                  </a:lnTo>
                  <a:lnTo>
                    <a:pt x="1209" y="25"/>
                  </a:lnTo>
                  <a:lnTo>
                    <a:pt x="1229" y="22"/>
                  </a:lnTo>
                  <a:lnTo>
                    <a:pt x="1248" y="19"/>
                  </a:lnTo>
                  <a:lnTo>
                    <a:pt x="1264" y="12"/>
                  </a:lnTo>
                  <a:lnTo>
                    <a:pt x="1279" y="14"/>
                  </a:lnTo>
                  <a:lnTo>
                    <a:pt x="1293" y="15"/>
                  </a:lnTo>
                  <a:lnTo>
                    <a:pt x="1308" y="15"/>
                  </a:lnTo>
                  <a:lnTo>
                    <a:pt x="1321" y="14"/>
                  </a:lnTo>
                  <a:lnTo>
                    <a:pt x="1351" y="10"/>
                  </a:lnTo>
                  <a:lnTo>
                    <a:pt x="1382" y="5"/>
                  </a:lnTo>
                  <a:lnTo>
                    <a:pt x="1402" y="5"/>
                  </a:lnTo>
                  <a:lnTo>
                    <a:pt x="1428" y="4"/>
                  </a:lnTo>
                  <a:lnTo>
                    <a:pt x="1442" y="4"/>
                  </a:lnTo>
                  <a:lnTo>
                    <a:pt x="1454" y="4"/>
                  </a:lnTo>
                  <a:lnTo>
                    <a:pt x="1464" y="2"/>
                  </a:lnTo>
                  <a:lnTo>
                    <a:pt x="1470" y="0"/>
                  </a:lnTo>
                  <a:close/>
                  <a:moveTo>
                    <a:pt x="1147" y="4"/>
                  </a:moveTo>
                  <a:lnTo>
                    <a:pt x="1169" y="5"/>
                  </a:lnTo>
                  <a:lnTo>
                    <a:pt x="1189" y="7"/>
                  </a:lnTo>
                  <a:lnTo>
                    <a:pt x="1211" y="9"/>
                  </a:lnTo>
                  <a:lnTo>
                    <a:pt x="1233" y="10"/>
                  </a:lnTo>
                  <a:lnTo>
                    <a:pt x="1231" y="12"/>
                  </a:lnTo>
                  <a:lnTo>
                    <a:pt x="1231" y="14"/>
                  </a:lnTo>
                  <a:lnTo>
                    <a:pt x="1207" y="17"/>
                  </a:lnTo>
                  <a:lnTo>
                    <a:pt x="1189" y="20"/>
                  </a:lnTo>
                  <a:lnTo>
                    <a:pt x="1172" y="25"/>
                  </a:lnTo>
                  <a:lnTo>
                    <a:pt x="1154" y="32"/>
                  </a:lnTo>
                  <a:lnTo>
                    <a:pt x="1137" y="34"/>
                  </a:lnTo>
                  <a:lnTo>
                    <a:pt x="1120" y="36"/>
                  </a:lnTo>
                  <a:lnTo>
                    <a:pt x="1104" y="37"/>
                  </a:lnTo>
                  <a:lnTo>
                    <a:pt x="1087" y="39"/>
                  </a:lnTo>
                  <a:lnTo>
                    <a:pt x="1087" y="39"/>
                  </a:lnTo>
                  <a:lnTo>
                    <a:pt x="1087" y="41"/>
                  </a:lnTo>
                  <a:lnTo>
                    <a:pt x="1092" y="41"/>
                  </a:lnTo>
                  <a:lnTo>
                    <a:pt x="1097" y="42"/>
                  </a:lnTo>
                  <a:lnTo>
                    <a:pt x="1097" y="46"/>
                  </a:lnTo>
                  <a:lnTo>
                    <a:pt x="1097" y="51"/>
                  </a:lnTo>
                  <a:lnTo>
                    <a:pt x="1095" y="51"/>
                  </a:lnTo>
                  <a:lnTo>
                    <a:pt x="1094" y="51"/>
                  </a:lnTo>
                  <a:lnTo>
                    <a:pt x="1080" y="52"/>
                  </a:lnTo>
                  <a:lnTo>
                    <a:pt x="1065" y="56"/>
                  </a:lnTo>
                  <a:lnTo>
                    <a:pt x="1057" y="64"/>
                  </a:lnTo>
                  <a:lnTo>
                    <a:pt x="1048" y="72"/>
                  </a:lnTo>
                  <a:lnTo>
                    <a:pt x="1037" y="71"/>
                  </a:lnTo>
                  <a:lnTo>
                    <a:pt x="1017" y="69"/>
                  </a:lnTo>
                  <a:lnTo>
                    <a:pt x="995" y="67"/>
                  </a:lnTo>
                  <a:lnTo>
                    <a:pt x="983" y="66"/>
                  </a:lnTo>
                  <a:lnTo>
                    <a:pt x="981" y="64"/>
                  </a:lnTo>
                  <a:lnTo>
                    <a:pt x="981" y="62"/>
                  </a:lnTo>
                  <a:lnTo>
                    <a:pt x="981" y="62"/>
                  </a:lnTo>
                  <a:lnTo>
                    <a:pt x="981" y="61"/>
                  </a:lnTo>
                  <a:lnTo>
                    <a:pt x="993" y="61"/>
                  </a:lnTo>
                  <a:lnTo>
                    <a:pt x="1007" y="61"/>
                  </a:lnTo>
                  <a:lnTo>
                    <a:pt x="1013" y="59"/>
                  </a:lnTo>
                  <a:lnTo>
                    <a:pt x="1018" y="57"/>
                  </a:lnTo>
                  <a:lnTo>
                    <a:pt x="1022" y="54"/>
                  </a:lnTo>
                  <a:lnTo>
                    <a:pt x="1023" y="51"/>
                  </a:lnTo>
                  <a:lnTo>
                    <a:pt x="1023" y="51"/>
                  </a:lnTo>
                  <a:lnTo>
                    <a:pt x="1023" y="51"/>
                  </a:lnTo>
                  <a:lnTo>
                    <a:pt x="1032" y="49"/>
                  </a:lnTo>
                  <a:lnTo>
                    <a:pt x="1040" y="47"/>
                  </a:lnTo>
                  <a:lnTo>
                    <a:pt x="1035" y="46"/>
                  </a:lnTo>
                  <a:lnTo>
                    <a:pt x="1032" y="44"/>
                  </a:lnTo>
                  <a:lnTo>
                    <a:pt x="1038" y="44"/>
                  </a:lnTo>
                  <a:lnTo>
                    <a:pt x="1043" y="46"/>
                  </a:lnTo>
                  <a:lnTo>
                    <a:pt x="1047" y="46"/>
                  </a:lnTo>
                  <a:lnTo>
                    <a:pt x="1050" y="44"/>
                  </a:lnTo>
                  <a:lnTo>
                    <a:pt x="1047" y="39"/>
                  </a:lnTo>
                  <a:lnTo>
                    <a:pt x="1042" y="36"/>
                  </a:lnTo>
                  <a:lnTo>
                    <a:pt x="1043" y="32"/>
                  </a:lnTo>
                  <a:lnTo>
                    <a:pt x="1043" y="29"/>
                  </a:lnTo>
                  <a:lnTo>
                    <a:pt x="1060" y="32"/>
                  </a:lnTo>
                  <a:lnTo>
                    <a:pt x="1074" y="37"/>
                  </a:lnTo>
                  <a:lnTo>
                    <a:pt x="1092" y="27"/>
                  </a:lnTo>
                  <a:lnTo>
                    <a:pt x="1114" y="20"/>
                  </a:lnTo>
                  <a:lnTo>
                    <a:pt x="1095" y="22"/>
                  </a:lnTo>
                  <a:lnTo>
                    <a:pt x="1077" y="22"/>
                  </a:lnTo>
                  <a:lnTo>
                    <a:pt x="1058" y="20"/>
                  </a:lnTo>
                  <a:lnTo>
                    <a:pt x="1042" y="15"/>
                  </a:lnTo>
                  <a:lnTo>
                    <a:pt x="1043" y="14"/>
                  </a:lnTo>
                  <a:lnTo>
                    <a:pt x="1043" y="12"/>
                  </a:lnTo>
                  <a:lnTo>
                    <a:pt x="1070" y="10"/>
                  </a:lnTo>
                  <a:lnTo>
                    <a:pt x="1099" y="12"/>
                  </a:lnTo>
                  <a:lnTo>
                    <a:pt x="1112" y="12"/>
                  </a:lnTo>
                  <a:lnTo>
                    <a:pt x="1125" y="10"/>
                  </a:lnTo>
                  <a:lnTo>
                    <a:pt x="1137" y="9"/>
                  </a:lnTo>
                  <a:lnTo>
                    <a:pt x="1147" y="4"/>
                  </a:lnTo>
                  <a:close/>
                  <a:moveTo>
                    <a:pt x="2361" y="31"/>
                  </a:moveTo>
                  <a:lnTo>
                    <a:pt x="2361" y="25"/>
                  </a:lnTo>
                  <a:lnTo>
                    <a:pt x="2361" y="19"/>
                  </a:lnTo>
                  <a:lnTo>
                    <a:pt x="2378" y="19"/>
                  </a:lnTo>
                  <a:lnTo>
                    <a:pt x="2396" y="20"/>
                  </a:lnTo>
                  <a:lnTo>
                    <a:pt x="2411" y="29"/>
                  </a:lnTo>
                  <a:lnTo>
                    <a:pt x="2430" y="37"/>
                  </a:lnTo>
                  <a:lnTo>
                    <a:pt x="2430" y="41"/>
                  </a:lnTo>
                  <a:lnTo>
                    <a:pt x="2430" y="44"/>
                  </a:lnTo>
                  <a:lnTo>
                    <a:pt x="2426" y="44"/>
                  </a:lnTo>
                  <a:lnTo>
                    <a:pt x="2421" y="44"/>
                  </a:lnTo>
                  <a:lnTo>
                    <a:pt x="2408" y="41"/>
                  </a:lnTo>
                  <a:lnTo>
                    <a:pt x="2391" y="36"/>
                  </a:lnTo>
                  <a:lnTo>
                    <a:pt x="2374" y="32"/>
                  </a:lnTo>
                  <a:lnTo>
                    <a:pt x="2361" y="31"/>
                  </a:lnTo>
                  <a:close/>
                  <a:moveTo>
                    <a:pt x="988" y="20"/>
                  </a:moveTo>
                  <a:lnTo>
                    <a:pt x="995" y="20"/>
                  </a:lnTo>
                  <a:lnTo>
                    <a:pt x="1002" y="20"/>
                  </a:lnTo>
                  <a:lnTo>
                    <a:pt x="1008" y="24"/>
                  </a:lnTo>
                  <a:lnTo>
                    <a:pt x="1013" y="25"/>
                  </a:lnTo>
                  <a:lnTo>
                    <a:pt x="1018" y="29"/>
                  </a:lnTo>
                  <a:lnTo>
                    <a:pt x="1023" y="32"/>
                  </a:lnTo>
                  <a:lnTo>
                    <a:pt x="1027" y="37"/>
                  </a:lnTo>
                  <a:lnTo>
                    <a:pt x="1028" y="42"/>
                  </a:lnTo>
                  <a:lnTo>
                    <a:pt x="1027" y="42"/>
                  </a:lnTo>
                  <a:lnTo>
                    <a:pt x="1025" y="42"/>
                  </a:lnTo>
                  <a:lnTo>
                    <a:pt x="1013" y="46"/>
                  </a:lnTo>
                  <a:lnTo>
                    <a:pt x="1000" y="49"/>
                  </a:lnTo>
                  <a:lnTo>
                    <a:pt x="986" y="51"/>
                  </a:lnTo>
                  <a:lnTo>
                    <a:pt x="980" y="51"/>
                  </a:lnTo>
                  <a:lnTo>
                    <a:pt x="971" y="47"/>
                  </a:lnTo>
                  <a:lnTo>
                    <a:pt x="965" y="44"/>
                  </a:lnTo>
                  <a:lnTo>
                    <a:pt x="960" y="39"/>
                  </a:lnTo>
                  <a:lnTo>
                    <a:pt x="955" y="32"/>
                  </a:lnTo>
                  <a:lnTo>
                    <a:pt x="963" y="32"/>
                  </a:lnTo>
                  <a:lnTo>
                    <a:pt x="973" y="29"/>
                  </a:lnTo>
                  <a:lnTo>
                    <a:pt x="981" y="25"/>
                  </a:lnTo>
                  <a:lnTo>
                    <a:pt x="988" y="20"/>
                  </a:lnTo>
                  <a:close/>
                  <a:moveTo>
                    <a:pt x="1822" y="29"/>
                  </a:moveTo>
                  <a:lnTo>
                    <a:pt x="1824" y="29"/>
                  </a:lnTo>
                  <a:lnTo>
                    <a:pt x="1825" y="29"/>
                  </a:lnTo>
                  <a:lnTo>
                    <a:pt x="1824" y="29"/>
                  </a:lnTo>
                  <a:lnTo>
                    <a:pt x="1822" y="29"/>
                  </a:lnTo>
                  <a:close/>
                  <a:moveTo>
                    <a:pt x="1830" y="29"/>
                  </a:moveTo>
                  <a:lnTo>
                    <a:pt x="1844" y="31"/>
                  </a:lnTo>
                  <a:lnTo>
                    <a:pt x="1855" y="31"/>
                  </a:lnTo>
                  <a:lnTo>
                    <a:pt x="1869" y="31"/>
                  </a:lnTo>
                  <a:lnTo>
                    <a:pt x="1882" y="31"/>
                  </a:lnTo>
                  <a:lnTo>
                    <a:pt x="1882" y="32"/>
                  </a:lnTo>
                  <a:lnTo>
                    <a:pt x="1882" y="32"/>
                  </a:lnTo>
                  <a:lnTo>
                    <a:pt x="1882" y="34"/>
                  </a:lnTo>
                  <a:lnTo>
                    <a:pt x="1882" y="36"/>
                  </a:lnTo>
                  <a:lnTo>
                    <a:pt x="1872" y="39"/>
                  </a:lnTo>
                  <a:lnTo>
                    <a:pt x="1862" y="41"/>
                  </a:lnTo>
                  <a:lnTo>
                    <a:pt x="1852" y="42"/>
                  </a:lnTo>
                  <a:lnTo>
                    <a:pt x="1840" y="41"/>
                  </a:lnTo>
                  <a:lnTo>
                    <a:pt x="1835" y="36"/>
                  </a:lnTo>
                  <a:lnTo>
                    <a:pt x="1830" y="29"/>
                  </a:lnTo>
                  <a:close/>
                  <a:moveTo>
                    <a:pt x="896" y="36"/>
                  </a:moveTo>
                  <a:lnTo>
                    <a:pt x="904" y="37"/>
                  </a:lnTo>
                  <a:lnTo>
                    <a:pt x="913" y="41"/>
                  </a:lnTo>
                  <a:lnTo>
                    <a:pt x="913" y="41"/>
                  </a:lnTo>
                  <a:lnTo>
                    <a:pt x="913" y="42"/>
                  </a:lnTo>
                  <a:lnTo>
                    <a:pt x="913" y="46"/>
                  </a:lnTo>
                  <a:lnTo>
                    <a:pt x="911" y="49"/>
                  </a:lnTo>
                  <a:lnTo>
                    <a:pt x="908" y="51"/>
                  </a:lnTo>
                  <a:lnTo>
                    <a:pt x="904" y="51"/>
                  </a:lnTo>
                  <a:lnTo>
                    <a:pt x="889" y="49"/>
                  </a:lnTo>
                  <a:lnTo>
                    <a:pt x="876" y="46"/>
                  </a:lnTo>
                  <a:lnTo>
                    <a:pt x="884" y="39"/>
                  </a:lnTo>
                  <a:lnTo>
                    <a:pt x="896" y="36"/>
                  </a:lnTo>
                  <a:close/>
                  <a:moveTo>
                    <a:pt x="1762" y="36"/>
                  </a:moveTo>
                  <a:lnTo>
                    <a:pt x="1775" y="37"/>
                  </a:lnTo>
                  <a:lnTo>
                    <a:pt x="1795" y="37"/>
                  </a:lnTo>
                  <a:lnTo>
                    <a:pt x="1812" y="37"/>
                  </a:lnTo>
                  <a:lnTo>
                    <a:pt x="1824" y="41"/>
                  </a:lnTo>
                  <a:lnTo>
                    <a:pt x="1827" y="42"/>
                  </a:lnTo>
                  <a:lnTo>
                    <a:pt x="1829" y="44"/>
                  </a:lnTo>
                  <a:lnTo>
                    <a:pt x="1829" y="46"/>
                  </a:lnTo>
                  <a:lnTo>
                    <a:pt x="1829" y="47"/>
                  </a:lnTo>
                  <a:lnTo>
                    <a:pt x="1817" y="57"/>
                  </a:lnTo>
                  <a:lnTo>
                    <a:pt x="1805" y="69"/>
                  </a:lnTo>
                  <a:lnTo>
                    <a:pt x="1800" y="67"/>
                  </a:lnTo>
                  <a:lnTo>
                    <a:pt x="1795" y="67"/>
                  </a:lnTo>
                  <a:lnTo>
                    <a:pt x="1788" y="62"/>
                  </a:lnTo>
                  <a:lnTo>
                    <a:pt x="1777" y="54"/>
                  </a:lnTo>
                  <a:lnTo>
                    <a:pt x="1767" y="44"/>
                  </a:lnTo>
                  <a:lnTo>
                    <a:pt x="1762" y="36"/>
                  </a:lnTo>
                  <a:close/>
                  <a:moveTo>
                    <a:pt x="933" y="39"/>
                  </a:moveTo>
                  <a:lnTo>
                    <a:pt x="935" y="39"/>
                  </a:lnTo>
                  <a:lnTo>
                    <a:pt x="936" y="39"/>
                  </a:lnTo>
                  <a:lnTo>
                    <a:pt x="943" y="46"/>
                  </a:lnTo>
                  <a:lnTo>
                    <a:pt x="948" y="52"/>
                  </a:lnTo>
                  <a:lnTo>
                    <a:pt x="946" y="54"/>
                  </a:lnTo>
                  <a:lnTo>
                    <a:pt x="946" y="56"/>
                  </a:lnTo>
                  <a:lnTo>
                    <a:pt x="938" y="56"/>
                  </a:lnTo>
                  <a:lnTo>
                    <a:pt x="933" y="54"/>
                  </a:lnTo>
                  <a:lnTo>
                    <a:pt x="928" y="51"/>
                  </a:lnTo>
                  <a:lnTo>
                    <a:pt x="926" y="44"/>
                  </a:lnTo>
                  <a:lnTo>
                    <a:pt x="930" y="41"/>
                  </a:lnTo>
                  <a:lnTo>
                    <a:pt x="933" y="39"/>
                  </a:lnTo>
                  <a:close/>
                  <a:moveTo>
                    <a:pt x="817" y="42"/>
                  </a:moveTo>
                  <a:lnTo>
                    <a:pt x="827" y="42"/>
                  </a:lnTo>
                  <a:lnTo>
                    <a:pt x="836" y="44"/>
                  </a:lnTo>
                  <a:lnTo>
                    <a:pt x="836" y="44"/>
                  </a:lnTo>
                  <a:lnTo>
                    <a:pt x="836" y="46"/>
                  </a:lnTo>
                  <a:lnTo>
                    <a:pt x="836" y="46"/>
                  </a:lnTo>
                  <a:lnTo>
                    <a:pt x="836" y="47"/>
                  </a:lnTo>
                  <a:lnTo>
                    <a:pt x="827" y="52"/>
                  </a:lnTo>
                  <a:lnTo>
                    <a:pt x="817" y="57"/>
                  </a:lnTo>
                  <a:lnTo>
                    <a:pt x="812" y="59"/>
                  </a:lnTo>
                  <a:lnTo>
                    <a:pt x="807" y="61"/>
                  </a:lnTo>
                  <a:lnTo>
                    <a:pt x="802" y="59"/>
                  </a:lnTo>
                  <a:lnTo>
                    <a:pt x="797" y="54"/>
                  </a:lnTo>
                  <a:lnTo>
                    <a:pt x="807" y="49"/>
                  </a:lnTo>
                  <a:lnTo>
                    <a:pt x="817" y="42"/>
                  </a:lnTo>
                  <a:close/>
                  <a:moveTo>
                    <a:pt x="2475" y="51"/>
                  </a:moveTo>
                  <a:lnTo>
                    <a:pt x="2463" y="52"/>
                  </a:lnTo>
                  <a:lnTo>
                    <a:pt x="2453" y="51"/>
                  </a:lnTo>
                  <a:lnTo>
                    <a:pt x="2446" y="49"/>
                  </a:lnTo>
                  <a:lnTo>
                    <a:pt x="2440" y="44"/>
                  </a:lnTo>
                  <a:lnTo>
                    <a:pt x="2440" y="42"/>
                  </a:lnTo>
                  <a:lnTo>
                    <a:pt x="2440" y="42"/>
                  </a:lnTo>
                  <a:lnTo>
                    <a:pt x="2458" y="42"/>
                  </a:lnTo>
                  <a:lnTo>
                    <a:pt x="2475" y="44"/>
                  </a:lnTo>
                  <a:lnTo>
                    <a:pt x="2475" y="47"/>
                  </a:lnTo>
                  <a:lnTo>
                    <a:pt x="2475" y="51"/>
                  </a:lnTo>
                  <a:close/>
                  <a:moveTo>
                    <a:pt x="765" y="51"/>
                  </a:moveTo>
                  <a:lnTo>
                    <a:pt x="772" y="52"/>
                  </a:lnTo>
                  <a:lnTo>
                    <a:pt x="777" y="54"/>
                  </a:lnTo>
                  <a:lnTo>
                    <a:pt x="779" y="62"/>
                  </a:lnTo>
                  <a:lnTo>
                    <a:pt x="781" y="72"/>
                  </a:lnTo>
                  <a:lnTo>
                    <a:pt x="782" y="72"/>
                  </a:lnTo>
                  <a:lnTo>
                    <a:pt x="782" y="74"/>
                  </a:lnTo>
                  <a:lnTo>
                    <a:pt x="797" y="69"/>
                  </a:lnTo>
                  <a:lnTo>
                    <a:pt x="807" y="66"/>
                  </a:lnTo>
                  <a:lnTo>
                    <a:pt x="816" y="66"/>
                  </a:lnTo>
                  <a:lnTo>
                    <a:pt x="822" y="69"/>
                  </a:lnTo>
                  <a:lnTo>
                    <a:pt x="829" y="72"/>
                  </a:lnTo>
                  <a:lnTo>
                    <a:pt x="836" y="76"/>
                  </a:lnTo>
                  <a:lnTo>
                    <a:pt x="836" y="77"/>
                  </a:lnTo>
                  <a:lnTo>
                    <a:pt x="834" y="81"/>
                  </a:lnTo>
                  <a:lnTo>
                    <a:pt x="817" y="81"/>
                  </a:lnTo>
                  <a:lnTo>
                    <a:pt x="799" y="82"/>
                  </a:lnTo>
                  <a:lnTo>
                    <a:pt x="797" y="79"/>
                  </a:lnTo>
                  <a:lnTo>
                    <a:pt x="797" y="77"/>
                  </a:lnTo>
                  <a:lnTo>
                    <a:pt x="797" y="77"/>
                  </a:lnTo>
                  <a:lnTo>
                    <a:pt x="794" y="76"/>
                  </a:lnTo>
                  <a:lnTo>
                    <a:pt x="787" y="81"/>
                  </a:lnTo>
                  <a:lnTo>
                    <a:pt x="779" y="81"/>
                  </a:lnTo>
                  <a:lnTo>
                    <a:pt x="772" y="81"/>
                  </a:lnTo>
                  <a:lnTo>
                    <a:pt x="765" y="77"/>
                  </a:lnTo>
                  <a:lnTo>
                    <a:pt x="759" y="74"/>
                  </a:lnTo>
                  <a:lnTo>
                    <a:pt x="754" y="72"/>
                  </a:lnTo>
                  <a:lnTo>
                    <a:pt x="747" y="71"/>
                  </a:lnTo>
                  <a:lnTo>
                    <a:pt x="742" y="71"/>
                  </a:lnTo>
                  <a:lnTo>
                    <a:pt x="740" y="74"/>
                  </a:lnTo>
                  <a:lnTo>
                    <a:pt x="739" y="76"/>
                  </a:lnTo>
                  <a:lnTo>
                    <a:pt x="737" y="77"/>
                  </a:lnTo>
                  <a:lnTo>
                    <a:pt x="732" y="77"/>
                  </a:lnTo>
                  <a:lnTo>
                    <a:pt x="714" y="74"/>
                  </a:lnTo>
                  <a:lnTo>
                    <a:pt x="697" y="67"/>
                  </a:lnTo>
                  <a:lnTo>
                    <a:pt x="709" y="66"/>
                  </a:lnTo>
                  <a:lnTo>
                    <a:pt x="730" y="62"/>
                  </a:lnTo>
                  <a:lnTo>
                    <a:pt x="752" y="57"/>
                  </a:lnTo>
                  <a:lnTo>
                    <a:pt x="765" y="51"/>
                  </a:lnTo>
                  <a:close/>
                  <a:moveTo>
                    <a:pt x="2788" y="128"/>
                  </a:moveTo>
                  <a:lnTo>
                    <a:pt x="2788" y="124"/>
                  </a:lnTo>
                  <a:lnTo>
                    <a:pt x="2788" y="121"/>
                  </a:lnTo>
                  <a:lnTo>
                    <a:pt x="2805" y="123"/>
                  </a:lnTo>
                  <a:lnTo>
                    <a:pt x="2821" y="124"/>
                  </a:lnTo>
                  <a:lnTo>
                    <a:pt x="2838" y="126"/>
                  </a:lnTo>
                  <a:lnTo>
                    <a:pt x="2853" y="126"/>
                  </a:lnTo>
                  <a:lnTo>
                    <a:pt x="2855" y="126"/>
                  </a:lnTo>
                  <a:lnTo>
                    <a:pt x="2855" y="124"/>
                  </a:lnTo>
                  <a:lnTo>
                    <a:pt x="2851" y="121"/>
                  </a:lnTo>
                  <a:lnTo>
                    <a:pt x="2848" y="118"/>
                  </a:lnTo>
                  <a:lnTo>
                    <a:pt x="2845" y="114"/>
                  </a:lnTo>
                  <a:lnTo>
                    <a:pt x="2843" y="109"/>
                  </a:lnTo>
                  <a:lnTo>
                    <a:pt x="2858" y="109"/>
                  </a:lnTo>
                  <a:lnTo>
                    <a:pt x="2873" y="109"/>
                  </a:lnTo>
                  <a:lnTo>
                    <a:pt x="2878" y="111"/>
                  </a:lnTo>
                  <a:lnTo>
                    <a:pt x="2885" y="113"/>
                  </a:lnTo>
                  <a:lnTo>
                    <a:pt x="2888" y="116"/>
                  </a:lnTo>
                  <a:lnTo>
                    <a:pt x="2893" y="121"/>
                  </a:lnTo>
                  <a:lnTo>
                    <a:pt x="2902" y="116"/>
                  </a:lnTo>
                  <a:lnTo>
                    <a:pt x="2908" y="114"/>
                  </a:lnTo>
                  <a:lnTo>
                    <a:pt x="2915" y="114"/>
                  </a:lnTo>
                  <a:lnTo>
                    <a:pt x="2920" y="116"/>
                  </a:lnTo>
                  <a:lnTo>
                    <a:pt x="2932" y="121"/>
                  </a:lnTo>
                  <a:lnTo>
                    <a:pt x="2945" y="126"/>
                  </a:lnTo>
                  <a:lnTo>
                    <a:pt x="2962" y="128"/>
                  </a:lnTo>
                  <a:lnTo>
                    <a:pt x="2980" y="128"/>
                  </a:lnTo>
                  <a:lnTo>
                    <a:pt x="2997" y="128"/>
                  </a:lnTo>
                  <a:lnTo>
                    <a:pt x="3016" y="128"/>
                  </a:lnTo>
                  <a:lnTo>
                    <a:pt x="3037" y="136"/>
                  </a:lnTo>
                  <a:lnTo>
                    <a:pt x="3059" y="143"/>
                  </a:lnTo>
                  <a:lnTo>
                    <a:pt x="3077" y="143"/>
                  </a:lnTo>
                  <a:lnTo>
                    <a:pt x="3094" y="143"/>
                  </a:lnTo>
                  <a:lnTo>
                    <a:pt x="3111" y="144"/>
                  </a:lnTo>
                  <a:lnTo>
                    <a:pt x="3128" y="144"/>
                  </a:lnTo>
                  <a:lnTo>
                    <a:pt x="3141" y="149"/>
                  </a:lnTo>
                  <a:lnTo>
                    <a:pt x="3158" y="153"/>
                  </a:lnTo>
                  <a:lnTo>
                    <a:pt x="3158" y="153"/>
                  </a:lnTo>
                  <a:lnTo>
                    <a:pt x="3158" y="151"/>
                  </a:lnTo>
                  <a:lnTo>
                    <a:pt x="3156" y="149"/>
                  </a:lnTo>
                  <a:lnTo>
                    <a:pt x="3153" y="146"/>
                  </a:lnTo>
                  <a:lnTo>
                    <a:pt x="3146" y="143"/>
                  </a:lnTo>
                  <a:lnTo>
                    <a:pt x="3139" y="141"/>
                  </a:lnTo>
                  <a:lnTo>
                    <a:pt x="3139" y="139"/>
                  </a:lnTo>
                  <a:lnTo>
                    <a:pt x="3139" y="138"/>
                  </a:lnTo>
                  <a:lnTo>
                    <a:pt x="3141" y="136"/>
                  </a:lnTo>
                  <a:lnTo>
                    <a:pt x="3141" y="134"/>
                  </a:lnTo>
                  <a:lnTo>
                    <a:pt x="3165" y="136"/>
                  </a:lnTo>
                  <a:lnTo>
                    <a:pt x="3188" y="139"/>
                  </a:lnTo>
                  <a:lnTo>
                    <a:pt x="3211" y="144"/>
                  </a:lnTo>
                  <a:lnTo>
                    <a:pt x="3233" y="149"/>
                  </a:lnTo>
                  <a:lnTo>
                    <a:pt x="3277" y="164"/>
                  </a:lnTo>
                  <a:lnTo>
                    <a:pt x="3315" y="176"/>
                  </a:lnTo>
                  <a:lnTo>
                    <a:pt x="3340" y="180"/>
                  </a:lnTo>
                  <a:lnTo>
                    <a:pt x="3360" y="183"/>
                  </a:lnTo>
                  <a:lnTo>
                    <a:pt x="3367" y="193"/>
                  </a:lnTo>
                  <a:lnTo>
                    <a:pt x="3374" y="203"/>
                  </a:lnTo>
                  <a:lnTo>
                    <a:pt x="3354" y="201"/>
                  </a:lnTo>
                  <a:lnTo>
                    <a:pt x="3327" y="195"/>
                  </a:lnTo>
                  <a:lnTo>
                    <a:pt x="3315" y="191"/>
                  </a:lnTo>
                  <a:lnTo>
                    <a:pt x="3303" y="190"/>
                  </a:lnTo>
                  <a:lnTo>
                    <a:pt x="3295" y="188"/>
                  </a:lnTo>
                  <a:lnTo>
                    <a:pt x="3290" y="190"/>
                  </a:lnTo>
                  <a:lnTo>
                    <a:pt x="3292" y="193"/>
                  </a:lnTo>
                  <a:lnTo>
                    <a:pt x="3295" y="198"/>
                  </a:lnTo>
                  <a:lnTo>
                    <a:pt x="3287" y="198"/>
                  </a:lnTo>
                  <a:lnTo>
                    <a:pt x="3278" y="200"/>
                  </a:lnTo>
                  <a:lnTo>
                    <a:pt x="3278" y="200"/>
                  </a:lnTo>
                  <a:lnTo>
                    <a:pt x="3278" y="201"/>
                  </a:lnTo>
                  <a:lnTo>
                    <a:pt x="3287" y="201"/>
                  </a:lnTo>
                  <a:lnTo>
                    <a:pt x="3293" y="203"/>
                  </a:lnTo>
                  <a:lnTo>
                    <a:pt x="3300" y="205"/>
                  </a:lnTo>
                  <a:lnTo>
                    <a:pt x="3307" y="208"/>
                  </a:lnTo>
                  <a:lnTo>
                    <a:pt x="3320" y="215"/>
                  </a:lnTo>
                  <a:lnTo>
                    <a:pt x="3337" y="221"/>
                  </a:lnTo>
                  <a:lnTo>
                    <a:pt x="3337" y="225"/>
                  </a:lnTo>
                  <a:lnTo>
                    <a:pt x="3337" y="228"/>
                  </a:lnTo>
                  <a:lnTo>
                    <a:pt x="3335" y="230"/>
                  </a:lnTo>
                  <a:lnTo>
                    <a:pt x="3334" y="231"/>
                  </a:lnTo>
                  <a:lnTo>
                    <a:pt x="3319" y="231"/>
                  </a:lnTo>
                  <a:lnTo>
                    <a:pt x="3303" y="233"/>
                  </a:lnTo>
                  <a:lnTo>
                    <a:pt x="3298" y="236"/>
                  </a:lnTo>
                  <a:lnTo>
                    <a:pt x="3293" y="240"/>
                  </a:lnTo>
                  <a:lnTo>
                    <a:pt x="3290" y="246"/>
                  </a:lnTo>
                  <a:lnTo>
                    <a:pt x="3288" y="255"/>
                  </a:lnTo>
                  <a:lnTo>
                    <a:pt x="3280" y="257"/>
                  </a:lnTo>
                  <a:lnTo>
                    <a:pt x="3273" y="257"/>
                  </a:lnTo>
                  <a:lnTo>
                    <a:pt x="3272" y="252"/>
                  </a:lnTo>
                  <a:lnTo>
                    <a:pt x="3268" y="250"/>
                  </a:lnTo>
                  <a:lnTo>
                    <a:pt x="3258" y="252"/>
                  </a:lnTo>
                  <a:lnTo>
                    <a:pt x="3247" y="255"/>
                  </a:lnTo>
                  <a:lnTo>
                    <a:pt x="3237" y="260"/>
                  </a:lnTo>
                  <a:lnTo>
                    <a:pt x="3228" y="265"/>
                  </a:lnTo>
                  <a:lnTo>
                    <a:pt x="3232" y="272"/>
                  </a:lnTo>
                  <a:lnTo>
                    <a:pt x="3235" y="277"/>
                  </a:lnTo>
                  <a:lnTo>
                    <a:pt x="3237" y="280"/>
                  </a:lnTo>
                  <a:lnTo>
                    <a:pt x="3240" y="283"/>
                  </a:lnTo>
                  <a:lnTo>
                    <a:pt x="3248" y="287"/>
                  </a:lnTo>
                  <a:lnTo>
                    <a:pt x="3260" y="292"/>
                  </a:lnTo>
                  <a:lnTo>
                    <a:pt x="3262" y="300"/>
                  </a:lnTo>
                  <a:lnTo>
                    <a:pt x="3263" y="308"/>
                  </a:lnTo>
                  <a:lnTo>
                    <a:pt x="3268" y="310"/>
                  </a:lnTo>
                  <a:lnTo>
                    <a:pt x="3272" y="312"/>
                  </a:lnTo>
                  <a:lnTo>
                    <a:pt x="3275" y="327"/>
                  </a:lnTo>
                  <a:lnTo>
                    <a:pt x="3275" y="342"/>
                  </a:lnTo>
                  <a:lnTo>
                    <a:pt x="3275" y="355"/>
                  </a:lnTo>
                  <a:lnTo>
                    <a:pt x="3277" y="369"/>
                  </a:lnTo>
                  <a:lnTo>
                    <a:pt x="3270" y="369"/>
                  </a:lnTo>
                  <a:lnTo>
                    <a:pt x="3265" y="369"/>
                  </a:lnTo>
                  <a:lnTo>
                    <a:pt x="3247" y="355"/>
                  </a:lnTo>
                  <a:lnTo>
                    <a:pt x="3226" y="339"/>
                  </a:lnTo>
                  <a:lnTo>
                    <a:pt x="3208" y="324"/>
                  </a:lnTo>
                  <a:lnTo>
                    <a:pt x="3193" y="305"/>
                  </a:lnTo>
                  <a:lnTo>
                    <a:pt x="3195" y="295"/>
                  </a:lnTo>
                  <a:lnTo>
                    <a:pt x="3196" y="285"/>
                  </a:lnTo>
                  <a:lnTo>
                    <a:pt x="3200" y="275"/>
                  </a:lnTo>
                  <a:lnTo>
                    <a:pt x="3205" y="265"/>
                  </a:lnTo>
                  <a:lnTo>
                    <a:pt x="3206" y="255"/>
                  </a:lnTo>
                  <a:lnTo>
                    <a:pt x="3208" y="246"/>
                  </a:lnTo>
                  <a:lnTo>
                    <a:pt x="3208" y="238"/>
                  </a:lnTo>
                  <a:lnTo>
                    <a:pt x="3205" y="228"/>
                  </a:lnTo>
                  <a:lnTo>
                    <a:pt x="3200" y="228"/>
                  </a:lnTo>
                  <a:lnTo>
                    <a:pt x="3193" y="228"/>
                  </a:lnTo>
                  <a:lnTo>
                    <a:pt x="3191" y="236"/>
                  </a:lnTo>
                  <a:lnTo>
                    <a:pt x="3191" y="243"/>
                  </a:lnTo>
                  <a:lnTo>
                    <a:pt x="3190" y="243"/>
                  </a:lnTo>
                  <a:lnTo>
                    <a:pt x="3186" y="245"/>
                  </a:lnTo>
                  <a:lnTo>
                    <a:pt x="3181" y="245"/>
                  </a:lnTo>
                  <a:lnTo>
                    <a:pt x="3176" y="246"/>
                  </a:lnTo>
                  <a:lnTo>
                    <a:pt x="3171" y="240"/>
                  </a:lnTo>
                  <a:lnTo>
                    <a:pt x="3166" y="235"/>
                  </a:lnTo>
                  <a:lnTo>
                    <a:pt x="3154" y="235"/>
                  </a:lnTo>
                  <a:lnTo>
                    <a:pt x="3146" y="238"/>
                  </a:lnTo>
                  <a:lnTo>
                    <a:pt x="3143" y="240"/>
                  </a:lnTo>
                  <a:lnTo>
                    <a:pt x="3139" y="243"/>
                  </a:lnTo>
                  <a:lnTo>
                    <a:pt x="3139" y="252"/>
                  </a:lnTo>
                  <a:lnTo>
                    <a:pt x="3139" y="258"/>
                  </a:lnTo>
                  <a:lnTo>
                    <a:pt x="3143" y="262"/>
                  </a:lnTo>
                  <a:lnTo>
                    <a:pt x="3148" y="263"/>
                  </a:lnTo>
                  <a:lnTo>
                    <a:pt x="3146" y="265"/>
                  </a:lnTo>
                  <a:lnTo>
                    <a:pt x="3146" y="267"/>
                  </a:lnTo>
                  <a:lnTo>
                    <a:pt x="3119" y="268"/>
                  </a:lnTo>
                  <a:lnTo>
                    <a:pt x="3089" y="267"/>
                  </a:lnTo>
                  <a:lnTo>
                    <a:pt x="3074" y="267"/>
                  </a:lnTo>
                  <a:lnTo>
                    <a:pt x="3059" y="268"/>
                  </a:lnTo>
                  <a:lnTo>
                    <a:pt x="3044" y="270"/>
                  </a:lnTo>
                  <a:lnTo>
                    <a:pt x="3031" y="273"/>
                  </a:lnTo>
                  <a:lnTo>
                    <a:pt x="3027" y="287"/>
                  </a:lnTo>
                  <a:lnTo>
                    <a:pt x="3022" y="300"/>
                  </a:lnTo>
                  <a:lnTo>
                    <a:pt x="3017" y="313"/>
                  </a:lnTo>
                  <a:lnTo>
                    <a:pt x="3011" y="327"/>
                  </a:lnTo>
                  <a:lnTo>
                    <a:pt x="3029" y="334"/>
                  </a:lnTo>
                  <a:lnTo>
                    <a:pt x="3044" y="339"/>
                  </a:lnTo>
                  <a:lnTo>
                    <a:pt x="3054" y="335"/>
                  </a:lnTo>
                  <a:lnTo>
                    <a:pt x="3069" y="332"/>
                  </a:lnTo>
                  <a:lnTo>
                    <a:pt x="3074" y="339"/>
                  </a:lnTo>
                  <a:lnTo>
                    <a:pt x="3081" y="345"/>
                  </a:lnTo>
                  <a:lnTo>
                    <a:pt x="3088" y="350"/>
                  </a:lnTo>
                  <a:lnTo>
                    <a:pt x="3096" y="354"/>
                  </a:lnTo>
                  <a:lnTo>
                    <a:pt x="3094" y="342"/>
                  </a:lnTo>
                  <a:lnTo>
                    <a:pt x="3093" y="332"/>
                  </a:lnTo>
                  <a:lnTo>
                    <a:pt x="3108" y="344"/>
                  </a:lnTo>
                  <a:lnTo>
                    <a:pt x="3129" y="365"/>
                  </a:lnTo>
                  <a:lnTo>
                    <a:pt x="3151" y="387"/>
                  </a:lnTo>
                  <a:lnTo>
                    <a:pt x="3165" y="402"/>
                  </a:lnTo>
                  <a:lnTo>
                    <a:pt x="3154" y="399"/>
                  </a:lnTo>
                  <a:lnTo>
                    <a:pt x="3146" y="397"/>
                  </a:lnTo>
                  <a:lnTo>
                    <a:pt x="3146" y="397"/>
                  </a:lnTo>
                  <a:lnTo>
                    <a:pt x="3146" y="399"/>
                  </a:lnTo>
                  <a:lnTo>
                    <a:pt x="3161" y="416"/>
                  </a:lnTo>
                  <a:lnTo>
                    <a:pt x="3175" y="434"/>
                  </a:lnTo>
                  <a:lnTo>
                    <a:pt x="3173" y="436"/>
                  </a:lnTo>
                  <a:lnTo>
                    <a:pt x="3173" y="436"/>
                  </a:lnTo>
                  <a:lnTo>
                    <a:pt x="3165" y="436"/>
                  </a:lnTo>
                  <a:lnTo>
                    <a:pt x="3156" y="434"/>
                  </a:lnTo>
                  <a:lnTo>
                    <a:pt x="3153" y="426"/>
                  </a:lnTo>
                  <a:lnTo>
                    <a:pt x="3148" y="416"/>
                  </a:lnTo>
                  <a:lnTo>
                    <a:pt x="3141" y="402"/>
                  </a:lnTo>
                  <a:lnTo>
                    <a:pt x="3133" y="390"/>
                  </a:lnTo>
                  <a:lnTo>
                    <a:pt x="3124" y="379"/>
                  </a:lnTo>
                  <a:lnTo>
                    <a:pt x="3116" y="369"/>
                  </a:lnTo>
                  <a:lnTo>
                    <a:pt x="3108" y="360"/>
                  </a:lnTo>
                  <a:lnTo>
                    <a:pt x="3101" y="355"/>
                  </a:lnTo>
                  <a:lnTo>
                    <a:pt x="3101" y="359"/>
                  </a:lnTo>
                  <a:lnTo>
                    <a:pt x="3101" y="360"/>
                  </a:lnTo>
                  <a:lnTo>
                    <a:pt x="3111" y="385"/>
                  </a:lnTo>
                  <a:lnTo>
                    <a:pt x="3116" y="406"/>
                  </a:lnTo>
                  <a:lnTo>
                    <a:pt x="3118" y="417"/>
                  </a:lnTo>
                  <a:lnTo>
                    <a:pt x="3118" y="427"/>
                  </a:lnTo>
                  <a:lnTo>
                    <a:pt x="3114" y="442"/>
                  </a:lnTo>
                  <a:lnTo>
                    <a:pt x="3109" y="457"/>
                  </a:lnTo>
                  <a:lnTo>
                    <a:pt x="3108" y="466"/>
                  </a:lnTo>
                  <a:lnTo>
                    <a:pt x="3108" y="471"/>
                  </a:lnTo>
                  <a:lnTo>
                    <a:pt x="3108" y="474"/>
                  </a:lnTo>
                  <a:lnTo>
                    <a:pt x="3103" y="479"/>
                  </a:lnTo>
                  <a:lnTo>
                    <a:pt x="3096" y="483"/>
                  </a:lnTo>
                  <a:lnTo>
                    <a:pt x="3089" y="483"/>
                  </a:lnTo>
                  <a:lnTo>
                    <a:pt x="3081" y="481"/>
                  </a:lnTo>
                  <a:lnTo>
                    <a:pt x="3071" y="481"/>
                  </a:lnTo>
                  <a:lnTo>
                    <a:pt x="3066" y="484"/>
                  </a:lnTo>
                  <a:lnTo>
                    <a:pt x="3062" y="489"/>
                  </a:lnTo>
                  <a:lnTo>
                    <a:pt x="3066" y="499"/>
                  </a:lnTo>
                  <a:lnTo>
                    <a:pt x="3071" y="508"/>
                  </a:lnTo>
                  <a:lnTo>
                    <a:pt x="3066" y="514"/>
                  </a:lnTo>
                  <a:lnTo>
                    <a:pt x="3057" y="519"/>
                  </a:lnTo>
                  <a:lnTo>
                    <a:pt x="3057" y="526"/>
                  </a:lnTo>
                  <a:lnTo>
                    <a:pt x="3057" y="531"/>
                  </a:lnTo>
                  <a:lnTo>
                    <a:pt x="3064" y="534"/>
                  </a:lnTo>
                  <a:lnTo>
                    <a:pt x="3071" y="538"/>
                  </a:lnTo>
                  <a:lnTo>
                    <a:pt x="3077" y="543"/>
                  </a:lnTo>
                  <a:lnTo>
                    <a:pt x="3083" y="550"/>
                  </a:lnTo>
                  <a:lnTo>
                    <a:pt x="3088" y="555"/>
                  </a:lnTo>
                  <a:lnTo>
                    <a:pt x="3093" y="561"/>
                  </a:lnTo>
                  <a:lnTo>
                    <a:pt x="3096" y="570"/>
                  </a:lnTo>
                  <a:lnTo>
                    <a:pt x="3098" y="576"/>
                  </a:lnTo>
                  <a:lnTo>
                    <a:pt x="3088" y="586"/>
                  </a:lnTo>
                  <a:lnTo>
                    <a:pt x="3077" y="596"/>
                  </a:lnTo>
                  <a:lnTo>
                    <a:pt x="3072" y="596"/>
                  </a:lnTo>
                  <a:lnTo>
                    <a:pt x="3067" y="593"/>
                  </a:lnTo>
                  <a:lnTo>
                    <a:pt x="3067" y="580"/>
                  </a:lnTo>
                  <a:lnTo>
                    <a:pt x="3066" y="568"/>
                  </a:lnTo>
                  <a:lnTo>
                    <a:pt x="3064" y="563"/>
                  </a:lnTo>
                  <a:lnTo>
                    <a:pt x="3062" y="560"/>
                  </a:lnTo>
                  <a:lnTo>
                    <a:pt x="3059" y="556"/>
                  </a:lnTo>
                  <a:lnTo>
                    <a:pt x="3056" y="553"/>
                  </a:lnTo>
                  <a:lnTo>
                    <a:pt x="3044" y="550"/>
                  </a:lnTo>
                  <a:lnTo>
                    <a:pt x="3032" y="546"/>
                  </a:lnTo>
                  <a:lnTo>
                    <a:pt x="3034" y="536"/>
                  </a:lnTo>
                  <a:lnTo>
                    <a:pt x="3034" y="531"/>
                  </a:lnTo>
                  <a:lnTo>
                    <a:pt x="3032" y="528"/>
                  </a:lnTo>
                  <a:lnTo>
                    <a:pt x="3027" y="523"/>
                  </a:lnTo>
                  <a:lnTo>
                    <a:pt x="3017" y="523"/>
                  </a:lnTo>
                  <a:lnTo>
                    <a:pt x="3007" y="526"/>
                  </a:lnTo>
                  <a:lnTo>
                    <a:pt x="2999" y="529"/>
                  </a:lnTo>
                  <a:lnTo>
                    <a:pt x="2990" y="533"/>
                  </a:lnTo>
                  <a:lnTo>
                    <a:pt x="2990" y="521"/>
                  </a:lnTo>
                  <a:lnTo>
                    <a:pt x="2987" y="511"/>
                  </a:lnTo>
                  <a:lnTo>
                    <a:pt x="2980" y="511"/>
                  </a:lnTo>
                  <a:lnTo>
                    <a:pt x="2974" y="509"/>
                  </a:lnTo>
                  <a:lnTo>
                    <a:pt x="2969" y="518"/>
                  </a:lnTo>
                  <a:lnTo>
                    <a:pt x="2965" y="523"/>
                  </a:lnTo>
                  <a:lnTo>
                    <a:pt x="2959" y="528"/>
                  </a:lnTo>
                  <a:lnTo>
                    <a:pt x="2952" y="531"/>
                  </a:lnTo>
                  <a:lnTo>
                    <a:pt x="2952" y="538"/>
                  </a:lnTo>
                  <a:lnTo>
                    <a:pt x="2952" y="545"/>
                  </a:lnTo>
                  <a:lnTo>
                    <a:pt x="2970" y="551"/>
                  </a:lnTo>
                  <a:lnTo>
                    <a:pt x="2985" y="556"/>
                  </a:lnTo>
                  <a:lnTo>
                    <a:pt x="2987" y="555"/>
                  </a:lnTo>
                  <a:lnTo>
                    <a:pt x="2990" y="551"/>
                  </a:lnTo>
                  <a:lnTo>
                    <a:pt x="2994" y="551"/>
                  </a:lnTo>
                  <a:lnTo>
                    <a:pt x="2999" y="551"/>
                  </a:lnTo>
                  <a:lnTo>
                    <a:pt x="3005" y="553"/>
                  </a:lnTo>
                  <a:lnTo>
                    <a:pt x="3012" y="556"/>
                  </a:lnTo>
                  <a:lnTo>
                    <a:pt x="3005" y="563"/>
                  </a:lnTo>
                  <a:lnTo>
                    <a:pt x="2999" y="568"/>
                  </a:lnTo>
                  <a:lnTo>
                    <a:pt x="2995" y="571"/>
                  </a:lnTo>
                  <a:lnTo>
                    <a:pt x="2994" y="575"/>
                  </a:lnTo>
                  <a:lnTo>
                    <a:pt x="2992" y="580"/>
                  </a:lnTo>
                  <a:lnTo>
                    <a:pt x="2990" y="585"/>
                  </a:lnTo>
                  <a:lnTo>
                    <a:pt x="2999" y="600"/>
                  </a:lnTo>
                  <a:lnTo>
                    <a:pt x="3009" y="610"/>
                  </a:lnTo>
                  <a:lnTo>
                    <a:pt x="3021" y="618"/>
                  </a:lnTo>
                  <a:lnTo>
                    <a:pt x="3031" y="630"/>
                  </a:lnTo>
                  <a:lnTo>
                    <a:pt x="3029" y="632"/>
                  </a:lnTo>
                  <a:lnTo>
                    <a:pt x="3027" y="632"/>
                  </a:lnTo>
                  <a:lnTo>
                    <a:pt x="3027" y="633"/>
                  </a:lnTo>
                  <a:lnTo>
                    <a:pt x="3027" y="635"/>
                  </a:lnTo>
                  <a:lnTo>
                    <a:pt x="3031" y="638"/>
                  </a:lnTo>
                  <a:lnTo>
                    <a:pt x="3036" y="640"/>
                  </a:lnTo>
                  <a:lnTo>
                    <a:pt x="3029" y="647"/>
                  </a:lnTo>
                  <a:lnTo>
                    <a:pt x="3024" y="653"/>
                  </a:lnTo>
                  <a:lnTo>
                    <a:pt x="3026" y="653"/>
                  </a:lnTo>
                  <a:lnTo>
                    <a:pt x="3027" y="653"/>
                  </a:lnTo>
                  <a:lnTo>
                    <a:pt x="3036" y="655"/>
                  </a:lnTo>
                  <a:lnTo>
                    <a:pt x="3042" y="658"/>
                  </a:lnTo>
                  <a:lnTo>
                    <a:pt x="3042" y="667"/>
                  </a:lnTo>
                  <a:lnTo>
                    <a:pt x="3041" y="673"/>
                  </a:lnTo>
                  <a:lnTo>
                    <a:pt x="3036" y="678"/>
                  </a:lnTo>
                  <a:lnTo>
                    <a:pt x="3032" y="683"/>
                  </a:lnTo>
                  <a:lnTo>
                    <a:pt x="3024" y="707"/>
                  </a:lnTo>
                  <a:lnTo>
                    <a:pt x="3016" y="729"/>
                  </a:lnTo>
                  <a:lnTo>
                    <a:pt x="3011" y="737"/>
                  </a:lnTo>
                  <a:lnTo>
                    <a:pt x="3004" y="745"/>
                  </a:lnTo>
                  <a:lnTo>
                    <a:pt x="2995" y="752"/>
                  </a:lnTo>
                  <a:lnTo>
                    <a:pt x="2984" y="757"/>
                  </a:lnTo>
                  <a:lnTo>
                    <a:pt x="2970" y="755"/>
                  </a:lnTo>
                  <a:lnTo>
                    <a:pt x="2960" y="755"/>
                  </a:lnTo>
                  <a:lnTo>
                    <a:pt x="2960" y="759"/>
                  </a:lnTo>
                  <a:lnTo>
                    <a:pt x="2960" y="762"/>
                  </a:lnTo>
                  <a:lnTo>
                    <a:pt x="2950" y="767"/>
                  </a:lnTo>
                  <a:lnTo>
                    <a:pt x="2942" y="771"/>
                  </a:lnTo>
                  <a:lnTo>
                    <a:pt x="2935" y="777"/>
                  </a:lnTo>
                  <a:lnTo>
                    <a:pt x="2928" y="784"/>
                  </a:lnTo>
                  <a:lnTo>
                    <a:pt x="2925" y="779"/>
                  </a:lnTo>
                  <a:lnTo>
                    <a:pt x="2922" y="772"/>
                  </a:lnTo>
                  <a:lnTo>
                    <a:pt x="2920" y="771"/>
                  </a:lnTo>
                  <a:lnTo>
                    <a:pt x="2915" y="769"/>
                  </a:lnTo>
                  <a:lnTo>
                    <a:pt x="2910" y="767"/>
                  </a:lnTo>
                  <a:lnTo>
                    <a:pt x="2903" y="766"/>
                  </a:lnTo>
                  <a:lnTo>
                    <a:pt x="2893" y="774"/>
                  </a:lnTo>
                  <a:lnTo>
                    <a:pt x="2887" y="786"/>
                  </a:lnTo>
                  <a:lnTo>
                    <a:pt x="2883" y="791"/>
                  </a:lnTo>
                  <a:lnTo>
                    <a:pt x="2882" y="797"/>
                  </a:lnTo>
                  <a:lnTo>
                    <a:pt x="2880" y="806"/>
                  </a:lnTo>
                  <a:lnTo>
                    <a:pt x="2880" y="816"/>
                  </a:lnTo>
                  <a:lnTo>
                    <a:pt x="2893" y="827"/>
                  </a:lnTo>
                  <a:lnTo>
                    <a:pt x="2908" y="839"/>
                  </a:lnTo>
                  <a:lnTo>
                    <a:pt x="2920" y="853"/>
                  </a:lnTo>
                  <a:lnTo>
                    <a:pt x="2930" y="866"/>
                  </a:lnTo>
                  <a:lnTo>
                    <a:pt x="2934" y="886"/>
                  </a:lnTo>
                  <a:lnTo>
                    <a:pt x="2935" y="906"/>
                  </a:lnTo>
                  <a:lnTo>
                    <a:pt x="2917" y="925"/>
                  </a:lnTo>
                  <a:lnTo>
                    <a:pt x="2897" y="945"/>
                  </a:lnTo>
                  <a:lnTo>
                    <a:pt x="2888" y="945"/>
                  </a:lnTo>
                  <a:lnTo>
                    <a:pt x="2883" y="941"/>
                  </a:lnTo>
                  <a:lnTo>
                    <a:pt x="2885" y="935"/>
                  </a:lnTo>
                  <a:lnTo>
                    <a:pt x="2888" y="930"/>
                  </a:lnTo>
                  <a:lnTo>
                    <a:pt x="2887" y="928"/>
                  </a:lnTo>
                  <a:lnTo>
                    <a:pt x="2885" y="928"/>
                  </a:lnTo>
                  <a:lnTo>
                    <a:pt x="2875" y="921"/>
                  </a:lnTo>
                  <a:lnTo>
                    <a:pt x="2862" y="916"/>
                  </a:lnTo>
                  <a:lnTo>
                    <a:pt x="2860" y="908"/>
                  </a:lnTo>
                  <a:lnTo>
                    <a:pt x="2856" y="898"/>
                  </a:lnTo>
                  <a:lnTo>
                    <a:pt x="2843" y="888"/>
                  </a:lnTo>
                  <a:lnTo>
                    <a:pt x="2828" y="879"/>
                  </a:lnTo>
                  <a:lnTo>
                    <a:pt x="2826" y="879"/>
                  </a:lnTo>
                  <a:lnTo>
                    <a:pt x="2825" y="881"/>
                  </a:lnTo>
                  <a:lnTo>
                    <a:pt x="2823" y="884"/>
                  </a:lnTo>
                  <a:lnTo>
                    <a:pt x="2821" y="886"/>
                  </a:lnTo>
                  <a:lnTo>
                    <a:pt x="2820" y="911"/>
                  </a:lnTo>
                  <a:lnTo>
                    <a:pt x="2818" y="936"/>
                  </a:lnTo>
                  <a:lnTo>
                    <a:pt x="2823" y="940"/>
                  </a:lnTo>
                  <a:lnTo>
                    <a:pt x="2828" y="943"/>
                  </a:lnTo>
                  <a:lnTo>
                    <a:pt x="2830" y="953"/>
                  </a:lnTo>
                  <a:lnTo>
                    <a:pt x="2831" y="963"/>
                  </a:lnTo>
                  <a:lnTo>
                    <a:pt x="2836" y="963"/>
                  </a:lnTo>
                  <a:lnTo>
                    <a:pt x="2841" y="963"/>
                  </a:lnTo>
                  <a:lnTo>
                    <a:pt x="2848" y="968"/>
                  </a:lnTo>
                  <a:lnTo>
                    <a:pt x="2855" y="975"/>
                  </a:lnTo>
                  <a:lnTo>
                    <a:pt x="2860" y="980"/>
                  </a:lnTo>
                  <a:lnTo>
                    <a:pt x="2863" y="987"/>
                  </a:lnTo>
                  <a:lnTo>
                    <a:pt x="2867" y="993"/>
                  </a:lnTo>
                  <a:lnTo>
                    <a:pt x="2868" y="1002"/>
                  </a:lnTo>
                  <a:lnTo>
                    <a:pt x="2868" y="1012"/>
                  </a:lnTo>
                  <a:lnTo>
                    <a:pt x="2870" y="1022"/>
                  </a:lnTo>
                  <a:lnTo>
                    <a:pt x="2875" y="1020"/>
                  </a:lnTo>
                  <a:lnTo>
                    <a:pt x="2878" y="1018"/>
                  </a:lnTo>
                  <a:lnTo>
                    <a:pt x="2878" y="1023"/>
                  </a:lnTo>
                  <a:lnTo>
                    <a:pt x="2878" y="1027"/>
                  </a:lnTo>
                  <a:lnTo>
                    <a:pt x="2875" y="1035"/>
                  </a:lnTo>
                  <a:lnTo>
                    <a:pt x="2873" y="1043"/>
                  </a:lnTo>
                  <a:lnTo>
                    <a:pt x="2862" y="1035"/>
                  </a:lnTo>
                  <a:lnTo>
                    <a:pt x="2853" y="1023"/>
                  </a:lnTo>
                  <a:lnTo>
                    <a:pt x="2845" y="1012"/>
                  </a:lnTo>
                  <a:lnTo>
                    <a:pt x="2836" y="1000"/>
                  </a:lnTo>
                  <a:lnTo>
                    <a:pt x="2823" y="973"/>
                  </a:lnTo>
                  <a:lnTo>
                    <a:pt x="2806" y="950"/>
                  </a:lnTo>
                  <a:lnTo>
                    <a:pt x="2808" y="921"/>
                  </a:lnTo>
                  <a:lnTo>
                    <a:pt x="2808" y="898"/>
                  </a:lnTo>
                  <a:lnTo>
                    <a:pt x="2806" y="886"/>
                  </a:lnTo>
                  <a:lnTo>
                    <a:pt x="2803" y="876"/>
                  </a:lnTo>
                  <a:lnTo>
                    <a:pt x="2798" y="868"/>
                  </a:lnTo>
                  <a:lnTo>
                    <a:pt x="2790" y="859"/>
                  </a:lnTo>
                  <a:lnTo>
                    <a:pt x="2785" y="859"/>
                  </a:lnTo>
                  <a:lnTo>
                    <a:pt x="2783" y="861"/>
                  </a:lnTo>
                  <a:lnTo>
                    <a:pt x="2779" y="861"/>
                  </a:lnTo>
                  <a:lnTo>
                    <a:pt x="2774" y="859"/>
                  </a:lnTo>
                  <a:lnTo>
                    <a:pt x="2774" y="858"/>
                  </a:lnTo>
                  <a:lnTo>
                    <a:pt x="2774" y="858"/>
                  </a:lnTo>
                  <a:lnTo>
                    <a:pt x="2776" y="854"/>
                  </a:lnTo>
                  <a:lnTo>
                    <a:pt x="2776" y="851"/>
                  </a:lnTo>
                  <a:lnTo>
                    <a:pt x="2781" y="851"/>
                  </a:lnTo>
                  <a:lnTo>
                    <a:pt x="2785" y="853"/>
                  </a:lnTo>
                  <a:lnTo>
                    <a:pt x="2786" y="851"/>
                  </a:lnTo>
                  <a:lnTo>
                    <a:pt x="2790" y="848"/>
                  </a:lnTo>
                  <a:lnTo>
                    <a:pt x="2790" y="846"/>
                  </a:lnTo>
                  <a:lnTo>
                    <a:pt x="2791" y="843"/>
                  </a:lnTo>
                  <a:lnTo>
                    <a:pt x="2786" y="836"/>
                  </a:lnTo>
                  <a:lnTo>
                    <a:pt x="2781" y="827"/>
                  </a:lnTo>
                  <a:lnTo>
                    <a:pt x="2773" y="838"/>
                  </a:lnTo>
                  <a:lnTo>
                    <a:pt x="2763" y="848"/>
                  </a:lnTo>
                  <a:lnTo>
                    <a:pt x="2756" y="844"/>
                  </a:lnTo>
                  <a:lnTo>
                    <a:pt x="2749" y="841"/>
                  </a:lnTo>
                  <a:lnTo>
                    <a:pt x="2751" y="831"/>
                  </a:lnTo>
                  <a:lnTo>
                    <a:pt x="2749" y="821"/>
                  </a:lnTo>
                  <a:lnTo>
                    <a:pt x="2748" y="814"/>
                  </a:lnTo>
                  <a:lnTo>
                    <a:pt x="2743" y="807"/>
                  </a:lnTo>
                  <a:lnTo>
                    <a:pt x="2733" y="797"/>
                  </a:lnTo>
                  <a:lnTo>
                    <a:pt x="2723" y="784"/>
                  </a:lnTo>
                  <a:lnTo>
                    <a:pt x="2718" y="774"/>
                  </a:lnTo>
                  <a:lnTo>
                    <a:pt x="2714" y="766"/>
                  </a:lnTo>
                  <a:lnTo>
                    <a:pt x="2714" y="761"/>
                  </a:lnTo>
                  <a:lnTo>
                    <a:pt x="2711" y="757"/>
                  </a:lnTo>
                  <a:lnTo>
                    <a:pt x="2709" y="754"/>
                  </a:lnTo>
                  <a:lnTo>
                    <a:pt x="2704" y="750"/>
                  </a:lnTo>
                  <a:lnTo>
                    <a:pt x="2701" y="754"/>
                  </a:lnTo>
                  <a:lnTo>
                    <a:pt x="2697" y="757"/>
                  </a:lnTo>
                  <a:lnTo>
                    <a:pt x="2696" y="752"/>
                  </a:lnTo>
                  <a:lnTo>
                    <a:pt x="2694" y="749"/>
                  </a:lnTo>
                  <a:lnTo>
                    <a:pt x="2692" y="745"/>
                  </a:lnTo>
                  <a:lnTo>
                    <a:pt x="2689" y="742"/>
                  </a:lnTo>
                  <a:lnTo>
                    <a:pt x="2689" y="754"/>
                  </a:lnTo>
                  <a:lnTo>
                    <a:pt x="2686" y="761"/>
                  </a:lnTo>
                  <a:lnTo>
                    <a:pt x="2677" y="762"/>
                  </a:lnTo>
                  <a:lnTo>
                    <a:pt x="2671" y="764"/>
                  </a:lnTo>
                  <a:lnTo>
                    <a:pt x="2664" y="767"/>
                  </a:lnTo>
                  <a:lnTo>
                    <a:pt x="2657" y="771"/>
                  </a:lnTo>
                  <a:lnTo>
                    <a:pt x="2652" y="782"/>
                  </a:lnTo>
                  <a:lnTo>
                    <a:pt x="2649" y="794"/>
                  </a:lnTo>
                  <a:lnTo>
                    <a:pt x="2634" y="807"/>
                  </a:lnTo>
                  <a:lnTo>
                    <a:pt x="2614" y="826"/>
                  </a:lnTo>
                  <a:lnTo>
                    <a:pt x="2604" y="836"/>
                  </a:lnTo>
                  <a:lnTo>
                    <a:pt x="2595" y="844"/>
                  </a:lnTo>
                  <a:lnTo>
                    <a:pt x="2589" y="853"/>
                  </a:lnTo>
                  <a:lnTo>
                    <a:pt x="2585" y="861"/>
                  </a:lnTo>
                  <a:lnTo>
                    <a:pt x="2589" y="873"/>
                  </a:lnTo>
                  <a:lnTo>
                    <a:pt x="2590" y="886"/>
                  </a:lnTo>
                  <a:lnTo>
                    <a:pt x="2589" y="899"/>
                  </a:lnTo>
                  <a:lnTo>
                    <a:pt x="2585" y="913"/>
                  </a:lnTo>
                  <a:lnTo>
                    <a:pt x="2577" y="936"/>
                  </a:lnTo>
                  <a:lnTo>
                    <a:pt x="2570" y="955"/>
                  </a:lnTo>
                  <a:lnTo>
                    <a:pt x="2565" y="953"/>
                  </a:lnTo>
                  <a:lnTo>
                    <a:pt x="2558" y="950"/>
                  </a:lnTo>
                  <a:lnTo>
                    <a:pt x="2553" y="943"/>
                  </a:lnTo>
                  <a:lnTo>
                    <a:pt x="2547" y="936"/>
                  </a:lnTo>
                  <a:lnTo>
                    <a:pt x="2535" y="916"/>
                  </a:lnTo>
                  <a:lnTo>
                    <a:pt x="2525" y="894"/>
                  </a:lnTo>
                  <a:lnTo>
                    <a:pt x="2505" y="848"/>
                  </a:lnTo>
                  <a:lnTo>
                    <a:pt x="2493" y="814"/>
                  </a:lnTo>
                  <a:lnTo>
                    <a:pt x="2492" y="802"/>
                  </a:lnTo>
                  <a:lnTo>
                    <a:pt x="2492" y="787"/>
                  </a:lnTo>
                  <a:lnTo>
                    <a:pt x="2492" y="781"/>
                  </a:lnTo>
                  <a:lnTo>
                    <a:pt x="2490" y="774"/>
                  </a:lnTo>
                  <a:lnTo>
                    <a:pt x="2490" y="767"/>
                  </a:lnTo>
                  <a:lnTo>
                    <a:pt x="2487" y="762"/>
                  </a:lnTo>
                  <a:lnTo>
                    <a:pt x="2483" y="766"/>
                  </a:lnTo>
                  <a:lnTo>
                    <a:pt x="2480" y="767"/>
                  </a:lnTo>
                  <a:lnTo>
                    <a:pt x="2480" y="774"/>
                  </a:lnTo>
                  <a:lnTo>
                    <a:pt x="2478" y="781"/>
                  </a:lnTo>
                  <a:lnTo>
                    <a:pt x="2476" y="781"/>
                  </a:lnTo>
                  <a:lnTo>
                    <a:pt x="2475" y="782"/>
                  </a:lnTo>
                  <a:lnTo>
                    <a:pt x="2470" y="781"/>
                  </a:lnTo>
                  <a:lnTo>
                    <a:pt x="2465" y="781"/>
                  </a:lnTo>
                  <a:lnTo>
                    <a:pt x="2458" y="777"/>
                  </a:lnTo>
                  <a:lnTo>
                    <a:pt x="2453" y="772"/>
                  </a:lnTo>
                  <a:lnTo>
                    <a:pt x="2450" y="767"/>
                  </a:lnTo>
                  <a:lnTo>
                    <a:pt x="2446" y="761"/>
                  </a:lnTo>
                  <a:lnTo>
                    <a:pt x="2455" y="755"/>
                  </a:lnTo>
                  <a:lnTo>
                    <a:pt x="2463" y="750"/>
                  </a:lnTo>
                  <a:lnTo>
                    <a:pt x="2463" y="749"/>
                  </a:lnTo>
                  <a:lnTo>
                    <a:pt x="2463" y="749"/>
                  </a:lnTo>
                  <a:lnTo>
                    <a:pt x="2451" y="750"/>
                  </a:lnTo>
                  <a:lnTo>
                    <a:pt x="2440" y="750"/>
                  </a:lnTo>
                  <a:lnTo>
                    <a:pt x="2435" y="742"/>
                  </a:lnTo>
                  <a:lnTo>
                    <a:pt x="2426" y="732"/>
                  </a:lnTo>
                  <a:lnTo>
                    <a:pt x="2416" y="724"/>
                  </a:lnTo>
                  <a:lnTo>
                    <a:pt x="2408" y="717"/>
                  </a:lnTo>
                  <a:lnTo>
                    <a:pt x="2374" y="720"/>
                  </a:lnTo>
                  <a:lnTo>
                    <a:pt x="2341" y="724"/>
                  </a:lnTo>
                  <a:lnTo>
                    <a:pt x="2332" y="722"/>
                  </a:lnTo>
                  <a:lnTo>
                    <a:pt x="2326" y="722"/>
                  </a:lnTo>
                  <a:lnTo>
                    <a:pt x="2319" y="720"/>
                  </a:lnTo>
                  <a:lnTo>
                    <a:pt x="2314" y="717"/>
                  </a:lnTo>
                  <a:lnTo>
                    <a:pt x="2307" y="714"/>
                  </a:lnTo>
                  <a:lnTo>
                    <a:pt x="2304" y="709"/>
                  </a:lnTo>
                  <a:lnTo>
                    <a:pt x="2299" y="702"/>
                  </a:lnTo>
                  <a:lnTo>
                    <a:pt x="2296" y="695"/>
                  </a:lnTo>
                  <a:lnTo>
                    <a:pt x="2276" y="695"/>
                  </a:lnTo>
                  <a:lnTo>
                    <a:pt x="2255" y="695"/>
                  </a:lnTo>
                  <a:lnTo>
                    <a:pt x="2247" y="694"/>
                  </a:lnTo>
                  <a:lnTo>
                    <a:pt x="2239" y="689"/>
                  </a:lnTo>
                  <a:lnTo>
                    <a:pt x="2230" y="683"/>
                  </a:lnTo>
                  <a:lnTo>
                    <a:pt x="2224" y="675"/>
                  </a:lnTo>
                  <a:lnTo>
                    <a:pt x="2220" y="667"/>
                  </a:lnTo>
                  <a:lnTo>
                    <a:pt x="2217" y="660"/>
                  </a:lnTo>
                  <a:lnTo>
                    <a:pt x="2214" y="655"/>
                  </a:lnTo>
                  <a:lnTo>
                    <a:pt x="2209" y="650"/>
                  </a:lnTo>
                  <a:lnTo>
                    <a:pt x="2200" y="650"/>
                  </a:lnTo>
                  <a:lnTo>
                    <a:pt x="2194" y="652"/>
                  </a:lnTo>
                  <a:lnTo>
                    <a:pt x="2195" y="662"/>
                  </a:lnTo>
                  <a:lnTo>
                    <a:pt x="2199" y="673"/>
                  </a:lnTo>
                  <a:lnTo>
                    <a:pt x="2205" y="687"/>
                  </a:lnTo>
                  <a:lnTo>
                    <a:pt x="2214" y="699"/>
                  </a:lnTo>
                  <a:lnTo>
                    <a:pt x="2232" y="722"/>
                  </a:lnTo>
                  <a:lnTo>
                    <a:pt x="2245" y="737"/>
                  </a:lnTo>
                  <a:lnTo>
                    <a:pt x="2255" y="737"/>
                  </a:lnTo>
                  <a:lnTo>
                    <a:pt x="2262" y="737"/>
                  </a:lnTo>
                  <a:lnTo>
                    <a:pt x="2267" y="735"/>
                  </a:lnTo>
                  <a:lnTo>
                    <a:pt x="2272" y="732"/>
                  </a:lnTo>
                  <a:lnTo>
                    <a:pt x="2274" y="724"/>
                  </a:lnTo>
                  <a:lnTo>
                    <a:pt x="2277" y="715"/>
                  </a:lnTo>
                  <a:lnTo>
                    <a:pt x="2281" y="707"/>
                  </a:lnTo>
                  <a:lnTo>
                    <a:pt x="2287" y="704"/>
                  </a:lnTo>
                  <a:lnTo>
                    <a:pt x="2289" y="712"/>
                  </a:lnTo>
                  <a:lnTo>
                    <a:pt x="2294" y="720"/>
                  </a:lnTo>
                  <a:lnTo>
                    <a:pt x="2299" y="727"/>
                  </a:lnTo>
                  <a:lnTo>
                    <a:pt x="2306" y="734"/>
                  </a:lnTo>
                  <a:lnTo>
                    <a:pt x="2321" y="744"/>
                  </a:lnTo>
                  <a:lnTo>
                    <a:pt x="2334" y="755"/>
                  </a:lnTo>
                  <a:lnTo>
                    <a:pt x="2332" y="764"/>
                  </a:lnTo>
                  <a:lnTo>
                    <a:pt x="2329" y="774"/>
                  </a:lnTo>
                  <a:lnTo>
                    <a:pt x="2322" y="786"/>
                  </a:lnTo>
                  <a:lnTo>
                    <a:pt x="2316" y="797"/>
                  </a:lnTo>
                  <a:lnTo>
                    <a:pt x="2301" y="817"/>
                  </a:lnTo>
                  <a:lnTo>
                    <a:pt x="2291" y="831"/>
                  </a:lnTo>
                  <a:lnTo>
                    <a:pt x="2267" y="841"/>
                  </a:lnTo>
                  <a:lnTo>
                    <a:pt x="2247" y="851"/>
                  </a:lnTo>
                  <a:lnTo>
                    <a:pt x="2227" y="863"/>
                  </a:lnTo>
                  <a:lnTo>
                    <a:pt x="2207" y="874"/>
                  </a:lnTo>
                  <a:lnTo>
                    <a:pt x="2199" y="878"/>
                  </a:lnTo>
                  <a:lnTo>
                    <a:pt x="2192" y="879"/>
                  </a:lnTo>
                  <a:lnTo>
                    <a:pt x="2189" y="879"/>
                  </a:lnTo>
                  <a:lnTo>
                    <a:pt x="2183" y="879"/>
                  </a:lnTo>
                  <a:lnTo>
                    <a:pt x="2180" y="879"/>
                  </a:lnTo>
                  <a:lnTo>
                    <a:pt x="2177" y="881"/>
                  </a:lnTo>
                  <a:lnTo>
                    <a:pt x="2170" y="886"/>
                  </a:lnTo>
                  <a:lnTo>
                    <a:pt x="2163" y="896"/>
                  </a:lnTo>
                  <a:lnTo>
                    <a:pt x="2157" y="894"/>
                  </a:lnTo>
                  <a:lnTo>
                    <a:pt x="2152" y="893"/>
                  </a:lnTo>
                  <a:lnTo>
                    <a:pt x="2150" y="893"/>
                  </a:lnTo>
                  <a:lnTo>
                    <a:pt x="2148" y="893"/>
                  </a:lnTo>
                  <a:lnTo>
                    <a:pt x="2148" y="873"/>
                  </a:lnTo>
                  <a:lnTo>
                    <a:pt x="2145" y="854"/>
                  </a:lnTo>
                  <a:lnTo>
                    <a:pt x="2138" y="838"/>
                  </a:lnTo>
                  <a:lnTo>
                    <a:pt x="2132" y="824"/>
                  </a:lnTo>
                  <a:lnTo>
                    <a:pt x="2113" y="799"/>
                  </a:lnTo>
                  <a:lnTo>
                    <a:pt x="2095" y="774"/>
                  </a:lnTo>
                  <a:lnTo>
                    <a:pt x="2088" y="757"/>
                  </a:lnTo>
                  <a:lnTo>
                    <a:pt x="2085" y="742"/>
                  </a:lnTo>
                  <a:lnTo>
                    <a:pt x="2083" y="734"/>
                  </a:lnTo>
                  <a:lnTo>
                    <a:pt x="2078" y="729"/>
                  </a:lnTo>
                  <a:lnTo>
                    <a:pt x="2071" y="724"/>
                  </a:lnTo>
                  <a:lnTo>
                    <a:pt x="2063" y="720"/>
                  </a:lnTo>
                  <a:lnTo>
                    <a:pt x="2063" y="712"/>
                  </a:lnTo>
                  <a:lnTo>
                    <a:pt x="2061" y="705"/>
                  </a:lnTo>
                  <a:lnTo>
                    <a:pt x="2058" y="699"/>
                  </a:lnTo>
                  <a:lnTo>
                    <a:pt x="2056" y="694"/>
                  </a:lnTo>
                  <a:lnTo>
                    <a:pt x="2048" y="683"/>
                  </a:lnTo>
                  <a:lnTo>
                    <a:pt x="2040" y="675"/>
                  </a:lnTo>
                  <a:lnTo>
                    <a:pt x="2031" y="677"/>
                  </a:lnTo>
                  <a:lnTo>
                    <a:pt x="2021" y="677"/>
                  </a:lnTo>
                  <a:lnTo>
                    <a:pt x="2021" y="670"/>
                  </a:lnTo>
                  <a:lnTo>
                    <a:pt x="2019" y="667"/>
                  </a:lnTo>
                  <a:lnTo>
                    <a:pt x="2016" y="665"/>
                  </a:lnTo>
                  <a:lnTo>
                    <a:pt x="2011" y="663"/>
                  </a:lnTo>
                  <a:lnTo>
                    <a:pt x="2013" y="672"/>
                  </a:lnTo>
                  <a:lnTo>
                    <a:pt x="2018" y="680"/>
                  </a:lnTo>
                  <a:lnTo>
                    <a:pt x="2021" y="687"/>
                  </a:lnTo>
                  <a:lnTo>
                    <a:pt x="2026" y="694"/>
                  </a:lnTo>
                  <a:lnTo>
                    <a:pt x="2036" y="705"/>
                  </a:lnTo>
                  <a:lnTo>
                    <a:pt x="2045" y="717"/>
                  </a:lnTo>
                  <a:lnTo>
                    <a:pt x="2048" y="732"/>
                  </a:lnTo>
                  <a:lnTo>
                    <a:pt x="2050" y="747"/>
                  </a:lnTo>
                  <a:lnTo>
                    <a:pt x="2058" y="752"/>
                  </a:lnTo>
                  <a:lnTo>
                    <a:pt x="2066" y="757"/>
                  </a:lnTo>
                  <a:lnTo>
                    <a:pt x="2071" y="777"/>
                  </a:lnTo>
                  <a:lnTo>
                    <a:pt x="2078" y="799"/>
                  </a:lnTo>
                  <a:lnTo>
                    <a:pt x="2086" y="811"/>
                  </a:lnTo>
                  <a:lnTo>
                    <a:pt x="2093" y="822"/>
                  </a:lnTo>
                  <a:lnTo>
                    <a:pt x="2093" y="831"/>
                  </a:lnTo>
                  <a:lnTo>
                    <a:pt x="2093" y="838"/>
                  </a:lnTo>
                  <a:lnTo>
                    <a:pt x="2103" y="846"/>
                  </a:lnTo>
                  <a:lnTo>
                    <a:pt x="2113" y="854"/>
                  </a:lnTo>
                  <a:lnTo>
                    <a:pt x="2123" y="869"/>
                  </a:lnTo>
                  <a:lnTo>
                    <a:pt x="2135" y="883"/>
                  </a:lnTo>
                  <a:lnTo>
                    <a:pt x="2145" y="898"/>
                  </a:lnTo>
                  <a:lnTo>
                    <a:pt x="2157" y="913"/>
                  </a:lnTo>
                  <a:lnTo>
                    <a:pt x="2157" y="916"/>
                  </a:lnTo>
                  <a:lnTo>
                    <a:pt x="2157" y="918"/>
                  </a:lnTo>
                  <a:lnTo>
                    <a:pt x="2165" y="918"/>
                  </a:lnTo>
                  <a:lnTo>
                    <a:pt x="2172" y="918"/>
                  </a:lnTo>
                  <a:lnTo>
                    <a:pt x="2187" y="915"/>
                  </a:lnTo>
                  <a:lnTo>
                    <a:pt x="2205" y="911"/>
                  </a:lnTo>
                  <a:lnTo>
                    <a:pt x="2224" y="908"/>
                  </a:lnTo>
                  <a:lnTo>
                    <a:pt x="2240" y="905"/>
                  </a:lnTo>
                  <a:lnTo>
                    <a:pt x="2239" y="923"/>
                  </a:lnTo>
                  <a:lnTo>
                    <a:pt x="2235" y="941"/>
                  </a:lnTo>
                  <a:lnTo>
                    <a:pt x="2230" y="956"/>
                  </a:lnTo>
                  <a:lnTo>
                    <a:pt x="2224" y="971"/>
                  </a:lnTo>
                  <a:lnTo>
                    <a:pt x="2217" y="987"/>
                  </a:lnTo>
                  <a:lnTo>
                    <a:pt x="2207" y="1000"/>
                  </a:lnTo>
                  <a:lnTo>
                    <a:pt x="2197" y="1012"/>
                  </a:lnTo>
                  <a:lnTo>
                    <a:pt x="2187" y="1023"/>
                  </a:lnTo>
                  <a:lnTo>
                    <a:pt x="2163" y="1045"/>
                  </a:lnTo>
                  <a:lnTo>
                    <a:pt x="2140" y="1067"/>
                  </a:lnTo>
                  <a:lnTo>
                    <a:pt x="2128" y="1077"/>
                  </a:lnTo>
                  <a:lnTo>
                    <a:pt x="2118" y="1089"/>
                  </a:lnTo>
                  <a:lnTo>
                    <a:pt x="2108" y="1100"/>
                  </a:lnTo>
                  <a:lnTo>
                    <a:pt x="2100" y="1112"/>
                  </a:lnTo>
                  <a:lnTo>
                    <a:pt x="2096" y="1119"/>
                  </a:lnTo>
                  <a:lnTo>
                    <a:pt x="2095" y="1126"/>
                  </a:lnTo>
                  <a:lnTo>
                    <a:pt x="2095" y="1132"/>
                  </a:lnTo>
                  <a:lnTo>
                    <a:pt x="2096" y="1139"/>
                  </a:lnTo>
                  <a:lnTo>
                    <a:pt x="2101" y="1152"/>
                  </a:lnTo>
                  <a:lnTo>
                    <a:pt x="2105" y="1164"/>
                  </a:lnTo>
                  <a:lnTo>
                    <a:pt x="2101" y="1177"/>
                  </a:lnTo>
                  <a:lnTo>
                    <a:pt x="2096" y="1191"/>
                  </a:lnTo>
                  <a:lnTo>
                    <a:pt x="2105" y="1198"/>
                  </a:lnTo>
                  <a:lnTo>
                    <a:pt x="2110" y="1206"/>
                  </a:lnTo>
                  <a:lnTo>
                    <a:pt x="2111" y="1218"/>
                  </a:lnTo>
                  <a:lnTo>
                    <a:pt x="2113" y="1231"/>
                  </a:lnTo>
                  <a:lnTo>
                    <a:pt x="2111" y="1244"/>
                  </a:lnTo>
                  <a:lnTo>
                    <a:pt x="2110" y="1256"/>
                  </a:lnTo>
                  <a:lnTo>
                    <a:pt x="2108" y="1266"/>
                  </a:lnTo>
                  <a:lnTo>
                    <a:pt x="2105" y="1273"/>
                  </a:lnTo>
                  <a:lnTo>
                    <a:pt x="2100" y="1280"/>
                  </a:lnTo>
                  <a:lnTo>
                    <a:pt x="2095" y="1285"/>
                  </a:lnTo>
                  <a:lnTo>
                    <a:pt x="2090" y="1290"/>
                  </a:lnTo>
                  <a:lnTo>
                    <a:pt x="2083" y="1293"/>
                  </a:lnTo>
                  <a:lnTo>
                    <a:pt x="2071" y="1300"/>
                  </a:lnTo>
                  <a:lnTo>
                    <a:pt x="2060" y="1308"/>
                  </a:lnTo>
                  <a:lnTo>
                    <a:pt x="2055" y="1313"/>
                  </a:lnTo>
                  <a:lnTo>
                    <a:pt x="2050" y="1318"/>
                  </a:lnTo>
                  <a:lnTo>
                    <a:pt x="2046" y="1326"/>
                  </a:lnTo>
                  <a:lnTo>
                    <a:pt x="2043" y="1335"/>
                  </a:lnTo>
                  <a:lnTo>
                    <a:pt x="2041" y="1342"/>
                  </a:lnTo>
                  <a:lnTo>
                    <a:pt x="2041" y="1350"/>
                  </a:lnTo>
                  <a:lnTo>
                    <a:pt x="2041" y="1357"/>
                  </a:lnTo>
                  <a:lnTo>
                    <a:pt x="2043" y="1365"/>
                  </a:lnTo>
                  <a:lnTo>
                    <a:pt x="2045" y="1372"/>
                  </a:lnTo>
                  <a:lnTo>
                    <a:pt x="2045" y="1380"/>
                  </a:lnTo>
                  <a:lnTo>
                    <a:pt x="2045" y="1387"/>
                  </a:lnTo>
                  <a:lnTo>
                    <a:pt x="2043" y="1393"/>
                  </a:lnTo>
                  <a:lnTo>
                    <a:pt x="2034" y="1397"/>
                  </a:lnTo>
                  <a:lnTo>
                    <a:pt x="2028" y="1400"/>
                  </a:lnTo>
                  <a:lnTo>
                    <a:pt x="2021" y="1405"/>
                  </a:lnTo>
                  <a:lnTo>
                    <a:pt x="2016" y="1410"/>
                  </a:lnTo>
                  <a:lnTo>
                    <a:pt x="2019" y="1419"/>
                  </a:lnTo>
                  <a:lnTo>
                    <a:pt x="2021" y="1430"/>
                  </a:lnTo>
                  <a:lnTo>
                    <a:pt x="2013" y="1439"/>
                  </a:lnTo>
                  <a:lnTo>
                    <a:pt x="2008" y="1447"/>
                  </a:lnTo>
                  <a:lnTo>
                    <a:pt x="2004" y="1457"/>
                  </a:lnTo>
                  <a:lnTo>
                    <a:pt x="1998" y="1469"/>
                  </a:lnTo>
                  <a:lnTo>
                    <a:pt x="1989" y="1484"/>
                  </a:lnTo>
                  <a:lnTo>
                    <a:pt x="1978" y="1494"/>
                  </a:lnTo>
                  <a:lnTo>
                    <a:pt x="1966" y="1502"/>
                  </a:lnTo>
                  <a:lnTo>
                    <a:pt x="1952" y="1507"/>
                  </a:lnTo>
                  <a:lnTo>
                    <a:pt x="1921" y="1517"/>
                  </a:lnTo>
                  <a:lnTo>
                    <a:pt x="1884" y="1524"/>
                  </a:lnTo>
                  <a:lnTo>
                    <a:pt x="1874" y="1527"/>
                  </a:lnTo>
                  <a:lnTo>
                    <a:pt x="1864" y="1529"/>
                  </a:lnTo>
                  <a:lnTo>
                    <a:pt x="1859" y="1529"/>
                  </a:lnTo>
                  <a:lnTo>
                    <a:pt x="1854" y="1529"/>
                  </a:lnTo>
                  <a:lnTo>
                    <a:pt x="1849" y="1529"/>
                  </a:lnTo>
                  <a:lnTo>
                    <a:pt x="1844" y="1526"/>
                  </a:lnTo>
                  <a:lnTo>
                    <a:pt x="1842" y="1504"/>
                  </a:lnTo>
                  <a:lnTo>
                    <a:pt x="1839" y="1480"/>
                  </a:lnTo>
                  <a:lnTo>
                    <a:pt x="1825" y="1460"/>
                  </a:lnTo>
                  <a:lnTo>
                    <a:pt x="1812" y="1440"/>
                  </a:lnTo>
                  <a:lnTo>
                    <a:pt x="1807" y="1414"/>
                  </a:lnTo>
                  <a:lnTo>
                    <a:pt x="1803" y="1387"/>
                  </a:lnTo>
                  <a:lnTo>
                    <a:pt x="1802" y="1373"/>
                  </a:lnTo>
                  <a:lnTo>
                    <a:pt x="1800" y="1360"/>
                  </a:lnTo>
                  <a:lnTo>
                    <a:pt x="1798" y="1348"/>
                  </a:lnTo>
                  <a:lnTo>
                    <a:pt x="1793" y="1336"/>
                  </a:lnTo>
                  <a:lnTo>
                    <a:pt x="1783" y="1325"/>
                  </a:lnTo>
                  <a:lnTo>
                    <a:pt x="1772" y="1313"/>
                  </a:lnTo>
                  <a:lnTo>
                    <a:pt x="1770" y="1298"/>
                  </a:lnTo>
                  <a:lnTo>
                    <a:pt x="1770" y="1285"/>
                  </a:lnTo>
                  <a:lnTo>
                    <a:pt x="1772" y="1273"/>
                  </a:lnTo>
                  <a:lnTo>
                    <a:pt x="1777" y="1261"/>
                  </a:lnTo>
                  <a:lnTo>
                    <a:pt x="1785" y="1241"/>
                  </a:lnTo>
                  <a:lnTo>
                    <a:pt x="1793" y="1223"/>
                  </a:lnTo>
                  <a:lnTo>
                    <a:pt x="1795" y="1213"/>
                  </a:lnTo>
                  <a:lnTo>
                    <a:pt x="1795" y="1199"/>
                  </a:lnTo>
                  <a:lnTo>
                    <a:pt x="1792" y="1184"/>
                  </a:lnTo>
                  <a:lnTo>
                    <a:pt x="1788" y="1169"/>
                  </a:lnTo>
                  <a:lnTo>
                    <a:pt x="1778" y="1141"/>
                  </a:lnTo>
                  <a:lnTo>
                    <a:pt x="1770" y="1122"/>
                  </a:lnTo>
                  <a:lnTo>
                    <a:pt x="1757" y="1107"/>
                  </a:lnTo>
                  <a:lnTo>
                    <a:pt x="1741" y="1092"/>
                  </a:lnTo>
                  <a:lnTo>
                    <a:pt x="1740" y="1085"/>
                  </a:lnTo>
                  <a:lnTo>
                    <a:pt x="1738" y="1077"/>
                  </a:lnTo>
                  <a:lnTo>
                    <a:pt x="1736" y="1069"/>
                  </a:lnTo>
                  <a:lnTo>
                    <a:pt x="1738" y="1060"/>
                  </a:lnTo>
                  <a:lnTo>
                    <a:pt x="1741" y="1045"/>
                  </a:lnTo>
                  <a:lnTo>
                    <a:pt x="1743" y="1030"/>
                  </a:lnTo>
                  <a:lnTo>
                    <a:pt x="1745" y="1022"/>
                  </a:lnTo>
                  <a:lnTo>
                    <a:pt x="1743" y="1017"/>
                  </a:lnTo>
                  <a:lnTo>
                    <a:pt x="1741" y="1010"/>
                  </a:lnTo>
                  <a:lnTo>
                    <a:pt x="1738" y="1007"/>
                  </a:lnTo>
                  <a:lnTo>
                    <a:pt x="1733" y="1002"/>
                  </a:lnTo>
                  <a:lnTo>
                    <a:pt x="1725" y="998"/>
                  </a:lnTo>
                  <a:lnTo>
                    <a:pt x="1713" y="997"/>
                  </a:lnTo>
                  <a:lnTo>
                    <a:pt x="1700" y="997"/>
                  </a:lnTo>
                  <a:lnTo>
                    <a:pt x="1700" y="990"/>
                  </a:lnTo>
                  <a:lnTo>
                    <a:pt x="1698" y="985"/>
                  </a:lnTo>
                  <a:lnTo>
                    <a:pt x="1686" y="982"/>
                  </a:lnTo>
                  <a:lnTo>
                    <a:pt x="1675" y="980"/>
                  </a:lnTo>
                  <a:lnTo>
                    <a:pt x="1664" y="980"/>
                  </a:lnTo>
                  <a:lnTo>
                    <a:pt x="1656" y="982"/>
                  </a:lnTo>
                  <a:lnTo>
                    <a:pt x="1638" y="987"/>
                  </a:lnTo>
                  <a:lnTo>
                    <a:pt x="1614" y="995"/>
                  </a:lnTo>
                  <a:lnTo>
                    <a:pt x="1601" y="995"/>
                  </a:lnTo>
                  <a:lnTo>
                    <a:pt x="1589" y="993"/>
                  </a:lnTo>
                  <a:lnTo>
                    <a:pt x="1576" y="993"/>
                  </a:lnTo>
                  <a:lnTo>
                    <a:pt x="1562" y="992"/>
                  </a:lnTo>
                  <a:lnTo>
                    <a:pt x="1556" y="995"/>
                  </a:lnTo>
                  <a:lnTo>
                    <a:pt x="1552" y="998"/>
                  </a:lnTo>
                  <a:lnTo>
                    <a:pt x="1546" y="1000"/>
                  </a:lnTo>
                  <a:lnTo>
                    <a:pt x="1537" y="1002"/>
                  </a:lnTo>
                  <a:lnTo>
                    <a:pt x="1522" y="990"/>
                  </a:lnTo>
                  <a:lnTo>
                    <a:pt x="1509" y="978"/>
                  </a:lnTo>
                  <a:lnTo>
                    <a:pt x="1495" y="966"/>
                  </a:lnTo>
                  <a:lnTo>
                    <a:pt x="1482" y="955"/>
                  </a:lnTo>
                  <a:lnTo>
                    <a:pt x="1479" y="943"/>
                  </a:lnTo>
                  <a:lnTo>
                    <a:pt x="1475" y="933"/>
                  </a:lnTo>
                  <a:lnTo>
                    <a:pt x="1454" y="916"/>
                  </a:lnTo>
                  <a:lnTo>
                    <a:pt x="1437" y="898"/>
                  </a:lnTo>
                  <a:lnTo>
                    <a:pt x="1437" y="886"/>
                  </a:lnTo>
                  <a:lnTo>
                    <a:pt x="1437" y="874"/>
                  </a:lnTo>
                  <a:lnTo>
                    <a:pt x="1433" y="871"/>
                  </a:lnTo>
                  <a:lnTo>
                    <a:pt x="1428" y="866"/>
                  </a:lnTo>
                  <a:lnTo>
                    <a:pt x="1427" y="861"/>
                  </a:lnTo>
                  <a:lnTo>
                    <a:pt x="1428" y="856"/>
                  </a:lnTo>
                  <a:lnTo>
                    <a:pt x="1430" y="849"/>
                  </a:lnTo>
                  <a:lnTo>
                    <a:pt x="1433" y="844"/>
                  </a:lnTo>
                  <a:lnTo>
                    <a:pt x="1440" y="834"/>
                  </a:lnTo>
                  <a:lnTo>
                    <a:pt x="1443" y="826"/>
                  </a:lnTo>
                  <a:lnTo>
                    <a:pt x="1445" y="816"/>
                  </a:lnTo>
                  <a:lnTo>
                    <a:pt x="1445" y="807"/>
                  </a:lnTo>
                  <a:lnTo>
                    <a:pt x="1443" y="801"/>
                  </a:lnTo>
                  <a:lnTo>
                    <a:pt x="1442" y="794"/>
                  </a:lnTo>
                  <a:lnTo>
                    <a:pt x="1437" y="781"/>
                  </a:lnTo>
                  <a:lnTo>
                    <a:pt x="1433" y="767"/>
                  </a:lnTo>
                  <a:lnTo>
                    <a:pt x="1442" y="747"/>
                  </a:lnTo>
                  <a:lnTo>
                    <a:pt x="1454" y="725"/>
                  </a:lnTo>
                  <a:lnTo>
                    <a:pt x="1459" y="715"/>
                  </a:lnTo>
                  <a:lnTo>
                    <a:pt x="1465" y="707"/>
                  </a:lnTo>
                  <a:lnTo>
                    <a:pt x="1474" y="699"/>
                  </a:lnTo>
                  <a:lnTo>
                    <a:pt x="1482" y="690"/>
                  </a:lnTo>
                  <a:lnTo>
                    <a:pt x="1492" y="683"/>
                  </a:lnTo>
                  <a:lnTo>
                    <a:pt x="1502" y="678"/>
                  </a:lnTo>
                  <a:lnTo>
                    <a:pt x="1512" y="672"/>
                  </a:lnTo>
                  <a:lnTo>
                    <a:pt x="1521" y="662"/>
                  </a:lnTo>
                  <a:lnTo>
                    <a:pt x="1522" y="645"/>
                  </a:lnTo>
                  <a:lnTo>
                    <a:pt x="1524" y="630"/>
                  </a:lnTo>
                  <a:lnTo>
                    <a:pt x="1527" y="623"/>
                  </a:lnTo>
                  <a:lnTo>
                    <a:pt x="1531" y="620"/>
                  </a:lnTo>
                  <a:lnTo>
                    <a:pt x="1534" y="615"/>
                  </a:lnTo>
                  <a:lnTo>
                    <a:pt x="1539" y="612"/>
                  </a:lnTo>
                  <a:lnTo>
                    <a:pt x="1547" y="606"/>
                  </a:lnTo>
                  <a:lnTo>
                    <a:pt x="1557" y="603"/>
                  </a:lnTo>
                  <a:lnTo>
                    <a:pt x="1561" y="600"/>
                  </a:lnTo>
                  <a:lnTo>
                    <a:pt x="1564" y="596"/>
                  </a:lnTo>
                  <a:lnTo>
                    <a:pt x="1567" y="593"/>
                  </a:lnTo>
                  <a:lnTo>
                    <a:pt x="1569" y="588"/>
                  </a:lnTo>
                  <a:lnTo>
                    <a:pt x="1571" y="581"/>
                  </a:lnTo>
                  <a:lnTo>
                    <a:pt x="1572" y="575"/>
                  </a:lnTo>
                  <a:lnTo>
                    <a:pt x="1571" y="566"/>
                  </a:lnTo>
                  <a:lnTo>
                    <a:pt x="1569" y="556"/>
                  </a:lnTo>
                  <a:lnTo>
                    <a:pt x="1554" y="556"/>
                  </a:lnTo>
                  <a:lnTo>
                    <a:pt x="1539" y="556"/>
                  </a:lnTo>
                  <a:lnTo>
                    <a:pt x="1537" y="540"/>
                  </a:lnTo>
                  <a:lnTo>
                    <a:pt x="1539" y="519"/>
                  </a:lnTo>
                  <a:lnTo>
                    <a:pt x="1542" y="511"/>
                  </a:lnTo>
                  <a:lnTo>
                    <a:pt x="1546" y="503"/>
                  </a:lnTo>
                  <a:lnTo>
                    <a:pt x="1549" y="496"/>
                  </a:lnTo>
                  <a:lnTo>
                    <a:pt x="1554" y="491"/>
                  </a:lnTo>
                  <a:lnTo>
                    <a:pt x="1551" y="488"/>
                  </a:lnTo>
                  <a:lnTo>
                    <a:pt x="1547" y="484"/>
                  </a:lnTo>
                  <a:lnTo>
                    <a:pt x="1546" y="479"/>
                  </a:lnTo>
                  <a:lnTo>
                    <a:pt x="1544" y="474"/>
                  </a:lnTo>
                  <a:lnTo>
                    <a:pt x="1566" y="471"/>
                  </a:lnTo>
                  <a:lnTo>
                    <a:pt x="1589" y="469"/>
                  </a:lnTo>
                  <a:lnTo>
                    <a:pt x="1601" y="469"/>
                  </a:lnTo>
                  <a:lnTo>
                    <a:pt x="1611" y="469"/>
                  </a:lnTo>
                  <a:lnTo>
                    <a:pt x="1623" y="466"/>
                  </a:lnTo>
                  <a:lnTo>
                    <a:pt x="1631" y="462"/>
                  </a:lnTo>
                  <a:lnTo>
                    <a:pt x="1631" y="452"/>
                  </a:lnTo>
                  <a:lnTo>
                    <a:pt x="1631" y="442"/>
                  </a:lnTo>
                  <a:lnTo>
                    <a:pt x="1628" y="434"/>
                  </a:lnTo>
                  <a:lnTo>
                    <a:pt x="1624" y="427"/>
                  </a:lnTo>
                  <a:lnTo>
                    <a:pt x="1619" y="421"/>
                  </a:lnTo>
                  <a:lnTo>
                    <a:pt x="1613" y="416"/>
                  </a:lnTo>
                  <a:lnTo>
                    <a:pt x="1604" y="412"/>
                  </a:lnTo>
                  <a:lnTo>
                    <a:pt x="1596" y="409"/>
                  </a:lnTo>
                  <a:lnTo>
                    <a:pt x="1596" y="406"/>
                  </a:lnTo>
                  <a:lnTo>
                    <a:pt x="1596" y="402"/>
                  </a:lnTo>
                  <a:lnTo>
                    <a:pt x="1598" y="402"/>
                  </a:lnTo>
                  <a:lnTo>
                    <a:pt x="1599" y="402"/>
                  </a:lnTo>
                  <a:lnTo>
                    <a:pt x="1606" y="401"/>
                  </a:lnTo>
                  <a:lnTo>
                    <a:pt x="1611" y="401"/>
                  </a:lnTo>
                  <a:lnTo>
                    <a:pt x="1618" y="402"/>
                  </a:lnTo>
                  <a:lnTo>
                    <a:pt x="1624" y="404"/>
                  </a:lnTo>
                  <a:lnTo>
                    <a:pt x="1624" y="397"/>
                  </a:lnTo>
                  <a:lnTo>
                    <a:pt x="1624" y="390"/>
                  </a:lnTo>
                  <a:lnTo>
                    <a:pt x="1638" y="390"/>
                  </a:lnTo>
                  <a:lnTo>
                    <a:pt x="1646" y="390"/>
                  </a:lnTo>
                  <a:lnTo>
                    <a:pt x="1653" y="389"/>
                  </a:lnTo>
                  <a:lnTo>
                    <a:pt x="1656" y="385"/>
                  </a:lnTo>
                  <a:lnTo>
                    <a:pt x="1664" y="377"/>
                  </a:lnTo>
                  <a:lnTo>
                    <a:pt x="1676" y="365"/>
                  </a:lnTo>
                  <a:lnTo>
                    <a:pt x="1690" y="362"/>
                  </a:lnTo>
                  <a:lnTo>
                    <a:pt x="1701" y="357"/>
                  </a:lnTo>
                  <a:lnTo>
                    <a:pt x="1710" y="345"/>
                  </a:lnTo>
                  <a:lnTo>
                    <a:pt x="1718" y="334"/>
                  </a:lnTo>
                  <a:lnTo>
                    <a:pt x="1730" y="332"/>
                  </a:lnTo>
                  <a:lnTo>
                    <a:pt x="1740" y="330"/>
                  </a:lnTo>
                  <a:lnTo>
                    <a:pt x="1736" y="324"/>
                  </a:lnTo>
                  <a:lnTo>
                    <a:pt x="1735" y="315"/>
                  </a:lnTo>
                  <a:lnTo>
                    <a:pt x="1733" y="307"/>
                  </a:lnTo>
                  <a:lnTo>
                    <a:pt x="1735" y="297"/>
                  </a:lnTo>
                  <a:lnTo>
                    <a:pt x="1747" y="297"/>
                  </a:lnTo>
                  <a:lnTo>
                    <a:pt x="1758" y="298"/>
                  </a:lnTo>
                  <a:lnTo>
                    <a:pt x="1760" y="300"/>
                  </a:lnTo>
                  <a:lnTo>
                    <a:pt x="1762" y="302"/>
                  </a:lnTo>
                  <a:lnTo>
                    <a:pt x="1762" y="303"/>
                  </a:lnTo>
                  <a:lnTo>
                    <a:pt x="1762" y="303"/>
                  </a:lnTo>
                  <a:lnTo>
                    <a:pt x="1755" y="308"/>
                  </a:lnTo>
                  <a:lnTo>
                    <a:pt x="1750" y="312"/>
                  </a:lnTo>
                  <a:lnTo>
                    <a:pt x="1750" y="318"/>
                  </a:lnTo>
                  <a:lnTo>
                    <a:pt x="1752" y="324"/>
                  </a:lnTo>
                  <a:lnTo>
                    <a:pt x="1753" y="329"/>
                  </a:lnTo>
                  <a:lnTo>
                    <a:pt x="1757" y="332"/>
                  </a:lnTo>
                  <a:lnTo>
                    <a:pt x="1757" y="332"/>
                  </a:lnTo>
                  <a:lnTo>
                    <a:pt x="1758" y="332"/>
                  </a:lnTo>
                  <a:lnTo>
                    <a:pt x="1768" y="329"/>
                  </a:lnTo>
                  <a:lnTo>
                    <a:pt x="1778" y="327"/>
                  </a:lnTo>
                  <a:lnTo>
                    <a:pt x="1785" y="332"/>
                  </a:lnTo>
                  <a:lnTo>
                    <a:pt x="1790" y="337"/>
                  </a:lnTo>
                  <a:lnTo>
                    <a:pt x="1805" y="329"/>
                  </a:lnTo>
                  <a:lnTo>
                    <a:pt x="1819" y="324"/>
                  </a:lnTo>
                  <a:lnTo>
                    <a:pt x="1837" y="324"/>
                  </a:lnTo>
                  <a:lnTo>
                    <a:pt x="1855" y="320"/>
                  </a:lnTo>
                  <a:lnTo>
                    <a:pt x="1862" y="303"/>
                  </a:lnTo>
                  <a:lnTo>
                    <a:pt x="1869" y="288"/>
                  </a:lnTo>
                  <a:lnTo>
                    <a:pt x="1875" y="287"/>
                  </a:lnTo>
                  <a:lnTo>
                    <a:pt x="1882" y="288"/>
                  </a:lnTo>
                  <a:lnTo>
                    <a:pt x="1887" y="292"/>
                  </a:lnTo>
                  <a:lnTo>
                    <a:pt x="1892" y="293"/>
                  </a:lnTo>
                  <a:lnTo>
                    <a:pt x="1896" y="290"/>
                  </a:lnTo>
                  <a:lnTo>
                    <a:pt x="1897" y="287"/>
                  </a:lnTo>
                  <a:lnTo>
                    <a:pt x="1892" y="280"/>
                  </a:lnTo>
                  <a:lnTo>
                    <a:pt x="1887" y="275"/>
                  </a:lnTo>
                  <a:lnTo>
                    <a:pt x="1887" y="268"/>
                  </a:lnTo>
                  <a:lnTo>
                    <a:pt x="1887" y="263"/>
                  </a:lnTo>
                  <a:lnTo>
                    <a:pt x="1902" y="265"/>
                  </a:lnTo>
                  <a:lnTo>
                    <a:pt x="1917" y="267"/>
                  </a:lnTo>
                  <a:lnTo>
                    <a:pt x="1924" y="267"/>
                  </a:lnTo>
                  <a:lnTo>
                    <a:pt x="1931" y="263"/>
                  </a:lnTo>
                  <a:lnTo>
                    <a:pt x="1936" y="260"/>
                  </a:lnTo>
                  <a:lnTo>
                    <a:pt x="1941" y="253"/>
                  </a:lnTo>
                  <a:lnTo>
                    <a:pt x="1932" y="252"/>
                  </a:lnTo>
                  <a:lnTo>
                    <a:pt x="1922" y="252"/>
                  </a:lnTo>
                  <a:lnTo>
                    <a:pt x="1912" y="252"/>
                  </a:lnTo>
                  <a:lnTo>
                    <a:pt x="1902" y="253"/>
                  </a:lnTo>
                  <a:lnTo>
                    <a:pt x="1892" y="253"/>
                  </a:lnTo>
                  <a:lnTo>
                    <a:pt x="1882" y="253"/>
                  </a:lnTo>
                  <a:lnTo>
                    <a:pt x="1872" y="250"/>
                  </a:lnTo>
                  <a:lnTo>
                    <a:pt x="1864" y="246"/>
                  </a:lnTo>
                  <a:lnTo>
                    <a:pt x="1864" y="245"/>
                  </a:lnTo>
                  <a:lnTo>
                    <a:pt x="1864" y="243"/>
                  </a:lnTo>
                  <a:lnTo>
                    <a:pt x="1862" y="233"/>
                  </a:lnTo>
                  <a:lnTo>
                    <a:pt x="1862" y="225"/>
                  </a:lnTo>
                  <a:lnTo>
                    <a:pt x="1877" y="213"/>
                  </a:lnTo>
                  <a:lnTo>
                    <a:pt x="1892" y="201"/>
                  </a:lnTo>
                  <a:lnTo>
                    <a:pt x="1892" y="195"/>
                  </a:lnTo>
                  <a:lnTo>
                    <a:pt x="1891" y="191"/>
                  </a:lnTo>
                  <a:lnTo>
                    <a:pt x="1889" y="188"/>
                  </a:lnTo>
                  <a:lnTo>
                    <a:pt x="1887" y="185"/>
                  </a:lnTo>
                  <a:lnTo>
                    <a:pt x="1885" y="185"/>
                  </a:lnTo>
                  <a:lnTo>
                    <a:pt x="1885" y="185"/>
                  </a:lnTo>
                  <a:lnTo>
                    <a:pt x="1875" y="186"/>
                  </a:lnTo>
                  <a:lnTo>
                    <a:pt x="1867" y="190"/>
                  </a:lnTo>
                  <a:lnTo>
                    <a:pt x="1857" y="195"/>
                  </a:lnTo>
                  <a:lnTo>
                    <a:pt x="1850" y="200"/>
                  </a:lnTo>
                  <a:lnTo>
                    <a:pt x="1835" y="213"/>
                  </a:lnTo>
                  <a:lnTo>
                    <a:pt x="1822" y="226"/>
                  </a:lnTo>
                  <a:lnTo>
                    <a:pt x="1824" y="235"/>
                  </a:lnTo>
                  <a:lnTo>
                    <a:pt x="1824" y="245"/>
                  </a:lnTo>
                  <a:lnTo>
                    <a:pt x="1827" y="250"/>
                  </a:lnTo>
                  <a:lnTo>
                    <a:pt x="1830" y="253"/>
                  </a:lnTo>
                  <a:lnTo>
                    <a:pt x="1835" y="255"/>
                  </a:lnTo>
                  <a:lnTo>
                    <a:pt x="1840" y="257"/>
                  </a:lnTo>
                  <a:lnTo>
                    <a:pt x="1839" y="260"/>
                  </a:lnTo>
                  <a:lnTo>
                    <a:pt x="1839" y="263"/>
                  </a:lnTo>
                  <a:lnTo>
                    <a:pt x="1825" y="268"/>
                  </a:lnTo>
                  <a:lnTo>
                    <a:pt x="1817" y="275"/>
                  </a:lnTo>
                  <a:lnTo>
                    <a:pt x="1819" y="282"/>
                  </a:lnTo>
                  <a:lnTo>
                    <a:pt x="1817" y="290"/>
                  </a:lnTo>
                  <a:lnTo>
                    <a:pt x="1813" y="297"/>
                  </a:lnTo>
                  <a:lnTo>
                    <a:pt x="1810" y="303"/>
                  </a:lnTo>
                  <a:lnTo>
                    <a:pt x="1802" y="303"/>
                  </a:lnTo>
                  <a:lnTo>
                    <a:pt x="1793" y="305"/>
                  </a:lnTo>
                  <a:lnTo>
                    <a:pt x="1793" y="310"/>
                  </a:lnTo>
                  <a:lnTo>
                    <a:pt x="1793" y="313"/>
                  </a:lnTo>
                  <a:lnTo>
                    <a:pt x="1792" y="315"/>
                  </a:lnTo>
                  <a:lnTo>
                    <a:pt x="1790" y="317"/>
                  </a:lnTo>
                  <a:lnTo>
                    <a:pt x="1785" y="313"/>
                  </a:lnTo>
                  <a:lnTo>
                    <a:pt x="1782" y="307"/>
                  </a:lnTo>
                  <a:lnTo>
                    <a:pt x="1778" y="302"/>
                  </a:lnTo>
                  <a:lnTo>
                    <a:pt x="1775" y="295"/>
                  </a:lnTo>
                  <a:lnTo>
                    <a:pt x="1770" y="280"/>
                  </a:lnTo>
                  <a:lnTo>
                    <a:pt x="1768" y="263"/>
                  </a:lnTo>
                  <a:lnTo>
                    <a:pt x="1760" y="265"/>
                  </a:lnTo>
                  <a:lnTo>
                    <a:pt x="1753" y="267"/>
                  </a:lnTo>
                  <a:lnTo>
                    <a:pt x="1748" y="268"/>
                  </a:lnTo>
                  <a:lnTo>
                    <a:pt x="1743" y="272"/>
                  </a:lnTo>
                  <a:lnTo>
                    <a:pt x="1738" y="275"/>
                  </a:lnTo>
                  <a:lnTo>
                    <a:pt x="1731" y="278"/>
                  </a:lnTo>
                  <a:lnTo>
                    <a:pt x="1726" y="280"/>
                  </a:lnTo>
                  <a:lnTo>
                    <a:pt x="1716" y="280"/>
                  </a:lnTo>
                  <a:lnTo>
                    <a:pt x="1716" y="278"/>
                  </a:lnTo>
                  <a:lnTo>
                    <a:pt x="1716" y="278"/>
                  </a:lnTo>
                  <a:lnTo>
                    <a:pt x="1711" y="270"/>
                  </a:lnTo>
                  <a:lnTo>
                    <a:pt x="1708" y="258"/>
                  </a:lnTo>
                  <a:lnTo>
                    <a:pt x="1705" y="245"/>
                  </a:lnTo>
                  <a:lnTo>
                    <a:pt x="1703" y="235"/>
                  </a:lnTo>
                  <a:lnTo>
                    <a:pt x="1718" y="230"/>
                  </a:lnTo>
                  <a:lnTo>
                    <a:pt x="1735" y="223"/>
                  </a:lnTo>
                  <a:lnTo>
                    <a:pt x="1750" y="215"/>
                  </a:lnTo>
                  <a:lnTo>
                    <a:pt x="1763" y="206"/>
                  </a:lnTo>
                  <a:lnTo>
                    <a:pt x="1775" y="190"/>
                  </a:lnTo>
                  <a:lnTo>
                    <a:pt x="1795" y="163"/>
                  </a:lnTo>
                  <a:lnTo>
                    <a:pt x="1807" y="151"/>
                  </a:lnTo>
                  <a:lnTo>
                    <a:pt x="1817" y="143"/>
                  </a:lnTo>
                  <a:lnTo>
                    <a:pt x="1820" y="141"/>
                  </a:lnTo>
                  <a:lnTo>
                    <a:pt x="1825" y="141"/>
                  </a:lnTo>
                  <a:lnTo>
                    <a:pt x="1829" y="143"/>
                  </a:lnTo>
                  <a:lnTo>
                    <a:pt x="1830" y="148"/>
                  </a:lnTo>
                  <a:lnTo>
                    <a:pt x="1842" y="139"/>
                  </a:lnTo>
                  <a:lnTo>
                    <a:pt x="1854" y="134"/>
                  </a:lnTo>
                  <a:lnTo>
                    <a:pt x="1865" y="131"/>
                  </a:lnTo>
                  <a:lnTo>
                    <a:pt x="1877" y="129"/>
                  </a:lnTo>
                  <a:lnTo>
                    <a:pt x="1901" y="131"/>
                  </a:lnTo>
                  <a:lnTo>
                    <a:pt x="1927" y="133"/>
                  </a:lnTo>
                  <a:lnTo>
                    <a:pt x="1927" y="138"/>
                  </a:lnTo>
                  <a:lnTo>
                    <a:pt x="1926" y="143"/>
                  </a:lnTo>
                  <a:lnTo>
                    <a:pt x="1941" y="143"/>
                  </a:lnTo>
                  <a:lnTo>
                    <a:pt x="1957" y="144"/>
                  </a:lnTo>
                  <a:lnTo>
                    <a:pt x="1973" y="146"/>
                  </a:lnTo>
                  <a:lnTo>
                    <a:pt x="1988" y="149"/>
                  </a:lnTo>
                  <a:lnTo>
                    <a:pt x="2003" y="154"/>
                  </a:lnTo>
                  <a:lnTo>
                    <a:pt x="2014" y="161"/>
                  </a:lnTo>
                  <a:lnTo>
                    <a:pt x="2026" y="169"/>
                  </a:lnTo>
                  <a:lnTo>
                    <a:pt x="2034" y="178"/>
                  </a:lnTo>
                  <a:lnTo>
                    <a:pt x="2031" y="180"/>
                  </a:lnTo>
                  <a:lnTo>
                    <a:pt x="2029" y="181"/>
                  </a:lnTo>
                  <a:lnTo>
                    <a:pt x="2021" y="185"/>
                  </a:lnTo>
                  <a:lnTo>
                    <a:pt x="2011" y="185"/>
                  </a:lnTo>
                  <a:lnTo>
                    <a:pt x="2001" y="183"/>
                  </a:lnTo>
                  <a:lnTo>
                    <a:pt x="1993" y="181"/>
                  </a:lnTo>
                  <a:lnTo>
                    <a:pt x="1973" y="175"/>
                  </a:lnTo>
                  <a:lnTo>
                    <a:pt x="1956" y="171"/>
                  </a:lnTo>
                  <a:lnTo>
                    <a:pt x="1956" y="171"/>
                  </a:lnTo>
                  <a:lnTo>
                    <a:pt x="1956" y="173"/>
                  </a:lnTo>
                  <a:lnTo>
                    <a:pt x="1966" y="185"/>
                  </a:lnTo>
                  <a:lnTo>
                    <a:pt x="1978" y="198"/>
                  </a:lnTo>
                  <a:lnTo>
                    <a:pt x="1983" y="203"/>
                  </a:lnTo>
                  <a:lnTo>
                    <a:pt x="1989" y="208"/>
                  </a:lnTo>
                  <a:lnTo>
                    <a:pt x="1998" y="211"/>
                  </a:lnTo>
                  <a:lnTo>
                    <a:pt x="2008" y="213"/>
                  </a:lnTo>
                  <a:lnTo>
                    <a:pt x="2004" y="205"/>
                  </a:lnTo>
                  <a:lnTo>
                    <a:pt x="1999" y="196"/>
                  </a:lnTo>
                  <a:lnTo>
                    <a:pt x="2001" y="195"/>
                  </a:lnTo>
                  <a:lnTo>
                    <a:pt x="2003" y="193"/>
                  </a:lnTo>
                  <a:lnTo>
                    <a:pt x="2014" y="198"/>
                  </a:lnTo>
                  <a:lnTo>
                    <a:pt x="2029" y="203"/>
                  </a:lnTo>
                  <a:lnTo>
                    <a:pt x="2029" y="200"/>
                  </a:lnTo>
                  <a:lnTo>
                    <a:pt x="2029" y="198"/>
                  </a:lnTo>
                  <a:lnTo>
                    <a:pt x="2026" y="195"/>
                  </a:lnTo>
                  <a:lnTo>
                    <a:pt x="2024" y="191"/>
                  </a:lnTo>
                  <a:lnTo>
                    <a:pt x="2040" y="183"/>
                  </a:lnTo>
                  <a:lnTo>
                    <a:pt x="2055" y="176"/>
                  </a:lnTo>
                  <a:lnTo>
                    <a:pt x="2053" y="164"/>
                  </a:lnTo>
                  <a:lnTo>
                    <a:pt x="2051" y="151"/>
                  </a:lnTo>
                  <a:lnTo>
                    <a:pt x="2065" y="154"/>
                  </a:lnTo>
                  <a:lnTo>
                    <a:pt x="2076" y="158"/>
                  </a:lnTo>
                  <a:lnTo>
                    <a:pt x="2078" y="159"/>
                  </a:lnTo>
                  <a:lnTo>
                    <a:pt x="2078" y="161"/>
                  </a:lnTo>
                  <a:lnTo>
                    <a:pt x="2078" y="163"/>
                  </a:lnTo>
                  <a:lnTo>
                    <a:pt x="2076" y="164"/>
                  </a:lnTo>
                  <a:lnTo>
                    <a:pt x="2073" y="164"/>
                  </a:lnTo>
                  <a:lnTo>
                    <a:pt x="2068" y="166"/>
                  </a:lnTo>
                  <a:lnTo>
                    <a:pt x="2068" y="171"/>
                  </a:lnTo>
                  <a:lnTo>
                    <a:pt x="2068" y="176"/>
                  </a:lnTo>
                  <a:lnTo>
                    <a:pt x="2078" y="175"/>
                  </a:lnTo>
                  <a:lnTo>
                    <a:pt x="2086" y="171"/>
                  </a:lnTo>
                  <a:lnTo>
                    <a:pt x="2095" y="168"/>
                  </a:lnTo>
                  <a:lnTo>
                    <a:pt x="2101" y="163"/>
                  </a:lnTo>
                  <a:lnTo>
                    <a:pt x="2108" y="159"/>
                  </a:lnTo>
                  <a:lnTo>
                    <a:pt x="2117" y="156"/>
                  </a:lnTo>
                  <a:lnTo>
                    <a:pt x="2127" y="153"/>
                  </a:lnTo>
                  <a:lnTo>
                    <a:pt x="2140" y="151"/>
                  </a:lnTo>
                  <a:lnTo>
                    <a:pt x="2140" y="156"/>
                  </a:lnTo>
                  <a:lnTo>
                    <a:pt x="2140" y="159"/>
                  </a:lnTo>
                  <a:lnTo>
                    <a:pt x="2153" y="159"/>
                  </a:lnTo>
                  <a:lnTo>
                    <a:pt x="2170" y="156"/>
                  </a:lnTo>
                  <a:lnTo>
                    <a:pt x="2185" y="153"/>
                  </a:lnTo>
                  <a:lnTo>
                    <a:pt x="2197" y="149"/>
                  </a:lnTo>
                  <a:lnTo>
                    <a:pt x="2195" y="146"/>
                  </a:lnTo>
                  <a:lnTo>
                    <a:pt x="2195" y="144"/>
                  </a:lnTo>
                  <a:lnTo>
                    <a:pt x="2183" y="141"/>
                  </a:lnTo>
                  <a:lnTo>
                    <a:pt x="2173" y="139"/>
                  </a:lnTo>
                  <a:lnTo>
                    <a:pt x="2173" y="134"/>
                  </a:lnTo>
                  <a:lnTo>
                    <a:pt x="2172" y="128"/>
                  </a:lnTo>
                  <a:lnTo>
                    <a:pt x="2195" y="134"/>
                  </a:lnTo>
                  <a:lnTo>
                    <a:pt x="2220" y="143"/>
                  </a:lnTo>
                  <a:lnTo>
                    <a:pt x="2244" y="151"/>
                  </a:lnTo>
                  <a:lnTo>
                    <a:pt x="2271" y="158"/>
                  </a:lnTo>
                  <a:lnTo>
                    <a:pt x="2271" y="156"/>
                  </a:lnTo>
                  <a:lnTo>
                    <a:pt x="2272" y="153"/>
                  </a:lnTo>
                  <a:lnTo>
                    <a:pt x="2255" y="143"/>
                  </a:lnTo>
                  <a:lnTo>
                    <a:pt x="2240" y="133"/>
                  </a:lnTo>
                  <a:lnTo>
                    <a:pt x="2240" y="124"/>
                  </a:lnTo>
                  <a:lnTo>
                    <a:pt x="2242" y="116"/>
                  </a:lnTo>
                  <a:lnTo>
                    <a:pt x="2244" y="111"/>
                  </a:lnTo>
                  <a:lnTo>
                    <a:pt x="2245" y="106"/>
                  </a:lnTo>
                  <a:lnTo>
                    <a:pt x="2249" y="104"/>
                  </a:lnTo>
                  <a:lnTo>
                    <a:pt x="2252" y="101"/>
                  </a:lnTo>
                  <a:lnTo>
                    <a:pt x="2266" y="106"/>
                  </a:lnTo>
                  <a:lnTo>
                    <a:pt x="2277" y="109"/>
                  </a:lnTo>
                  <a:lnTo>
                    <a:pt x="2279" y="118"/>
                  </a:lnTo>
                  <a:lnTo>
                    <a:pt x="2282" y="126"/>
                  </a:lnTo>
                  <a:lnTo>
                    <a:pt x="2287" y="131"/>
                  </a:lnTo>
                  <a:lnTo>
                    <a:pt x="2292" y="138"/>
                  </a:lnTo>
                  <a:lnTo>
                    <a:pt x="2299" y="144"/>
                  </a:lnTo>
                  <a:lnTo>
                    <a:pt x="2304" y="149"/>
                  </a:lnTo>
                  <a:lnTo>
                    <a:pt x="2309" y="156"/>
                  </a:lnTo>
                  <a:lnTo>
                    <a:pt x="2312" y="163"/>
                  </a:lnTo>
                  <a:lnTo>
                    <a:pt x="2306" y="169"/>
                  </a:lnTo>
                  <a:lnTo>
                    <a:pt x="2299" y="176"/>
                  </a:lnTo>
                  <a:lnTo>
                    <a:pt x="2302" y="180"/>
                  </a:lnTo>
                  <a:lnTo>
                    <a:pt x="2306" y="183"/>
                  </a:lnTo>
                  <a:lnTo>
                    <a:pt x="2311" y="183"/>
                  </a:lnTo>
                  <a:lnTo>
                    <a:pt x="2316" y="183"/>
                  </a:lnTo>
                  <a:lnTo>
                    <a:pt x="2321" y="178"/>
                  </a:lnTo>
                  <a:lnTo>
                    <a:pt x="2326" y="173"/>
                  </a:lnTo>
                  <a:lnTo>
                    <a:pt x="2324" y="163"/>
                  </a:lnTo>
                  <a:lnTo>
                    <a:pt x="2321" y="154"/>
                  </a:lnTo>
                  <a:lnTo>
                    <a:pt x="2321" y="154"/>
                  </a:lnTo>
                  <a:lnTo>
                    <a:pt x="2321" y="153"/>
                  </a:lnTo>
                  <a:lnTo>
                    <a:pt x="2332" y="154"/>
                  </a:lnTo>
                  <a:lnTo>
                    <a:pt x="2343" y="156"/>
                  </a:lnTo>
                  <a:lnTo>
                    <a:pt x="2343" y="161"/>
                  </a:lnTo>
                  <a:lnTo>
                    <a:pt x="2344" y="163"/>
                  </a:lnTo>
                  <a:lnTo>
                    <a:pt x="2346" y="163"/>
                  </a:lnTo>
                  <a:lnTo>
                    <a:pt x="2351" y="163"/>
                  </a:lnTo>
                  <a:lnTo>
                    <a:pt x="2349" y="161"/>
                  </a:lnTo>
                  <a:lnTo>
                    <a:pt x="2348" y="159"/>
                  </a:lnTo>
                  <a:lnTo>
                    <a:pt x="2346" y="154"/>
                  </a:lnTo>
                  <a:lnTo>
                    <a:pt x="2343" y="151"/>
                  </a:lnTo>
                  <a:lnTo>
                    <a:pt x="2329" y="151"/>
                  </a:lnTo>
                  <a:lnTo>
                    <a:pt x="2316" y="151"/>
                  </a:lnTo>
                  <a:lnTo>
                    <a:pt x="2304" y="136"/>
                  </a:lnTo>
                  <a:lnTo>
                    <a:pt x="2294" y="121"/>
                  </a:lnTo>
                  <a:lnTo>
                    <a:pt x="2294" y="116"/>
                  </a:lnTo>
                  <a:lnTo>
                    <a:pt x="2296" y="113"/>
                  </a:lnTo>
                  <a:lnTo>
                    <a:pt x="2304" y="119"/>
                  </a:lnTo>
                  <a:lnTo>
                    <a:pt x="2312" y="124"/>
                  </a:lnTo>
                  <a:lnTo>
                    <a:pt x="2317" y="126"/>
                  </a:lnTo>
                  <a:lnTo>
                    <a:pt x="2322" y="128"/>
                  </a:lnTo>
                  <a:lnTo>
                    <a:pt x="2327" y="128"/>
                  </a:lnTo>
                  <a:lnTo>
                    <a:pt x="2334" y="126"/>
                  </a:lnTo>
                  <a:lnTo>
                    <a:pt x="2326" y="123"/>
                  </a:lnTo>
                  <a:lnTo>
                    <a:pt x="2319" y="119"/>
                  </a:lnTo>
                  <a:lnTo>
                    <a:pt x="2319" y="114"/>
                  </a:lnTo>
                  <a:lnTo>
                    <a:pt x="2319" y="108"/>
                  </a:lnTo>
                  <a:lnTo>
                    <a:pt x="2331" y="113"/>
                  </a:lnTo>
                  <a:lnTo>
                    <a:pt x="2343" y="118"/>
                  </a:lnTo>
                  <a:lnTo>
                    <a:pt x="2349" y="119"/>
                  </a:lnTo>
                  <a:lnTo>
                    <a:pt x="2356" y="121"/>
                  </a:lnTo>
                  <a:lnTo>
                    <a:pt x="2361" y="123"/>
                  </a:lnTo>
                  <a:lnTo>
                    <a:pt x="2368" y="123"/>
                  </a:lnTo>
                  <a:lnTo>
                    <a:pt x="2366" y="119"/>
                  </a:lnTo>
                  <a:lnTo>
                    <a:pt x="2364" y="118"/>
                  </a:lnTo>
                  <a:lnTo>
                    <a:pt x="2349" y="111"/>
                  </a:lnTo>
                  <a:lnTo>
                    <a:pt x="2334" y="104"/>
                  </a:lnTo>
                  <a:lnTo>
                    <a:pt x="2334" y="101"/>
                  </a:lnTo>
                  <a:lnTo>
                    <a:pt x="2334" y="99"/>
                  </a:lnTo>
                  <a:lnTo>
                    <a:pt x="2336" y="97"/>
                  </a:lnTo>
                  <a:lnTo>
                    <a:pt x="2338" y="96"/>
                  </a:lnTo>
                  <a:lnTo>
                    <a:pt x="2363" y="97"/>
                  </a:lnTo>
                  <a:lnTo>
                    <a:pt x="2386" y="101"/>
                  </a:lnTo>
                  <a:lnTo>
                    <a:pt x="2386" y="99"/>
                  </a:lnTo>
                  <a:lnTo>
                    <a:pt x="2386" y="99"/>
                  </a:lnTo>
                  <a:lnTo>
                    <a:pt x="2381" y="96"/>
                  </a:lnTo>
                  <a:lnTo>
                    <a:pt x="2378" y="92"/>
                  </a:lnTo>
                  <a:lnTo>
                    <a:pt x="2378" y="87"/>
                  </a:lnTo>
                  <a:lnTo>
                    <a:pt x="2378" y="81"/>
                  </a:lnTo>
                  <a:lnTo>
                    <a:pt x="2406" y="81"/>
                  </a:lnTo>
                  <a:lnTo>
                    <a:pt x="2433" y="77"/>
                  </a:lnTo>
                  <a:lnTo>
                    <a:pt x="2445" y="74"/>
                  </a:lnTo>
                  <a:lnTo>
                    <a:pt x="2456" y="69"/>
                  </a:lnTo>
                  <a:lnTo>
                    <a:pt x="2466" y="64"/>
                  </a:lnTo>
                  <a:lnTo>
                    <a:pt x="2473" y="57"/>
                  </a:lnTo>
                  <a:lnTo>
                    <a:pt x="2488" y="59"/>
                  </a:lnTo>
                  <a:lnTo>
                    <a:pt x="2500" y="61"/>
                  </a:lnTo>
                  <a:lnTo>
                    <a:pt x="2508" y="64"/>
                  </a:lnTo>
                  <a:lnTo>
                    <a:pt x="2518" y="69"/>
                  </a:lnTo>
                  <a:lnTo>
                    <a:pt x="2540" y="69"/>
                  </a:lnTo>
                  <a:lnTo>
                    <a:pt x="2564" y="69"/>
                  </a:lnTo>
                  <a:lnTo>
                    <a:pt x="2569" y="76"/>
                  </a:lnTo>
                  <a:lnTo>
                    <a:pt x="2574" y="81"/>
                  </a:lnTo>
                  <a:lnTo>
                    <a:pt x="2577" y="84"/>
                  </a:lnTo>
                  <a:lnTo>
                    <a:pt x="2577" y="89"/>
                  </a:lnTo>
                  <a:lnTo>
                    <a:pt x="2575" y="89"/>
                  </a:lnTo>
                  <a:lnTo>
                    <a:pt x="2574" y="89"/>
                  </a:lnTo>
                  <a:lnTo>
                    <a:pt x="2567" y="92"/>
                  </a:lnTo>
                  <a:lnTo>
                    <a:pt x="2562" y="94"/>
                  </a:lnTo>
                  <a:lnTo>
                    <a:pt x="2557" y="97"/>
                  </a:lnTo>
                  <a:lnTo>
                    <a:pt x="2552" y="103"/>
                  </a:lnTo>
                  <a:lnTo>
                    <a:pt x="2552" y="104"/>
                  </a:lnTo>
                  <a:lnTo>
                    <a:pt x="2552" y="104"/>
                  </a:lnTo>
                  <a:lnTo>
                    <a:pt x="2553" y="104"/>
                  </a:lnTo>
                  <a:lnTo>
                    <a:pt x="2555" y="104"/>
                  </a:lnTo>
                  <a:lnTo>
                    <a:pt x="2565" y="103"/>
                  </a:lnTo>
                  <a:lnTo>
                    <a:pt x="2577" y="97"/>
                  </a:lnTo>
                  <a:lnTo>
                    <a:pt x="2584" y="94"/>
                  </a:lnTo>
                  <a:lnTo>
                    <a:pt x="2590" y="92"/>
                  </a:lnTo>
                  <a:lnTo>
                    <a:pt x="2597" y="92"/>
                  </a:lnTo>
                  <a:lnTo>
                    <a:pt x="2604" y="94"/>
                  </a:lnTo>
                  <a:lnTo>
                    <a:pt x="2624" y="99"/>
                  </a:lnTo>
                  <a:lnTo>
                    <a:pt x="2646" y="104"/>
                  </a:lnTo>
                  <a:lnTo>
                    <a:pt x="2669" y="108"/>
                  </a:lnTo>
                  <a:lnTo>
                    <a:pt x="2692" y="108"/>
                  </a:lnTo>
                  <a:lnTo>
                    <a:pt x="2694" y="104"/>
                  </a:lnTo>
                  <a:lnTo>
                    <a:pt x="2697" y="101"/>
                  </a:lnTo>
                  <a:lnTo>
                    <a:pt x="2714" y="101"/>
                  </a:lnTo>
                  <a:lnTo>
                    <a:pt x="2733" y="103"/>
                  </a:lnTo>
                  <a:lnTo>
                    <a:pt x="2746" y="111"/>
                  </a:lnTo>
                  <a:lnTo>
                    <a:pt x="2756" y="119"/>
                  </a:lnTo>
                  <a:lnTo>
                    <a:pt x="2763" y="123"/>
                  </a:lnTo>
                  <a:lnTo>
                    <a:pt x="2769" y="126"/>
                  </a:lnTo>
                  <a:lnTo>
                    <a:pt x="2778" y="128"/>
                  </a:lnTo>
                  <a:lnTo>
                    <a:pt x="2788" y="128"/>
                  </a:lnTo>
                  <a:close/>
                  <a:moveTo>
                    <a:pt x="2215" y="76"/>
                  </a:moveTo>
                  <a:lnTo>
                    <a:pt x="2202" y="74"/>
                  </a:lnTo>
                  <a:lnTo>
                    <a:pt x="2190" y="76"/>
                  </a:lnTo>
                  <a:lnTo>
                    <a:pt x="2178" y="77"/>
                  </a:lnTo>
                  <a:lnTo>
                    <a:pt x="2168" y="79"/>
                  </a:lnTo>
                  <a:lnTo>
                    <a:pt x="2158" y="84"/>
                  </a:lnTo>
                  <a:lnTo>
                    <a:pt x="2150" y="87"/>
                  </a:lnTo>
                  <a:lnTo>
                    <a:pt x="2143" y="94"/>
                  </a:lnTo>
                  <a:lnTo>
                    <a:pt x="2138" y="101"/>
                  </a:lnTo>
                  <a:lnTo>
                    <a:pt x="2137" y="109"/>
                  </a:lnTo>
                  <a:lnTo>
                    <a:pt x="2137" y="118"/>
                  </a:lnTo>
                  <a:lnTo>
                    <a:pt x="2143" y="119"/>
                  </a:lnTo>
                  <a:lnTo>
                    <a:pt x="2150" y="123"/>
                  </a:lnTo>
                  <a:lnTo>
                    <a:pt x="2157" y="126"/>
                  </a:lnTo>
                  <a:lnTo>
                    <a:pt x="2162" y="129"/>
                  </a:lnTo>
                  <a:lnTo>
                    <a:pt x="2143" y="129"/>
                  </a:lnTo>
                  <a:lnTo>
                    <a:pt x="2123" y="129"/>
                  </a:lnTo>
                  <a:lnTo>
                    <a:pt x="2122" y="126"/>
                  </a:lnTo>
                  <a:lnTo>
                    <a:pt x="2118" y="123"/>
                  </a:lnTo>
                  <a:lnTo>
                    <a:pt x="2113" y="121"/>
                  </a:lnTo>
                  <a:lnTo>
                    <a:pt x="2106" y="121"/>
                  </a:lnTo>
                  <a:lnTo>
                    <a:pt x="2106" y="111"/>
                  </a:lnTo>
                  <a:lnTo>
                    <a:pt x="2110" y="103"/>
                  </a:lnTo>
                  <a:lnTo>
                    <a:pt x="2118" y="101"/>
                  </a:lnTo>
                  <a:lnTo>
                    <a:pt x="2128" y="97"/>
                  </a:lnTo>
                  <a:lnTo>
                    <a:pt x="2125" y="94"/>
                  </a:lnTo>
                  <a:lnTo>
                    <a:pt x="2122" y="91"/>
                  </a:lnTo>
                  <a:lnTo>
                    <a:pt x="2142" y="81"/>
                  </a:lnTo>
                  <a:lnTo>
                    <a:pt x="2165" y="71"/>
                  </a:lnTo>
                  <a:lnTo>
                    <a:pt x="2177" y="66"/>
                  </a:lnTo>
                  <a:lnTo>
                    <a:pt x="2190" y="62"/>
                  </a:lnTo>
                  <a:lnTo>
                    <a:pt x="2202" y="61"/>
                  </a:lnTo>
                  <a:lnTo>
                    <a:pt x="2215" y="62"/>
                  </a:lnTo>
                  <a:lnTo>
                    <a:pt x="2215" y="69"/>
                  </a:lnTo>
                  <a:lnTo>
                    <a:pt x="2215" y="76"/>
                  </a:lnTo>
                  <a:close/>
                  <a:moveTo>
                    <a:pt x="881" y="64"/>
                  </a:moveTo>
                  <a:lnTo>
                    <a:pt x="891" y="64"/>
                  </a:lnTo>
                  <a:lnTo>
                    <a:pt x="898" y="67"/>
                  </a:lnTo>
                  <a:lnTo>
                    <a:pt x="896" y="71"/>
                  </a:lnTo>
                  <a:lnTo>
                    <a:pt x="894" y="74"/>
                  </a:lnTo>
                  <a:lnTo>
                    <a:pt x="906" y="76"/>
                  </a:lnTo>
                  <a:lnTo>
                    <a:pt x="916" y="76"/>
                  </a:lnTo>
                  <a:lnTo>
                    <a:pt x="914" y="79"/>
                  </a:lnTo>
                  <a:lnTo>
                    <a:pt x="913" y="81"/>
                  </a:lnTo>
                  <a:lnTo>
                    <a:pt x="896" y="81"/>
                  </a:lnTo>
                  <a:lnTo>
                    <a:pt x="879" y="79"/>
                  </a:lnTo>
                  <a:lnTo>
                    <a:pt x="863" y="77"/>
                  </a:lnTo>
                  <a:lnTo>
                    <a:pt x="847" y="74"/>
                  </a:lnTo>
                  <a:lnTo>
                    <a:pt x="847" y="72"/>
                  </a:lnTo>
                  <a:lnTo>
                    <a:pt x="847" y="71"/>
                  </a:lnTo>
                  <a:lnTo>
                    <a:pt x="847" y="69"/>
                  </a:lnTo>
                  <a:lnTo>
                    <a:pt x="849" y="67"/>
                  </a:lnTo>
                  <a:lnTo>
                    <a:pt x="858" y="67"/>
                  </a:lnTo>
                  <a:lnTo>
                    <a:pt x="868" y="69"/>
                  </a:lnTo>
                  <a:lnTo>
                    <a:pt x="871" y="69"/>
                  </a:lnTo>
                  <a:lnTo>
                    <a:pt x="874" y="69"/>
                  </a:lnTo>
                  <a:lnTo>
                    <a:pt x="878" y="67"/>
                  </a:lnTo>
                  <a:lnTo>
                    <a:pt x="881" y="64"/>
                  </a:lnTo>
                  <a:close/>
                  <a:moveTo>
                    <a:pt x="938" y="66"/>
                  </a:moveTo>
                  <a:lnTo>
                    <a:pt x="943" y="66"/>
                  </a:lnTo>
                  <a:lnTo>
                    <a:pt x="946" y="66"/>
                  </a:lnTo>
                  <a:lnTo>
                    <a:pt x="950" y="66"/>
                  </a:lnTo>
                  <a:lnTo>
                    <a:pt x="955" y="67"/>
                  </a:lnTo>
                  <a:lnTo>
                    <a:pt x="970" y="72"/>
                  </a:lnTo>
                  <a:lnTo>
                    <a:pt x="993" y="76"/>
                  </a:lnTo>
                  <a:lnTo>
                    <a:pt x="1015" y="77"/>
                  </a:lnTo>
                  <a:lnTo>
                    <a:pt x="1027" y="81"/>
                  </a:lnTo>
                  <a:lnTo>
                    <a:pt x="1025" y="82"/>
                  </a:lnTo>
                  <a:lnTo>
                    <a:pt x="1025" y="84"/>
                  </a:lnTo>
                  <a:lnTo>
                    <a:pt x="1000" y="86"/>
                  </a:lnTo>
                  <a:lnTo>
                    <a:pt x="976" y="86"/>
                  </a:lnTo>
                  <a:lnTo>
                    <a:pt x="953" y="86"/>
                  </a:lnTo>
                  <a:lnTo>
                    <a:pt x="931" y="81"/>
                  </a:lnTo>
                  <a:lnTo>
                    <a:pt x="935" y="72"/>
                  </a:lnTo>
                  <a:lnTo>
                    <a:pt x="938" y="66"/>
                  </a:lnTo>
                  <a:close/>
                  <a:moveTo>
                    <a:pt x="2471" y="69"/>
                  </a:moveTo>
                  <a:lnTo>
                    <a:pt x="2473" y="71"/>
                  </a:lnTo>
                  <a:lnTo>
                    <a:pt x="2473" y="72"/>
                  </a:lnTo>
                  <a:lnTo>
                    <a:pt x="2473" y="71"/>
                  </a:lnTo>
                  <a:lnTo>
                    <a:pt x="2471" y="69"/>
                  </a:lnTo>
                  <a:close/>
                  <a:moveTo>
                    <a:pt x="2769" y="74"/>
                  </a:moveTo>
                  <a:lnTo>
                    <a:pt x="2786" y="74"/>
                  </a:lnTo>
                  <a:lnTo>
                    <a:pt x="2803" y="76"/>
                  </a:lnTo>
                  <a:lnTo>
                    <a:pt x="2820" y="77"/>
                  </a:lnTo>
                  <a:lnTo>
                    <a:pt x="2836" y="77"/>
                  </a:lnTo>
                  <a:lnTo>
                    <a:pt x="2836" y="81"/>
                  </a:lnTo>
                  <a:lnTo>
                    <a:pt x="2836" y="84"/>
                  </a:lnTo>
                  <a:lnTo>
                    <a:pt x="2828" y="87"/>
                  </a:lnTo>
                  <a:lnTo>
                    <a:pt x="2820" y="87"/>
                  </a:lnTo>
                  <a:lnTo>
                    <a:pt x="2810" y="89"/>
                  </a:lnTo>
                  <a:lnTo>
                    <a:pt x="2801" y="87"/>
                  </a:lnTo>
                  <a:lnTo>
                    <a:pt x="2785" y="84"/>
                  </a:lnTo>
                  <a:lnTo>
                    <a:pt x="2769" y="77"/>
                  </a:lnTo>
                  <a:lnTo>
                    <a:pt x="2769" y="76"/>
                  </a:lnTo>
                  <a:lnTo>
                    <a:pt x="2769" y="74"/>
                  </a:lnTo>
                  <a:close/>
                  <a:moveTo>
                    <a:pt x="663" y="84"/>
                  </a:moveTo>
                  <a:lnTo>
                    <a:pt x="680" y="86"/>
                  </a:lnTo>
                  <a:lnTo>
                    <a:pt x="695" y="87"/>
                  </a:lnTo>
                  <a:lnTo>
                    <a:pt x="707" y="91"/>
                  </a:lnTo>
                  <a:lnTo>
                    <a:pt x="717" y="89"/>
                  </a:lnTo>
                  <a:lnTo>
                    <a:pt x="715" y="94"/>
                  </a:lnTo>
                  <a:lnTo>
                    <a:pt x="714" y="101"/>
                  </a:lnTo>
                  <a:lnTo>
                    <a:pt x="719" y="99"/>
                  </a:lnTo>
                  <a:lnTo>
                    <a:pt x="720" y="101"/>
                  </a:lnTo>
                  <a:lnTo>
                    <a:pt x="722" y="101"/>
                  </a:lnTo>
                  <a:lnTo>
                    <a:pt x="725" y="104"/>
                  </a:lnTo>
                  <a:lnTo>
                    <a:pt x="729" y="101"/>
                  </a:lnTo>
                  <a:lnTo>
                    <a:pt x="730" y="99"/>
                  </a:lnTo>
                  <a:lnTo>
                    <a:pt x="735" y="99"/>
                  </a:lnTo>
                  <a:lnTo>
                    <a:pt x="740" y="101"/>
                  </a:lnTo>
                  <a:lnTo>
                    <a:pt x="742" y="104"/>
                  </a:lnTo>
                  <a:lnTo>
                    <a:pt x="742" y="109"/>
                  </a:lnTo>
                  <a:lnTo>
                    <a:pt x="745" y="109"/>
                  </a:lnTo>
                  <a:lnTo>
                    <a:pt x="749" y="109"/>
                  </a:lnTo>
                  <a:lnTo>
                    <a:pt x="750" y="106"/>
                  </a:lnTo>
                  <a:lnTo>
                    <a:pt x="752" y="103"/>
                  </a:lnTo>
                  <a:lnTo>
                    <a:pt x="755" y="103"/>
                  </a:lnTo>
                  <a:lnTo>
                    <a:pt x="760" y="101"/>
                  </a:lnTo>
                  <a:lnTo>
                    <a:pt x="760" y="108"/>
                  </a:lnTo>
                  <a:lnTo>
                    <a:pt x="759" y="113"/>
                  </a:lnTo>
                  <a:lnTo>
                    <a:pt x="772" y="106"/>
                  </a:lnTo>
                  <a:lnTo>
                    <a:pt x="784" y="97"/>
                  </a:lnTo>
                  <a:lnTo>
                    <a:pt x="789" y="99"/>
                  </a:lnTo>
                  <a:lnTo>
                    <a:pt x="794" y="101"/>
                  </a:lnTo>
                  <a:lnTo>
                    <a:pt x="794" y="106"/>
                  </a:lnTo>
                  <a:lnTo>
                    <a:pt x="794" y="109"/>
                  </a:lnTo>
                  <a:lnTo>
                    <a:pt x="787" y="118"/>
                  </a:lnTo>
                  <a:lnTo>
                    <a:pt x="782" y="126"/>
                  </a:lnTo>
                  <a:lnTo>
                    <a:pt x="782" y="128"/>
                  </a:lnTo>
                  <a:lnTo>
                    <a:pt x="782" y="128"/>
                  </a:lnTo>
                  <a:lnTo>
                    <a:pt x="789" y="129"/>
                  </a:lnTo>
                  <a:lnTo>
                    <a:pt x="797" y="129"/>
                  </a:lnTo>
                  <a:lnTo>
                    <a:pt x="794" y="136"/>
                  </a:lnTo>
                  <a:lnTo>
                    <a:pt x="787" y="141"/>
                  </a:lnTo>
                  <a:lnTo>
                    <a:pt x="781" y="146"/>
                  </a:lnTo>
                  <a:lnTo>
                    <a:pt x="776" y="149"/>
                  </a:lnTo>
                  <a:lnTo>
                    <a:pt x="755" y="144"/>
                  </a:lnTo>
                  <a:lnTo>
                    <a:pt x="737" y="143"/>
                  </a:lnTo>
                  <a:lnTo>
                    <a:pt x="715" y="146"/>
                  </a:lnTo>
                  <a:lnTo>
                    <a:pt x="697" y="148"/>
                  </a:lnTo>
                  <a:lnTo>
                    <a:pt x="678" y="146"/>
                  </a:lnTo>
                  <a:lnTo>
                    <a:pt x="655" y="143"/>
                  </a:lnTo>
                  <a:lnTo>
                    <a:pt x="657" y="139"/>
                  </a:lnTo>
                  <a:lnTo>
                    <a:pt x="657" y="134"/>
                  </a:lnTo>
                  <a:lnTo>
                    <a:pt x="672" y="131"/>
                  </a:lnTo>
                  <a:lnTo>
                    <a:pt x="687" y="128"/>
                  </a:lnTo>
                  <a:lnTo>
                    <a:pt x="673" y="128"/>
                  </a:lnTo>
                  <a:lnTo>
                    <a:pt x="660" y="128"/>
                  </a:lnTo>
                  <a:lnTo>
                    <a:pt x="660" y="126"/>
                  </a:lnTo>
                  <a:lnTo>
                    <a:pt x="660" y="123"/>
                  </a:lnTo>
                  <a:lnTo>
                    <a:pt x="663" y="121"/>
                  </a:lnTo>
                  <a:lnTo>
                    <a:pt x="667" y="121"/>
                  </a:lnTo>
                  <a:lnTo>
                    <a:pt x="672" y="123"/>
                  </a:lnTo>
                  <a:lnTo>
                    <a:pt x="677" y="123"/>
                  </a:lnTo>
                  <a:lnTo>
                    <a:pt x="683" y="123"/>
                  </a:lnTo>
                  <a:lnTo>
                    <a:pt x="688" y="123"/>
                  </a:lnTo>
                  <a:lnTo>
                    <a:pt x="678" y="119"/>
                  </a:lnTo>
                  <a:lnTo>
                    <a:pt x="668" y="118"/>
                  </a:lnTo>
                  <a:lnTo>
                    <a:pt x="668" y="114"/>
                  </a:lnTo>
                  <a:lnTo>
                    <a:pt x="670" y="113"/>
                  </a:lnTo>
                  <a:lnTo>
                    <a:pt x="675" y="109"/>
                  </a:lnTo>
                  <a:lnTo>
                    <a:pt x="680" y="106"/>
                  </a:lnTo>
                  <a:lnTo>
                    <a:pt x="680" y="106"/>
                  </a:lnTo>
                  <a:lnTo>
                    <a:pt x="680" y="104"/>
                  </a:lnTo>
                  <a:lnTo>
                    <a:pt x="663" y="109"/>
                  </a:lnTo>
                  <a:lnTo>
                    <a:pt x="650" y="116"/>
                  </a:lnTo>
                  <a:lnTo>
                    <a:pt x="643" y="118"/>
                  </a:lnTo>
                  <a:lnTo>
                    <a:pt x="637" y="119"/>
                  </a:lnTo>
                  <a:lnTo>
                    <a:pt x="628" y="121"/>
                  </a:lnTo>
                  <a:lnTo>
                    <a:pt x="618" y="119"/>
                  </a:lnTo>
                  <a:lnTo>
                    <a:pt x="618" y="114"/>
                  </a:lnTo>
                  <a:lnTo>
                    <a:pt x="620" y="108"/>
                  </a:lnTo>
                  <a:lnTo>
                    <a:pt x="633" y="104"/>
                  </a:lnTo>
                  <a:lnTo>
                    <a:pt x="645" y="99"/>
                  </a:lnTo>
                  <a:lnTo>
                    <a:pt x="655" y="92"/>
                  </a:lnTo>
                  <a:lnTo>
                    <a:pt x="663" y="84"/>
                  </a:lnTo>
                  <a:close/>
                  <a:moveTo>
                    <a:pt x="842" y="92"/>
                  </a:moveTo>
                  <a:lnTo>
                    <a:pt x="858" y="92"/>
                  </a:lnTo>
                  <a:lnTo>
                    <a:pt x="873" y="92"/>
                  </a:lnTo>
                  <a:lnTo>
                    <a:pt x="864" y="101"/>
                  </a:lnTo>
                  <a:lnTo>
                    <a:pt x="858" y="108"/>
                  </a:lnTo>
                  <a:lnTo>
                    <a:pt x="859" y="111"/>
                  </a:lnTo>
                  <a:lnTo>
                    <a:pt x="861" y="114"/>
                  </a:lnTo>
                  <a:lnTo>
                    <a:pt x="858" y="116"/>
                  </a:lnTo>
                  <a:lnTo>
                    <a:pt x="854" y="119"/>
                  </a:lnTo>
                  <a:lnTo>
                    <a:pt x="846" y="118"/>
                  </a:lnTo>
                  <a:lnTo>
                    <a:pt x="839" y="119"/>
                  </a:lnTo>
                  <a:lnTo>
                    <a:pt x="832" y="121"/>
                  </a:lnTo>
                  <a:lnTo>
                    <a:pt x="826" y="124"/>
                  </a:lnTo>
                  <a:lnTo>
                    <a:pt x="826" y="116"/>
                  </a:lnTo>
                  <a:lnTo>
                    <a:pt x="822" y="113"/>
                  </a:lnTo>
                  <a:lnTo>
                    <a:pt x="821" y="109"/>
                  </a:lnTo>
                  <a:lnTo>
                    <a:pt x="817" y="103"/>
                  </a:lnTo>
                  <a:lnTo>
                    <a:pt x="826" y="106"/>
                  </a:lnTo>
                  <a:lnTo>
                    <a:pt x="832" y="108"/>
                  </a:lnTo>
                  <a:lnTo>
                    <a:pt x="837" y="101"/>
                  </a:lnTo>
                  <a:lnTo>
                    <a:pt x="842" y="92"/>
                  </a:lnTo>
                  <a:close/>
                  <a:moveTo>
                    <a:pt x="889" y="92"/>
                  </a:moveTo>
                  <a:lnTo>
                    <a:pt x="901" y="92"/>
                  </a:lnTo>
                  <a:lnTo>
                    <a:pt x="913" y="92"/>
                  </a:lnTo>
                  <a:lnTo>
                    <a:pt x="913" y="94"/>
                  </a:lnTo>
                  <a:lnTo>
                    <a:pt x="913" y="96"/>
                  </a:lnTo>
                  <a:lnTo>
                    <a:pt x="914" y="99"/>
                  </a:lnTo>
                  <a:lnTo>
                    <a:pt x="914" y="101"/>
                  </a:lnTo>
                  <a:lnTo>
                    <a:pt x="914" y="103"/>
                  </a:lnTo>
                  <a:lnTo>
                    <a:pt x="913" y="103"/>
                  </a:lnTo>
                  <a:lnTo>
                    <a:pt x="901" y="104"/>
                  </a:lnTo>
                  <a:lnTo>
                    <a:pt x="893" y="106"/>
                  </a:lnTo>
                  <a:lnTo>
                    <a:pt x="884" y="109"/>
                  </a:lnTo>
                  <a:lnTo>
                    <a:pt x="879" y="116"/>
                  </a:lnTo>
                  <a:lnTo>
                    <a:pt x="878" y="114"/>
                  </a:lnTo>
                  <a:lnTo>
                    <a:pt x="876" y="114"/>
                  </a:lnTo>
                  <a:lnTo>
                    <a:pt x="876" y="114"/>
                  </a:lnTo>
                  <a:lnTo>
                    <a:pt x="876" y="113"/>
                  </a:lnTo>
                  <a:lnTo>
                    <a:pt x="878" y="106"/>
                  </a:lnTo>
                  <a:lnTo>
                    <a:pt x="881" y="101"/>
                  </a:lnTo>
                  <a:lnTo>
                    <a:pt x="884" y="96"/>
                  </a:lnTo>
                  <a:lnTo>
                    <a:pt x="889" y="92"/>
                  </a:lnTo>
                  <a:close/>
                  <a:moveTo>
                    <a:pt x="1007" y="92"/>
                  </a:moveTo>
                  <a:lnTo>
                    <a:pt x="1020" y="94"/>
                  </a:lnTo>
                  <a:lnTo>
                    <a:pt x="1033" y="96"/>
                  </a:lnTo>
                  <a:lnTo>
                    <a:pt x="1037" y="108"/>
                  </a:lnTo>
                  <a:lnTo>
                    <a:pt x="1042" y="121"/>
                  </a:lnTo>
                  <a:lnTo>
                    <a:pt x="1050" y="119"/>
                  </a:lnTo>
                  <a:lnTo>
                    <a:pt x="1058" y="119"/>
                  </a:lnTo>
                  <a:lnTo>
                    <a:pt x="1058" y="124"/>
                  </a:lnTo>
                  <a:lnTo>
                    <a:pt x="1058" y="128"/>
                  </a:lnTo>
                  <a:lnTo>
                    <a:pt x="1063" y="128"/>
                  </a:lnTo>
                  <a:lnTo>
                    <a:pt x="1067" y="128"/>
                  </a:lnTo>
                  <a:lnTo>
                    <a:pt x="1067" y="138"/>
                  </a:lnTo>
                  <a:lnTo>
                    <a:pt x="1067" y="144"/>
                  </a:lnTo>
                  <a:lnTo>
                    <a:pt x="1070" y="153"/>
                  </a:lnTo>
                  <a:lnTo>
                    <a:pt x="1074" y="159"/>
                  </a:lnTo>
                  <a:lnTo>
                    <a:pt x="1084" y="161"/>
                  </a:lnTo>
                  <a:lnTo>
                    <a:pt x="1095" y="166"/>
                  </a:lnTo>
                  <a:lnTo>
                    <a:pt x="1105" y="173"/>
                  </a:lnTo>
                  <a:lnTo>
                    <a:pt x="1110" y="178"/>
                  </a:lnTo>
                  <a:lnTo>
                    <a:pt x="1102" y="180"/>
                  </a:lnTo>
                  <a:lnTo>
                    <a:pt x="1094" y="185"/>
                  </a:lnTo>
                  <a:lnTo>
                    <a:pt x="1087" y="190"/>
                  </a:lnTo>
                  <a:lnTo>
                    <a:pt x="1082" y="195"/>
                  </a:lnTo>
                  <a:lnTo>
                    <a:pt x="1079" y="195"/>
                  </a:lnTo>
                  <a:lnTo>
                    <a:pt x="1077" y="195"/>
                  </a:lnTo>
                  <a:lnTo>
                    <a:pt x="1074" y="186"/>
                  </a:lnTo>
                  <a:lnTo>
                    <a:pt x="1065" y="181"/>
                  </a:lnTo>
                  <a:lnTo>
                    <a:pt x="1062" y="178"/>
                  </a:lnTo>
                  <a:lnTo>
                    <a:pt x="1058" y="178"/>
                  </a:lnTo>
                  <a:lnTo>
                    <a:pt x="1055" y="180"/>
                  </a:lnTo>
                  <a:lnTo>
                    <a:pt x="1052" y="183"/>
                  </a:lnTo>
                  <a:lnTo>
                    <a:pt x="1053" y="198"/>
                  </a:lnTo>
                  <a:lnTo>
                    <a:pt x="1058" y="215"/>
                  </a:lnTo>
                  <a:lnTo>
                    <a:pt x="1052" y="218"/>
                  </a:lnTo>
                  <a:lnTo>
                    <a:pt x="1045" y="221"/>
                  </a:lnTo>
                  <a:lnTo>
                    <a:pt x="1038" y="215"/>
                  </a:lnTo>
                  <a:lnTo>
                    <a:pt x="1033" y="210"/>
                  </a:lnTo>
                  <a:lnTo>
                    <a:pt x="1032" y="210"/>
                  </a:lnTo>
                  <a:lnTo>
                    <a:pt x="1030" y="210"/>
                  </a:lnTo>
                  <a:lnTo>
                    <a:pt x="1028" y="213"/>
                  </a:lnTo>
                  <a:lnTo>
                    <a:pt x="1027" y="215"/>
                  </a:lnTo>
                  <a:lnTo>
                    <a:pt x="1033" y="220"/>
                  </a:lnTo>
                  <a:lnTo>
                    <a:pt x="1038" y="226"/>
                  </a:lnTo>
                  <a:lnTo>
                    <a:pt x="1038" y="228"/>
                  </a:lnTo>
                  <a:lnTo>
                    <a:pt x="1038" y="231"/>
                  </a:lnTo>
                  <a:lnTo>
                    <a:pt x="1035" y="231"/>
                  </a:lnTo>
                  <a:lnTo>
                    <a:pt x="1033" y="231"/>
                  </a:lnTo>
                  <a:lnTo>
                    <a:pt x="1017" y="226"/>
                  </a:lnTo>
                  <a:lnTo>
                    <a:pt x="1002" y="220"/>
                  </a:lnTo>
                  <a:lnTo>
                    <a:pt x="995" y="215"/>
                  </a:lnTo>
                  <a:lnTo>
                    <a:pt x="990" y="208"/>
                  </a:lnTo>
                  <a:lnTo>
                    <a:pt x="985" y="201"/>
                  </a:lnTo>
                  <a:lnTo>
                    <a:pt x="983" y="195"/>
                  </a:lnTo>
                  <a:lnTo>
                    <a:pt x="991" y="190"/>
                  </a:lnTo>
                  <a:lnTo>
                    <a:pt x="998" y="183"/>
                  </a:lnTo>
                  <a:lnTo>
                    <a:pt x="1002" y="181"/>
                  </a:lnTo>
                  <a:lnTo>
                    <a:pt x="1007" y="180"/>
                  </a:lnTo>
                  <a:lnTo>
                    <a:pt x="1013" y="178"/>
                  </a:lnTo>
                  <a:lnTo>
                    <a:pt x="1022" y="176"/>
                  </a:lnTo>
                  <a:lnTo>
                    <a:pt x="1025" y="181"/>
                  </a:lnTo>
                  <a:lnTo>
                    <a:pt x="1030" y="183"/>
                  </a:lnTo>
                  <a:lnTo>
                    <a:pt x="1035" y="183"/>
                  </a:lnTo>
                  <a:lnTo>
                    <a:pt x="1040" y="180"/>
                  </a:lnTo>
                  <a:lnTo>
                    <a:pt x="1040" y="180"/>
                  </a:lnTo>
                  <a:lnTo>
                    <a:pt x="1040" y="178"/>
                  </a:lnTo>
                  <a:lnTo>
                    <a:pt x="1038" y="176"/>
                  </a:lnTo>
                  <a:lnTo>
                    <a:pt x="1035" y="175"/>
                  </a:lnTo>
                  <a:lnTo>
                    <a:pt x="1030" y="173"/>
                  </a:lnTo>
                  <a:lnTo>
                    <a:pt x="1023" y="173"/>
                  </a:lnTo>
                  <a:lnTo>
                    <a:pt x="1023" y="164"/>
                  </a:lnTo>
                  <a:lnTo>
                    <a:pt x="1025" y="158"/>
                  </a:lnTo>
                  <a:lnTo>
                    <a:pt x="1015" y="153"/>
                  </a:lnTo>
                  <a:lnTo>
                    <a:pt x="1008" y="146"/>
                  </a:lnTo>
                  <a:lnTo>
                    <a:pt x="1002" y="138"/>
                  </a:lnTo>
                  <a:lnTo>
                    <a:pt x="995" y="129"/>
                  </a:lnTo>
                  <a:lnTo>
                    <a:pt x="976" y="134"/>
                  </a:lnTo>
                  <a:lnTo>
                    <a:pt x="955" y="138"/>
                  </a:lnTo>
                  <a:lnTo>
                    <a:pt x="955" y="143"/>
                  </a:lnTo>
                  <a:lnTo>
                    <a:pt x="955" y="149"/>
                  </a:lnTo>
                  <a:lnTo>
                    <a:pt x="948" y="153"/>
                  </a:lnTo>
                  <a:lnTo>
                    <a:pt x="941" y="158"/>
                  </a:lnTo>
                  <a:lnTo>
                    <a:pt x="941" y="163"/>
                  </a:lnTo>
                  <a:lnTo>
                    <a:pt x="941" y="166"/>
                  </a:lnTo>
                  <a:lnTo>
                    <a:pt x="940" y="169"/>
                  </a:lnTo>
                  <a:lnTo>
                    <a:pt x="936" y="173"/>
                  </a:lnTo>
                  <a:lnTo>
                    <a:pt x="925" y="173"/>
                  </a:lnTo>
                  <a:lnTo>
                    <a:pt x="911" y="175"/>
                  </a:lnTo>
                  <a:lnTo>
                    <a:pt x="913" y="178"/>
                  </a:lnTo>
                  <a:lnTo>
                    <a:pt x="913" y="180"/>
                  </a:lnTo>
                  <a:lnTo>
                    <a:pt x="901" y="180"/>
                  </a:lnTo>
                  <a:lnTo>
                    <a:pt x="889" y="183"/>
                  </a:lnTo>
                  <a:lnTo>
                    <a:pt x="879" y="186"/>
                  </a:lnTo>
                  <a:lnTo>
                    <a:pt x="866" y="190"/>
                  </a:lnTo>
                  <a:lnTo>
                    <a:pt x="861" y="186"/>
                  </a:lnTo>
                  <a:lnTo>
                    <a:pt x="858" y="183"/>
                  </a:lnTo>
                  <a:lnTo>
                    <a:pt x="854" y="181"/>
                  </a:lnTo>
                  <a:lnTo>
                    <a:pt x="847" y="180"/>
                  </a:lnTo>
                  <a:lnTo>
                    <a:pt x="846" y="183"/>
                  </a:lnTo>
                  <a:lnTo>
                    <a:pt x="844" y="186"/>
                  </a:lnTo>
                  <a:lnTo>
                    <a:pt x="849" y="188"/>
                  </a:lnTo>
                  <a:lnTo>
                    <a:pt x="853" y="190"/>
                  </a:lnTo>
                  <a:lnTo>
                    <a:pt x="856" y="191"/>
                  </a:lnTo>
                  <a:lnTo>
                    <a:pt x="858" y="195"/>
                  </a:lnTo>
                  <a:lnTo>
                    <a:pt x="858" y="200"/>
                  </a:lnTo>
                  <a:lnTo>
                    <a:pt x="858" y="205"/>
                  </a:lnTo>
                  <a:lnTo>
                    <a:pt x="842" y="206"/>
                  </a:lnTo>
                  <a:lnTo>
                    <a:pt x="827" y="206"/>
                  </a:lnTo>
                  <a:lnTo>
                    <a:pt x="827" y="211"/>
                  </a:lnTo>
                  <a:lnTo>
                    <a:pt x="827" y="211"/>
                  </a:lnTo>
                  <a:lnTo>
                    <a:pt x="826" y="213"/>
                  </a:lnTo>
                  <a:lnTo>
                    <a:pt x="821" y="213"/>
                  </a:lnTo>
                  <a:lnTo>
                    <a:pt x="812" y="208"/>
                  </a:lnTo>
                  <a:lnTo>
                    <a:pt x="801" y="205"/>
                  </a:lnTo>
                  <a:lnTo>
                    <a:pt x="801" y="206"/>
                  </a:lnTo>
                  <a:lnTo>
                    <a:pt x="801" y="206"/>
                  </a:lnTo>
                  <a:lnTo>
                    <a:pt x="802" y="208"/>
                  </a:lnTo>
                  <a:lnTo>
                    <a:pt x="804" y="208"/>
                  </a:lnTo>
                  <a:lnTo>
                    <a:pt x="811" y="213"/>
                  </a:lnTo>
                  <a:lnTo>
                    <a:pt x="817" y="218"/>
                  </a:lnTo>
                  <a:lnTo>
                    <a:pt x="806" y="220"/>
                  </a:lnTo>
                  <a:lnTo>
                    <a:pt x="794" y="223"/>
                  </a:lnTo>
                  <a:lnTo>
                    <a:pt x="784" y="228"/>
                  </a:lnTo>
                  <a:lnTo>
                    <a:pt x="776" y="233"/>
                  </a:lnTo>
                  <a:lnTo>
                    <a:pt x="757" y="245"/>
                  </a:lnTo>
                  <a:lnTo>
                    <a:pt x="739" y="255"/>
                  </a:lnTo>
                  <a:lnTo>
                    <a:pt x="740" y="263"/>
                  </a:lnTo>
                  <a:lnTo>
                    <a:pt x="740" y="272"/>
                  </a:lnTo>
                  <a:lnTo>
                    <a:pt x="745" y="275"/>
                  </a:lnTo>
                  <a:lnTo>
                    <a:pt x="752" y="278"/>
                  </a:lnTo>
                  <a:lnTo>
                    <a:pt x="752" y="280"/>
                  </a:lnTo>
                  <a:lnTo>
                    <a:pt x="752" y="283"/>
                  </a:lnTo>
                  <a:lnTo>
                    <a:pt x="747" y="287"/>
                  </a:lnTo>
                  <a:lnTo>
                    <a:pt x="742" y="288"/>
                  </a:lnTo>
                  <a:lnTo>
                    <a:pt x="742" y="290"/>
                  </a:lnTo>
                  <a:lnTo>
                    <a:pt x="742" y="290"/>
                  </a:lnTo>
                  <a:lnTo>
                    <a:pt x="755" y="290"/>
                  </a:lnTo>
                  <a:lnTo>
                    <a:pt x="765" y="292"/>
                  </a:lnTo>
                  <a:lnTo>
                    <a:pt x="772" y="295"/>
                  </a:lnTo>
                  <a:lnTo>
                    <a:pt x="779" y="298"/>
                  </a:lnTo>
                  <a:lnTo>
                    <a:pt x="787" y="308"/>
                  </a:lnTo>
                  <a:lnTo>
                    <a:pt x="799" y="317"/>
                  </a:lnTo>
                  <a:lnTo>
                    <a:pt x="811" y="317"/>
                  </a:lnTo>
                  <a:lnTo>
                    <a:pt x="821" y="320"/>
                  </a:lnTo>
                  <a:lnTo>
                    <a:pt x="821" y="325"/>
                  </a:lnTo>
                  <a:lnTo>
                    <a:pt x="821" y="332"/>
                  </a:lnTo>
                  <a:lnTo>
                    <a:pt x="819" y="337"/>
                  </a:lnTo>
                  <a:lnTo>
                    <a:pt x="817" y="344"/>
                  </a:lnTo>
                  <a:lnTo>
                    <a:pt x="816" y="349"/>
                  </a:lnTo>
                  <a:lnTo>
                    <a:pt x="814" y="355"/>
                  </a:lnTo>
                  <a:lnTo>
                    <a:pt x="816" y="362"/>
                  </a:lnTo>
                  <a:lnTo>
                    <a:pt x="817" y="369"/>
                  </a:lnTo>
                  <a:lnTo>
                    <a:pt x="826" y="367"/>
                  </a:lnTo>
                  <a:lnTo>
                    <a:pt x="834" y="367"/>
                  </a:lnTo>
                  <a:lnTo>
                    <a:pt x="842" y="357"/>
                  </a:lnTo>
                  <a:lnTo>
                    <a:pt x="849" y="344"/>
                  </a:lnTo>
                  <a:lnTo>
                    <a:pt x="854" y="330"/>
                  </a:lnTo>
                  <a:lnTo>
                    <a:pt x="858" y="318"/>
                  </a:lnTo>
                  <a:lnTo>
                    <a:pt x="871" y="317"/>
                  </a:lnTo>
                  <a:lnTo>
                    <a:pt x="881" y="313"/>
                  </a:lnTo>
                  <a:lnTo>
                    <a:pt x="889" y="308"/>
                  </a:lnTo>
                  <a:lnTo>
                    <a:pt x="899" y="303"/>
                  </a:lnTo>
                  <a:lnTo>
                    <a:pt x="899" y="285"/>
                  </a:lnTo>
                  <a:lnTo>
                    <a:pt x="899" y="268"/>
                  </a:lnTo>
                  <a:lnTo>
                    <a:pt x="906" y="263"/>
                  </a:lnTo>
                  <a:lnTo>
                    <a:pt x="911" y="257"/>
                  </a:lnTo>
                  <a:lnTo>
                    <a:pt x="914" y="250"/>
                  </a:lnTo>
                  <a:lnTo>
                    <a:pt x="918" y="243"/>
                  </a:lnTo>
                  <a:lnTo>
                    <a:pt x="923" y="236"/>
                  </a:lnTo>
                  <a:lnTo>
                    <a:pt x="926" y="230"/>
                  </a:lnTo>
                  <a:lnTo>
                    <a:pt x="933" y="225"/>
                  </a:lnTo>
                  <a:lnTo>
                    <a:pt x="940" y="223"/>
                  </a:lnTo>
                  <a:lnTo>
                    <a:pt x="948" y="226"/>
                  </a:lnTo>
                  <a:lnTo>
                    <a:pt x="955" y="226"/>
                  </a:lnTo>
                  <a:lnTo>
                    <a:pt x="961" y="225"/>
                  </a:lnTo>
                  <a:lnTo>
                    <a:pt x="970" y="223"/>
                  </a:lnTo>
                  <a:lnTo>
                    <a:pt x="973" y="230"/>
                  </a:lnTo>
                  <a:lnTo>
                    <a:pt x="978" y="235"/>
                  </a:lnTo>
                  <a:lnTo>
                    <a:pt x="985" y="240"/>
                  </a:lnTo>
                  <a:lnTo>
                    <a:pt x="991" y="245"/>
                  </a:lnTo>
                  <a:lnTo>
                    <a:pt x="988" y="257"/>
                  </a:lnTo>
                  <a:lnTo>
                    <a:pt x="983" y="270"/>
                  </a:lnTo>
                  <a:lnTo>
                    <a:pt x="990" y="275"/>
                  </a:lnTo>
                  <a:lnTo>
                    <a:pt x="996" y="278"/>
                  </a:lnTo>
                  <a:lnTo>
                    <a:pt x="1003" y="277"/>
                  </a:lnTo>
                  <a:lnTo>
                    <a:pt x="1010" y="275"/>
                  </a:lnTo>
                  <a:lnTo>
                    <a:pt x="1022" y="267"/>
                  </a:lnTo>
                  <a:lnTo>
                    <a:pt x="1033" y="255"/>
                  </a:lnTo>
                  <a:lnTo>
                    <a:pt x="1038" y="257"/>
                  </a:lnTo>
                  <a:lnTo>
                    <a:pt x="1040" y="260"/>
                  </a:lnTo>
                  <a:lnTo>
                    <a:pt x="1045" y="275"/>
                  </a:lnTo>
                  <a:lnTo>
                    <a:pt x="1048" y="292"/>
                  </a:lnTo>
                  <a:lnTo>
                    <a:pt x="1043" y="295"/>
                  </a:lnTo>
                  <a:lnTo>
                    <a:pt x="1038" y="298"/>
                  </a:lnTo>
                  <a:lnTo>
                    <a:pt x="1043" y="302"/>
                  </a:lnTo>
                  <a:lnTo>
                    <a:pt x="1045" y="307"/>
                  </a:lnTo>
                  <a:lnTo>
                    <a:pt x="1047" y="312"/>
                  </a:lnTo>
                  <a:lnTo>
                    <a:pt x="1047" y="317"/>
                  </a:lnTo>
                  <a:lnTo>
                    <a:pt x="1057" y="317"/>
                  </a:lnTo>
                  <a:lnTo>
                    <a:pt x="1067" y="318"/>
                  </a:lnTo>
                  <a:lnTo>
                    <a:pt x="1070" y="327"/>
                  </a:lnTo>
                  <a:lnTo>
                    <a:pt x="1072" y="337"/>
                  </a:lnTo>
                  <a:lnTo>
                    <a:pt x="1079" y="337"/>
                  </a:lnTo>
                  <a:lnTo>
                    <a:pt x="1084" y="335"/>
                  </a:lnTo>
                  <a:lnTo>
                    <a:pt x="1084" y="342"/>
                  </a:lnTo>
                  <a:lnTo>
                    <a:pt x="1084" y="350"/>
                  </a:lnTo>
                  <a:lnTo>
                    <a:pt x="1072" y="360"/>
                  </a:lnTo>
                  <a:lnTo>
                    <a:pt x="1052" y="372"/>
                  </a:lnTo>
                  <a:lnTo>
                    <a:pt x="1042" y="377"/>
                  </a:lnTo>
                  <a:lnTo>
                    <a:pt x="1032" y="380"/>
                  </a:lnTo>
                  <a:lnTo>
                    <a:pt x="1023" y="384"/>
                  </a:lnTo>
                  <a:lnTo>
                    <a:pt x="1015" y="384"/>
                  </a:lnTo>
                  <a:lnTo>
                    <a:pt x="1003" y="382"/>
                  </a:lnTo>
                  <a:lnTo>
                    <a:pt x="988" y="379"/>
                  </a:lnTo>
                  <a:lnTo>
                    <a:pt x="980" y="377"/>
                  </a:lnTo>
                  <a:lnTo>
                    <a:pt x="971" y="377"/>
                  </a:lnTo>
                  <a:lnTo>
                    <a:pt x="963" y="377"/>
                  </a:lnTo>
                  <a:lnTo>
                    <a:pt x="956" y="380"/>
                  </a:lnTo>
                  <a:lnTo>
                    <a:pt x="943" y="387"/>
                  </a:lnTo>
                  <a:lnTo>
                    <a:pt x="931" y="396"/>
                  </a:lnTo>
                  <a:lnTo>
                    <a:pt x="925" y="399"/>
                  </a:lnTo>
                  <a:lnTo>
                    <a:pt x="919" y="402"/>
                  </a:lnTo>
                  <a:lnTo>
                    <a:pt x="911" y="406"/>
                  </a:lnTo>
                  <a:lnTo>
                    <a:pt x="904" y="407"/>
                  </a:lnTo>
                  <a:lnTo>
                    <a:pt x="901" y="414"/>
                  </a:lnTo>
                  <a:lnTo>
                    <a:pt x="898" y="421"/>
                  </a:lnTo>
                  <a:lnTo>
                    <a:pt x="898" y="421"/>
                  </a:lnTo>
                  <a:lnTo>
                    <a:pt x="899" y="421"/>
                  </a:lnTo>
                  <a:lnTo>
                    <a:pt x="914" y="411"/>
                  </a:lnTo>
                  <a:lnTo>
                    <a:pt x="933" y="399"/>
                  </a:lnTo>
                  <a:lnTo>
                    <a:pt x="943" y="396"/>
                  </a:lnTo>
                  <a:lnTo>
                    <a:pt x="953" y="392"/>
                  </a:lnTo>
                  <a:lnTo>
                    <a:pt x="965" y="392"/>
                  </a:lnTo>
                  <a:lnTo>
                    <a:pt x="976" y="394"/>
                  </a:lnTo>
                  <a:lnTo>
                    <a:pt x="975" y="399"/>
                  </a:lnTo>
                  <a:lnTo>
                    <a:pt x="975" y="406"/>
                  </a:lnTo>
                  <a:lnTo>
                    <a:pt x="968" y="406"/>
                  </a:lnTo>
                  <a:lnTo>
                    <a:pt x="965" y="406"/>
                  </a:lnTo>
                  <a:lnTo>
                    <a:pt x="961" y="407"/>
                  </a:lnTo>
                  <a:lnTo>
                    <a:pt x="958" y="409"/>
                  </a:lnTo>
                  <a:lnTo>
                    <a:pt x="958" y="411"/>
                  </a:lnTo>
                  <a:lnTo>
                    <a:pt x="958" y="411"/>
                  </a:lnTo>
                  <a:lnTo>
                    <a:pt x="961" y="414"/>
                  </a:lnTo>
                  <a:lnTo>
                    <a:pt x="965" y="417"/>
                  </a:lnTo>
                  <a:lnTo>
                    <a:pt x="961" y="421"/>
                  </a:lnTo>
                  <a:lnTo>
                    <a:pt x="958" y="424"/>
                  </a:lnTo>
                  <a:lnTo>
                    <a:pt x="961" y="427"/>
                  </a:lnTo>
                  <a:lnTo>
                    <a:pt x="961" y="429"/>
                  </a:lnTo>
                  <a:lnTo>
                    <a:pt x="961" y="431"/>
                  </a:lnTo>
                  <a:lnTo>
                    <a:pt x="961" y="437"/>
                  </a:lnTo>
                  <a:lnTo>
                    <a:pt x="971" y="441"/>
                  </a:lnTo>
                  <a:lnTo>
                    <a:pt x="980" y="442"/>
                  </a:lnTo>
                  <a:lnTo>
                    <a:pt x="986" y="442"/>
                  </a:lnTo>
                  <a:lnTo>
                    <a:pt x="995" y="437"/>
                  </a:lnTo>
                  <a:lnTo>
                    <a:pt x="995" y="442"/>
                  </a:lnTo>
                  <a:lnTo>
                    <a:pt x="995" y="446"/>
                  </a:lnTo>
                  <a:lnTo>
                    <a:pt x="993" y="446"/>
                  </a:lnTo>
                  <a:lnTo>
                    <a:pt x="991" y="446"/>
                  </a:lnTo>
                  <a:lnTo>
                    <a:pt x="978" y="452"/>
                  </a:lnTo>
                  <a:lnTo>
                    <a:pt x="965" y="457"/>
                  </a:lnTo>
                  <a:lnTo>
                    <a:pt x="951" y="462"/>
                  </a:lnTo>
                  <a:lnTo>
                    <a:pt x="938" y="471"/>
                  </a:lnTo>
                  <a:lnTo>
                    <a:pt x="933" y="469"/>
                  </a:lnTo>
                  <a:lnTo>
                    <a:pt x="930" y="468"/>
                  </a:lnTo>
                  <a:lnTo>
                    <a:pt x="928" y="466"/>
                  </a:lnTo>
                  <a:lnTo>
                    <a:pt x="928" y="462"/>
                  </a:lnTo>
                  <a:lnTo>
                    <a:pt x="928" y="461"/>
                  </a:lnTo>
                  <a:lnTo>
                    <a:pt x="930" y="457"/>
                  </a:lnTo>
                  <a:lnTo>
                    <a:pt x="943" y="454"/>
                  </a:lnTo>
                  <a:lnTo>
                    <a:pt x="958" y="449"/>
                  </a:lnTo>
                  <a:lnTo>
                    <a:pt x="958" y="447"/>
                  </a:lnTo>
                  <a:lnTo>
                    <a:pt x="958" y="446"/>
                  </a:lnTo>
                  <a:lnTo>
                    <a:pt x="958" y="444"/>
                  </a:lnTo>
                  <a:lnTo>
                    <a:pt x="958" y="442"/>
                  </a:lnTo>
                  <a:lnTo>
                    <a:pt x="950" y="442"/>
                  </a:lnTo>
                  <a:lnTo>
                    <a:pt x="943" y="441"/>
                  </a:lnTo>
                  <a:lnTo>
                    <a:pt x="928" y="452"/>
                  </a:lnTo>
                  <a:lnTo>
                    <a:pt x="908" y="462"/>
                  </a:lnTo>
                  <a:lnTo>
                    <a:pt x="889" y="471"/>
                  </a:lnTo>
                  <a:lnTo>
                    <a:pt x="871" y="481"/>
                  </a:lnTo>
                  <a:lnTo>
                    <a:pt x="869" y="488"/>
                  </a:lnTo>
                  <a:lnTo>
                    <a:pt x="869" y="496"/>
                  </a:lnTo>
                  <a:lnTo>
                    <a:pt x="858" y="501"/>
                  </a:lnTo>
                  <a:lnTo>
                    <a:pt x="844" y="506"/>
                  </a:lnTo>
                  <a:lnTo>
                    <a:pt x="832" y="513"/>
                  </a:lnTo>
                  <a:lnTo>
                    <a:pt x="821" y="519"/>
                  </a:lnTo>
                  <a:lnTo>
                    <a:pt x="811" y="528"/>
                  </a:lnTo>
                  <a:lnTo>
                    <a:pt x="801" y="538"/>
                  </a:lnTo>
                  <a:lnTo>
                    <a:pt x="792" y="546"/>
                  </a:lnTo>
                  <a:lnTo>
                    <a:pt x="786" y="556"/>
                  </a:lnTo>
                  <a:lnTo>
                    <a:pt x="782" y="566"/>
                  </a:lnTo>
                  <a:lnTo>
                    <a:pt x="781" y="573"/>
                  </a:lnTo>
                  <a:lnTo>
                    <a:pt x="777" y="580"/>
                  </a:lnTo>
                  <a:lnTo>
                    <a:pt x="772" y="585"/>
                  </a:lnTo>
                  <a:lnTo>
                    <a:pt x="754" y="596"/>
                  </a:lnTo>
                  <a:lnTo>
                    <a:pt x="732" y="610"/>
                  </a:lnTo>
                  <a:lnTo>
                    <a:pt x="722" y="617"/>
                  </a:lnTo>
                  <a:lnTo>
                    <a:pt x="712" y="623"/>
                  </a:lnTo>
                  <a:lnTo>
                    <a:pt x="705" y="632"/>
                  </a:lnTo>
                  <a:lnTo>
                    <a:pt x="700" y="640"/>
                  </a:lnTo>
                  <a:lnTo>
                    <a:pt x="698" y="648"/>
                  </a:lnTo>
                  <a:lnTo>
                    <a:pt x="698" y="657"/>
                  </a:lnTo>
                  <a:lnTo>
                    <a:pt x="698" y="667"/>
                  </a:lnTo>
                  <a:lnTo>
                    <a:pt x="700" y="677"/>
                  </a:lnTo>
                  <a:lnTo>
                    <a:pt x="702" y="687"/>
                  </a:lnTo>
                  <a:lnTo>
                    <a:pt x="704" y="697"/>
                  </a:lnTo>
                  <a:lnTo>
                    <a:pt x="704" y="705"/>
                  </a:lnTo>
                  <a:lnTo>
                    <a:pt x="702" y="715"/>
                  </a:lnTo>
                  <a:lnTo>
                    <a:pt x="693" y="715"/>
                  </a:lnTo>
                  <a:lnTo>
                    <a:pt x="687" y="714"/>
                  </a:lnTo>
                  <a:lnTo>
                    <a:pt x="683" y="702"/>
                  </a:lnTo>
                  <a:lnTo>
                    <a:pt x="678" y="694"/>
                  </a:lnTo>
                  <a:lnTo>
                    <a:pt x="678" y="680"/>
                  </a:lnTo>
                  <a:lnTo>
                    <a:pt x="680" y="665"/>
                  </a:lnTo>
                  <a:lnTo>
                    <a:pt x="677" y="660"/>
                  </a:lnTo>
                  <a:lnTo>
                    <a:pt x="672" y="657"/>
                  </a:lnTo>
                  <a:lnTo>
                    <a:pt x="665" y="653"/>
                  </a:lnTo>
                  <a:lnTo>
                    <a:pt x="657" y="652"/>
                  </a:lnTo>
                  <a:lnTo>
                    <a:pt x="642" y="648"/>
                  </a:lnTo>
                  <a:lnTo>
                    <a:pt x="627" y="643"/>
                  </a:lnTo>
                  <a:lnTo>
                    <a:pt x="615" y="653"/>
                  </a:lnTo>
                  <a:lnTo>
                    <a:pt x="605" y="663"/>
                  </a:lnTo>
                  <a:lnTo>
                    <a:pt x="591" y="660"/>
                  </a:lnTo>
                  <a:lnTo>
                    <a:pt x="576" y="657"/>
                  </a:lnTo>
                  <a:lnTo>
                    <a:pt x="561" y="657"/>
                  </a:lnTo>
                  <a:lnTo>
                    <a:pt x="548" y="660"/>
                  </a:lnTo>
                  <a:lnTo>
                    <a:pt x="533" y="663"/>
                  </a:lnTo>
                  <a:lnTo>
                    <a:pt x="521" y="670"/>
                  </a:lnTo>
                  <a:lnTo>
                    <a:pt x="516" y="675"/>
                  </a:lnTo>
                  <a:lnTo>
                    <a:pt x="511" y="680"/>
                  </a:lnTo>
                  <a:lnTo>
                    <a:pt x="508" y="685"/>
                  </a:lnTo>
                  <a:lnTo>
                    <a:pt x="504" y="690"/>
                  </a:lnTo>
                  <a:lnTo>
                    <a:pt x="503" y="700"/>
                  </a:lnTo>
                  <a:lnTo>
                    <a:pt x="501" y="710"/>
                  </a:lnTo>
                  <a:lnTo>
                    <a:pt x="494" y="720"/>
                  </a:lnTo>
                  <a:lnTo>
                    <a:pt x="489" y="732"/>
                  </a:lnTo>
                  <a:lnTo>
                    <a:pt x="488" y="739"/>
                  </a:lnTo>
                  <a:lnTo>
                    <a:pt x="486" y="745"/>
                  </a:lnTo>
                  <a:lnTo>
                    <a:pt x="484" y="752"/>
                  </a:lnTo>
                  <a:lnTo>
                    <a:pt x="484" y="761"/>
                  </a:lnTo>
                  <a:lnTo>
                    <a:pt x="488" y="774"/>
                  </a:lnTo>
                  <a:lnTo>
                    <a:pt x="494" y="789"/>
                  </a:lnTo>
                  <a:lnTo>
                    <a:pt x="501" y="801"/>
                  </a:lnTo>
                  <a:lnTo>
                    <a:pt x="506" y="812"/>
                  </a:lnTo>
                  <a:lnTo>
                    <a:pt x="529" y="812"/>
                  </a:lnTo>
                  <a:lnTo>
                    <a:pt x="555" y="811"/>
                  </a:lnTo>
                  <a:lnTo>
                    <a:pt x="558" y="802"/>
                  </a:lnTo>
                  <a:lnTo>
                    <a:pt x="563" y="792"/>
                  </a:lnTo>
                  <a:lnTo>
                    <a:pt x="570" y="784"/>
                  </a:lnTo>
                  <a:lnTo>
                    <a:pt x="576" y="776"/>
                  </a:lnTo>
                  <a:lnTo>
                    <a:pt x="585" y="771"/>
                  </a:lnTo>
                  <a:lnTo>
                    <a:pt x="595" y="767"/>
                  </a:lnTo>
                  <a:lnTo>
                    <a:pt x="600" y="766"/>
                  </a:lnTo>
                  <a:lnTo>
                    <a:pt x="605" y="767"/>
                  </a:lnTo>
                  <a:lnTo>
                    <a:pt x="611" y="767"/>
                  </a:lnTo>
                  <a:lnTo>
                    <a:pt x="618" y="771"/>
                  </a:lnTo>
                  <a:lnTo>
                    <a:pt x="618" y="772"/>
                  </a:lnTo>
                  <a:lnTo>
                    <a:pt x="618" y="772"/>
                  </a:lnTo>
                  <a:lnTo>
                    <a:pt x="618" y="776"/>
                  </a:lnTo>
                  <a:lnTo>
                    <a:pt x="616" y="781"/>
                  </a:lnTo>
                  <a:lnTo>
                    <a:pt x="610" y="782"/>
                  </a:lnTo>
                  <a:lnTo>
                    <a:pt x="605" y="789"/>
                  </a:lnTo>
                  <a:lnTo>
                    <a:pt x="598" y="796"/>
                  </a:lnTo>
                  <a:lnTo>
                    <a:pt x="595" y="806"/>
                  </a:lnTo>
                  <a:lnTo>
                    <a:pt x="591" y="814"/>
                  </a:lnTo>
                  <a:lnTo>
                    <a:pt x="588" y="824"/>
                  </a:lnTo>
                  <a:lnTo>
                    <a:pt x="588" y="833"/>
                  </a:lnTo>
                  <a:lnTo>
                    <a:pt x="588" y="839"/>
                  </a:lnTo>
                  <a:lnTo>
                    <a:pt x="603" y="843"/>
                  </a:lnTo>
                  <a:lnTo>
                    <a:pt x="618" y="843"/>
                  </a:lnTo>
                  <a:lnTo>
                    <a:pt x="623" y="843"/>
                  </a:lnTo>
                  <a:lnTo>
                    <a:pt x="630" y="844"/>
                  </a:lnTo>
                  <a:lnTo>
                    <a:pt x="637" y="848"/>
                  </a:lnTo>
                  <a:lnTo>
                    <a:pt x="643" y="851"/>
                  </a:lnTo>
                  <a:lnTo>
                    <a:pt x="643" y="853"/>
                  </a:lnTo>
                  <a:lnTo>
                    <a:pt x="645" y="854"/>
                  </a:lnTo>
                  <a:lnTo>
                    <a:pt x="642" y="878"/>
                  </a:lnTo>
                  <a:lnTo>
                    <a:pt x="638" y="896"/>
                  </a:lnTo>
                  <a:lnTo>
                    <a:pt x="638" y="906"/>
                  </a:lnTo>
                  <a:lnTo>
                    <a:pt x="638" y="915"/>
                  </a:lnTo>
                  <a:lnTo>
                    <a:pt x="640" y="926"/>
                  </a:lnTo>
                  <a:lnTo>
                    <a:pt x="645" y="938"/>
                  </a:lnTo>
                  <a:lnTo>
                    <a:pt x="670" y="933"/>
                  </a:lnTo>
                  <a:lnTo>
                    <a:pt x="688" y="931"/>
                  </a:lnTo>
                  <a:lnTo>
                    <a:pt x="695" y="935"/>
                  </a:lnTo>
                  <a:lnTo>
                    <a:pt x="700" y="940"/>
                  </a:lnTo>
                  <a:lnTo>
                    <a:pt x="704" y="946"/>
                  </a:lnTo>
                  <a:lnTo>
                    <a:pt x="705" y="953"/>
                  </a:lnTo>
                  <a:lnTo>
                    <a:pt x="709" y="951"/>
                  </a:lnTo>
                  <a:lnTo>
                    <a:pt x="710" y="950"/>
                  </a:lnTo>
                  <a:lnTo>
                    <a:pt x="715" y="941"/>
                  </a:lnTo>
                  <a:lnTo>
                    <a:pt x="722" y="936"/>
                  </a:lnTo>
                  <a:lnTo>
                    <a:pt x="724" y="933"/>
                  </a:lnTo>
                  <a:lnTo>
                    <a:pt x="725" y="930"/>
                  </a:lnTo>
                  <a:lnTo>
                    <a:pt x="727" y="923"/>
                  </a:lnTo>
                  <a:lnTo>
                    <a:pt x="729" y="916"/>
                  </a:lnTo>
                  <a:lnTo>
                    <a:pt x="752" y="908"/>
                  </a:lnTo>
                  <a:lnTo>
                    <a:pt x="776" y="899"/>
                  </a:lnTo>
                  <a:lnTo>
                    <a:pt x="777" y="899"/>
                  </a:lnTo>
                  <a:lnTo>
                    <a:pt x="779" y="901"/>
                  </a:lnTo>
                  <a:lnTo>
                    <a:pt x="776" y="910"/>
                  </a:lnTo>
                  <a:lnTo>
                    <a:pt x="774" y="921"/>
                  </a:lnTo>
                  <a:lnTo>
                    <a:pt x="774" y="928"/>
                  </a:lnTo>
                  <a:lnTo>
                    <a:pt x="776" y="933"/>
                  </a:lnTo>
                  <a:lnTo>
                    <a:pt x="777" y="938"/>
                  </a:lnTo>
                  <a:lnTo>
                    <a:pt x="782" y="940"/>
                  </a:lnTo>
                  <a:lnTo>
                    <a:pt x="781" y="928"/>
                  </a:lnTo>
                  <a:lnTo>
                    <a:pt x="781" y="916"/>
                  </a:lnTo>
                  <a:lnTo>
                    <a:pt x="789" y="911"/>
                  </a:lnTo>
                  <a:lnTo>
                    <a:pt x="799" y="905"/>
                  </a:lnTo>
                  <a:lnTo>
                    <a:pt x="811" y="908"/>
                  </a:lnTo>
                  <a:lnTo>
                    <a:pt x="822" y="913"/>
                  </a:lnTo>
                  <a:lnTo>
                    <a:pt x="834" y="920"/>
                  </a:lnTo>
                  <a:lnTo>
                    <a:pt x="849" y="923"/>
                  </a:lnTo>
                  <a:lnTo>
                    <a:pt x="864" y="920"/>
                  </a:lnTo>
                  <a:lnTo>
                    <a:pt x="881" y="918"/>
                  </a:lnTo>
                  <a:lnTo>
                    <a:pt x="883" y="925"/>
                  </a:lnTo>
                  <a:lnTo>
                    <a:pt x="888" y="930"/>
                  </a:lnTo>
                  <a:lnTo>
                    <a:pt x="893" y="931"/>
                  </a:lnTo>
                  <a:lnTo>
                    <a:pt x="901" y="935"/>
                  </a:lnTo>
                  <a:lnTo>
                    <a:pt x="901" y="938"/>
                  </a:lnTo>
                  <a:lnTo>
                    <a:pt x="901" y="943"/>
                  </a:lnTo>
                  <a:lnTo>
                    <a:pt x="911" y="946"/>
                  </a:lnTo>
                  <a:lnTo>
                    <a:pt x="923" y="950"/>
                  </a:lnTo>
                  <a:lnTo>
                    <a:pt x="928" y="960"/>
                  </a:lnTo>
                  <a:lnTo>
                    <a:pt x="933" y="970"/>
                  </a:lnTo>
                  <a:lnTo>
                    <a:pt x="941" y="978"/>
                  </a:lnTo>
                  <a:lnTo>
                    <a:pt x="950" y="985"/>
                  </a:lnTo>
                  <a:lnTo>
                    <a:pt x="966" y="985"/>
                  </a:lnTo>
                  <a:lnTo>
                    <a:pt x="981" y="987"/>
                  </a:lnTo>
                  <a:lnTo>
                    <a:pt x="996" y="992"/>
                  </a:lnTo>
                  <a:lnTo>
                    <a:pt x="1007" y="998"/>
                  </a:lnTo>
                  <a:lnTo>
                    <a:pt x="1017" y="1008"/>
                  </a:lnTo>
                  <a:lnTo>
                    <a:pt x="1023" y="1020"/>
                  </a:lnTo>
                  <a:lnTo>
                    <a:pt x="1028" y="1033"/>
                  </a:lnTo>
                  <a:lnTo>
                    <a:pt x="1030" y="1050"/>
                  </a:lnTo>
                  <a:lnTo>
                    <a:pt x="1022" y="1057"/>
                  </a:lnTo>
                  <a:lnTo>
                    <a:pt x="1017" y="1064"/>
                  </a:lnTo>
                  <a:lnTo>
                    <a:pt x="1013" y="1072"/>
                  </a:lnTo>
                  <a:lnTo>
                    <a:pt x="1008" y="1080"/>
                  </a:lnTo>
                  <a:lnTo>
                    <a:pt x="1018" y="1079"/>
                  </a:lnTo>
                  <a:lnTo>
                    <a:pt x="1025" y="1080"/>
                  </a:lnTo>
                  <a:lnTo>
                    <a:pt x="1032" y="1085"/>
                  </a:lnTo>
                  <a:lnTo>
                    <a:pt x="1037" y="1090"/>
                  </a:lnTo>
                  <a:lnTo>
                    <a:pt x="1045" y="1085"/>
                  </a:lnTo>
                  <a:lnTo>
                    <a:pt x="1050" y="1080"/>
                  </a:lnTo>
                  <a:lnTo>
                    <a:pt x="1053" y="1077"/>
                  </a:lnTo>
                  <a:lnTo>
                    <a:pt x="1057" y="1074"/>
                  </a:lnTo>
                  <a:lnTo>
                    <a:pt x="1062" y="1072"/>
                  </a:lnTo>
                  <a:lnTo>
                    <a:pt x="1067" y="1070"/>
                  </a:lnTo>
                  <a:lnTo>
                    <a:pt x="1077" y="1077"/>
                  </a:lnTo>
                  <a:lnTo>
                    <a:pt x="1084" y="1084"/>
                  </a:lnTo>
                  <a:lnTo>
                    <a:pt x="1090" y="1092"/>
                  </a:lnTo>
                  <a:lnTo>
                    <a:pt x="1095" y="1104"/>
                  </a:lnTo>
                  <a:lnTo>
                    <a:pt x="1102" y="1100"/>
                  </a:lnTo>
                  <a:lnTo>
                    <a:pt x="1110" y="1100"/>
                  </a:lnTo>
                  <a:lnTo>
                    <a:pt x="1120" y="1100"/>
                  </a:lnTo>
                  <a:lnTo>
                    <a:pt x="1130" y="1100"/>
                  </a:lnTo>
                  <a:lnTo>
                    <a:pt x="1140" y="1104"/>
                  </a:lnTo>
                  <a:lnTo>
                    <a:pt x="1151" y="1105"/>
                  </a:lnTo>
                  <a:lnTo>
                    <a:pt x="1161" y="1110"/>
                  </a:lnTo>
                  <a:lnTo>
                    <a:pt x="1171" y="1114"/>
                  </a:lnTo>
                  <a:lnTo>
                    <a:pt x="1181" y="1121"/>
                  </a:lnTo>
                  <a:lnTo>
                    <a:pt x="1189" y="1126"/>
                  </a:lnTo>
                  <a:lnTo>
                    <a:pt x="1196" y="1132"/>
                  </a:lnTo>
                  <a:lnTo>
                    <a:pt x="1202" y="1141"/>
                  </a:lnTo>
                  <a:lnTo>
                    <a:pt x="1207" y="1149"/>
                  </a:lnTo>
                  <a:lnTo>
                    <a:pt x="1211" y="1157"/>
                  </a:lnTo>
                  <a:lnTo>
                    <a:pt x="1212" y="1166"/>
                  </a:lnTo>
                  <a:lnTo>
                    <a:pt x="1211" y="1174"/>
                  </a:lnTo>
                  <a:lnTo>
                    <a:pt x="1209" y="1184"/>
                  </a:lnTo>
                  <a:lnTo>
                    <a:pt x="1204" y="1192"/>
                  </a:lnTo>
                  <a:lnTo>
                    <a:pt x="1199" y="1201"/>
                  </a:lnTo>
                  <a:lnTo>
                    <a:pt x="1194" y="1209"/>
                  </a:lnTo>
                  <a:lnTo>
                    <a:pt x="1181" y="1226"/>
                  </a:lnTo>
                  <a:lnTo>
                    <a:pt x="1167" y="1239"/>
                  </a:lnTo>
                  <a:lnTo>
                    <a:pt x="1167" y="1263"/>
                  </a:lnTo>
                  <a:lnTo>
                    <a:pt x="1166" y="1288"/>
                  </a:lnTo>
                  <a:lnTo>
                    <a:pt x="1166" y="1301"/>
                  </a:lnTo>
                  <a:lnTo>
                    <a:pt x="1164" y="1315"/>
                  </a:lnTo>
                  <a:lnTo>
                    <a:pt x="1162" y="1328"/>
                  </a:lnTo>
                  <a:lnTo>
                    <a:pt x="1159" y="1338"/>
                  </a:lnTo>
                  <a:lnTo>
                    <a:pt x="1156" y="1350"/>
                  </a:lnTo>
                  <a:lnTo>
                    <a:pt x="1151" y="1360"/>
                  </a:lnTo>
                  <a:lnTo>
                    <a:pt x="1144" y="1368"/>
                  </a:lnTo>
                  <a:lnTo>
                    <a:pt x="1137" y="1377"/>
                  </a:lnTo>
                  <a:lnTo>
                    <a:pt x="1119" y="1378"/>
                  </a:lnTo>
                  <a:lnTo>
                    <a:pt x="1104" y="1382"/>
                  </a:lnTo>
                  <a:lnTo>
                    <a:pt x="1097" y="1383"/>
                  </a:lnTo>
                  <a:lnTo>
                    <a:pt x="1092" y="1387"/>
                  </a:lnTo>
                  <a:lnTo>
                    <a:pt x="1087" y="1392"/>
                  </a:lnTo>
                  <a:lnTo>
                    <a:pt x="1082" y="1395"/>
                  </a:lnTo>
                  <a:lnTo>
                    <a:pt x="1075" y="1407"/>
                  </a:lnTo>
                  <a:lnTo>
                    <a:pt x="1070" y="1420"/>
                  </a:lnTo>
                  <a:lnTo>
                    <a:pt x="1068" y="1437"/>
                  </a:lnTo>
                  <a:lnTo>
                    <a:pt x="1068" y="1455"/>
                  </a:lnTo>
                  <a:lnTo>
                    <a:pt x="1058" y="1462"/>
                  </a:lnTo>
                  <a:lnTo>
                    <a:pt x="1052" y="1470"/>
                  </a:lnTo>
                  <a:lnTo>
                    <a:pt x="1045" y="1479"/>
                  </a:lnTo>
                  <a:lnTo>
                    <a:pt x="1040" y="1489"/>
                  </a:lnTo>
                  <a:lnTo>
                    <a:pt x="1033" y="1511"/>
                  </a:lnTo>
                  <a:lnTo>
                    <a:pt x="1023" y="1534"/>
                  </a:lnTo>
                  <a:lnTo>
                    <a:pt x="1002" y="1534"/>
                  </a:lnTo>
                  <a:lnTo>
                    <a:pt x="983" y="1532"/>
                  </a:lnTo>
                  <a:lnTo>
                    <a:pt x="990" y="1541"/>
                  </a:lnTo>
                  <a:lnTo>
                    <a:pt x="996" y="1552"/>
                  </a:lnTo>
                  <a:lnTo>
                    <a:pt x="1000" y="1558"/>
                  </a:lnTo>
                  <a:lnTo>
                    <a:pt x="1002" y="1563"/>
                  </a:lnTo>
                  <a:lnTo>
                    <a:pt x="1003" y="1569"/>
                  </a:lnTo>
                  <a:lnTo>
                    <a:pt x="1002" y="1573"/>
                  </a:lnTo>
                  <a:lnTo>
                    <a:pt x="996" y="1579"/>
                  </a:lnTo>
                  <a:lnTo>
                    <a:pt x="990" y="1584"/>
                  </a:lnTo>
                  <a:lnTo>
                    <a:pt x="981" y="1586"/>
                  </a:lnTo>
                  <a:lnTo>
                    <a:pt x="973" y="1588"/>
                  </a:lnTo>
                  <a:lnTo>
                    <a:pt x="956" y="1591"/>
                  </a:lnTo>
                  <a:lnTo>
                    <a:pt x="943" y="1596"/>
                  </a:lnTo>
                  <a:lnTo>
                    <a:pt x="946" y="1601"/>
                  </a:lnTo>
                  <a:lnTo>
                    <a:pt x="950" y="1606"/>
                  </a:lnTo>
                  <a:lnTo>
                    <a:pt x="950" y="1613"/>
                  </a:lnTo>
                  <a:lnTo>
                    <a:pt x="948" y="1621"/>
                  </a:lnTo>
                  <a:lnTo>
                    <a:pt x="946" y="1621"/>
                  </a:lnTo>
                  <a:lnTo>
                    <a:pt x="946" y="1621"/>
                  </a:lnTo>
                  <a:lnTo>
                    <a:pt x="936" y="1618"/>
                  </a:lnTo>
                  <a:lnTo>
                    <a:pt x="926" y="1619"/>
                  </a:lnTo>
                  <a:lnTo>
                    <a:pt x="926" y="1619"/>
                  </a:lnTo>
                  <a:lnTo>
                    <a:pt x="926" y="1621"/>
                  </a:lnTo>
                  <a:lnTo>
                    <a:pt x="933" y="1629"/>
                  </a:lnTo>
                  <a:lnTo>
                    <a:pt x="938" y="1640"/>
                  </a:lnTo>
                  <a:lnTo>
                    <a:pt x="936" y="1656"/>
                  </a:lnTo>
                  <a:lnTo>
                    <a:pt x="933" y="1671"/>
                  </a:lnTo>
                  <a:lnTo>
                    <a:pt x="926" y="1673"/>
                  </a:lnTo>
                  <a:lnTo>
                    <a:pt x="921" y="1676"/>
                  </a:lnTo>
                  <a:lnTo>
                    <a:pt x="921" y="1683"/>
                  </a:lnTo>
                  <a:lnTo>
                    <a:pt x="923" y="1688"/>
                  </a:lnTo>
                  <a:lnTo>
                    <a:pt x="925" y="1690"/>
                  </a:lnTo>
                  <a:lnTo>
                    <a:pt x="928" y="1695"/>
                  </a:lnTo>
                  <a:lnTo>
                    <a:pt x="938" y="1696"/>
                  </a:lnTo>
                  <a:lnTo>
                    <a:pt x="945" y="1701"/>
                  </a:lnTo>
                  <a:lnTo>
                    <a:pt x="945" y="1710"/>
                  </a:lnTo>
                  <a:lnTo>
                    <a:pt x="943" y="1718"/>
                  </a:lnTo>
                  <a:lnTo>
                    <a:pt x="940" y="1725"/>
                  </a:lnTo>
                  <a:lnTo>
                    <a:pt x="938" y="1732"/>
                  </a:lnTo>
                  <a:lnTo>
                    <a:pt x="933" y="1743"/>
                  </a:lnTo>
                  <a:lnTo>
                    <a:pt x="930" y="1758"/>
                  </a:lnTo>
                  <a:lnTo>
                    <a:pt x="941" y="1767"/>
                  </a:lnTo>
                  <a:lnTo>
                    <a:pt x="961" y="1780"/>
                  </a:lnTo>
                  <a:lnTo>
                    <a:pt x="981" y="1795"/>
                  </a:lnTo>
                  <a:lnTo>
                    <a:pt x="990" y="1804"/>
                  </a:lnTo>
                  <a:lnTo>
                    <a:pt x="968" y="1804"/>
                  </a:lnTo>
                  <a:lnTo>
                    <a:pt x="950" y="1802"/>
                  </a:lnTo>
                  <a:lnTo>
                    <a:pt x="936" y="1799"/>
                  </a:lnTo>
                  <a:lnTo>
                    <a:pt x="925" y="1792"/>
                  </a:lnTo>
                  <a:lnTo>
                    <a:pt x="904" y="1775"/>
                  </a:lnTo>
                  <a:lnTo>
                    <a:pt x="878" y="1757"/>
                  </a:lnTo>
                  <a:lnTo>
                    <a:pt x="878" y="1752"/>
                  </a:lnTo>
                  <a:lnTo>
                    <a:pt x="879" y="1747"/>
                  </a:lnTo>
                  <a:lnTo>
                    <a:pt x="879" y="1742"/>
                  </a:lnTo>
                  <a:lnTo>
                    <a:pt x="876" y="1738"/>
                  </a:lnTo>
                  <a:lnTo>
                    <a:pt x="861" y="1727"/>
                  </a:lnTo>
                  <a:lnTo>
                    <a:pt x="847" y="1712"/>
                  </a:lnTo>
                  <a:lnTo>
                    <a:pt x="856" y="1712"/>
                  </a:lnTo>
                  <a:lnTo>
                    <a:pt x="864" y="1713"/>
                  </a:lnTo>
                  <a:lnTo>
                    <a:pt x="864" y="1710"/>
                  </a:lnTo>
                  <a:lnTo>
                    <a:pt x="863" y="1708"/>
                  </a:lnTo>
                  <a:lnTo>
                    <a:pt x="856" y="1705"/>
                  </a:lnTo>
                  <a:lnTo>
                    <a:pt x="847" y="1700"/>
                  </a:lnTo>
                  <a:lnTo>
                    <a:pt x="839" y="1695"/>
                  </a:lnTo>
                  <a:lnTo>
                    <a:pt x="834" y="1688"/>
                  </a:lnTo>
                  <a:lnTo>
                    <a:pt x="839" y="1686"/>
                  </a:lnTo>
                  <a:lnTo>
                    <a:pt x="844" y="1686"/>
                  </a:lnTo>
                  <a:lnTo>
                    <a:pt x="844" y="1681"/>
                  </a:lnTo>
                  <a:lnTo>
                    <a:pt x="844" y="1676"/>
                  </a:lnTo>
                  <a:lnTo>
                    <a:pt x="851" y="1676"/>
                  </a:lnTo>
                  <a:lnTo>
                    <a:pt x="858" y="1676"/>
                  </a:lnTo>
                  <a:lnTo>
                    <a:pt x="858" y="1671"/>
                  </a:lnTo>
                  <a:lnTo>
                    <a:pt x="858" y="1666"/>
                  </a:lnTo>
                  <a:lnTo>
                    <a:pt x="854" y="1663"/>
                  </a:lnTo>
                  <a:lnTo>
                    <a:pt x="851" y="1660"/>
                  </a:lnTo>
                  <a:lnTo>
                    <a:pt x="849" y="1656"/>
                  </a:lnTo>
                  <a:lnTo>
                    <a:pt x="847" y="1653"/>
                  </a:lnTo>
                  <a:lnTo>
                    <a:pt x="847" y="1643"/>
                  </a:lnTo>
                  <a:lnTo>
                    <a:pt x="849" y="1631"/>
                  </a:lnTo>
                  <a:lnTo>
                    <a:pt x="842" y="1628"/>
                  </a:lnTo>
                  <a:lnTo>
                    <a:pt x="839" y="1621"/>
                  </a:lnTo>
                  <a:lnTo>
                    <a:pt x="837" y="1621"/>
                  </a:lnTo>
                  <a:lnTo>
                    <a:pt x="836" y="1621"/>
                  </a:lnTo>
                  <a:lnTo>
                    <a:pt x="834" y="1631"/>
                  </a:lnTo>
                  <a:lnTo>
                    <a:pt x="832" y="1641"/>
                  </a:lnTo>
                  <a:lnTo>
                    <a:pt x="832" y="1640"/>
                  </a:lnTo>
                  <a:lnTo>
                    <a:pt x="831" y="1640"/>
                  </a:lnTo>
                  <a:lnTo>
                    <a:pt x="829" y="1619"/>
                  </a:lnTo>
                  <a:lnTo>
                    <a:pt x="824" y="1601"/>
                  </a:lnTo>
                  <a:lnTo>
                    <a:pt x="821" y="1581"/>
                  </a:lnTo>
                  <a:lnTo>
                    <a:pt x="816" y="1563"/>
                  </a:lnTo>
                  <a:lnTo>
                    <a:pt x="816" y="1546"/>
                  </a:lnTo>
                  <a:lnTo>
                    <a:pt x="817" y="1531"/>
                  </a:lnTo>
                  <a:lnTo>
                    <a:pt x="817" y="1514"/>
                  </a:lnTo>
                  <a:lnTo>
                    <a:pt x="817" y="1497"/>
                  </a:lnTo>
                  <a:lnTo>
                    <a:pt x="812" y="1474"/>
                  </a:lnTo>
                  <a:lnTo>
                    <a:pt x="811" y="1445"/>
                  </a:lnTo>
                  <a:lnTo>
                    <a:pt x="809" y="1419"/>
                  </a:lnTo>
                  <a:lnTo>
                    <a:pt x="806" y="1392"/>
                  </a:lnTo>
                  <a:lnTo>
                    <a:pt x="802" y="1368"/>
                  </a:lnTo>
                  <a:lnTo>
                    <a:pt x="802" y="1347"/>
                  </a:lnTo>
                  <a:lnTo>
                    <a:pt x="802" y="1336"/>
                  </a:lnTo>
                  <a:lnTo>
                    <a:pt x="801" y="1326"/>
                  </a:lnTo>
                  <a:lnTo>
                    <a:pt x="799" y="1316"/>
                  </a:lnTo>
                  <a:lnTo>
                    <a:pt x="796" y="1308"/>
                  </a:lnTo>
                  <a:lnTo>
                    <a:pt x="781" y="1301"/>
                  </a:lnTo>
                  <a:lnTo>
                    <a:pt x="765" y="1291"/>
                  </a:lnTo>
                  <a:lnTo>
                    <a:pt x="752" y="1281"/>
                  </a:lnTo>
                  <a:lnTo>
                    <a:pt x="739" y="1268"/>
                  </a:lnTo>
                  <a:lnTo>
                    <a:pt x="727" y="1254"/>
                  </a:lnTo>
                  <a:lnTo>
                    <a:pt x="717" y="1241"/>
                  </a:lnTo>
                  <a:lnTo>
                    <a:pt x="707" y="1226"/>
                  </a:lnTo>
                  <a:lnTo>
                    <a:pt x="700" y="1211"/>
                  </a:lnTo>
                  <a:lnTo>
                    <a:pt x="693" y="1191"/>
                  </a:lnTo>
                  <a:lnTo>
                    <a:pt x="688" y="1172"/>
                  </a:lnTo>
                  <a:lnTo>
                    <a:pt x="670" y="1152"/>
                  </a:lnTo>
                  <a:lnTo>
                    <a:pt x="653" y="1132"/>
                  </a:lnTo>
                  <a:lnTo>
                    <a:pt x="657" y="1117"/>
                  </a:lnTo>
                  <a:lnTo>
                    <a:pt x="662" y="1105"/>
                  </a:lnTo>
                  <a:lnTo>
                    <a:pt x="667" y="1105"/>
                  </a:lnTo>
                  <a:lnTo>
                    <a:pt x="670" y="1105"/>
                  </a:lnTo>
                  <a:lnTo>
                    <a:pt x="672" y="1104"/>
                  </a:lnTo>
                  <a:lnTo>
                    <a:pt x="673" y="1100"/>
                  </a:lnTo>
                  <a:lnTo>
                    <a:pt x="672" y="1099"/>
                  </a:lnTo>
                  <a:lnTo>
                    <a:pt x="672" y="1097"/>
                  </a:lnTo>
                  <a:lnTo>
                    <a:pt x="662" y="1095"/>
                  </a:lnTo>
                  <a:lnTo>
                    <a:pt x="655" y="1092"/>
                  </a:lnTo>
                  <a:lnTo>
                    <a:pt x="655" y="1087"/>
                  </a:lnTo>
                  <a:lnTo>
                    <a:pt x="655" y="1082"/>
                  </a:lnTo>
                  <a:lnTo>
                    <a:pt x="662" y="1065"/>
                  </a:lnTo>
                  <a:lnTo>
                    <a:pt x="668" y="1047"/>
                  </a:lnTo>
                  <a:lnTo>
                    <a:pt x="675" y="1047"/>
                  </a:lnTo>
                  <a:lnTo>
                    <a:pt x="680" y="1045"/>
                  </a:lnTo>
                  <a:lnTo>
                    <a:pt x="682" y="1043"/>
                  </a:lnTo>
                  <a:lnTo>
                    <a:pt x="683" y="1042"/>
                  </a:lnTo>
                  <a:lnTo>
                    <a:pt x="685" y="1035"/>
                  </a:lnTo>
                  <a:lnTo>
                    <a:pt x="688" y="1027"/>
                  </a:lnTo>
                  <a:lnTo>
                    <a:pt x="697" y="1015"/>
                  </a:lnTo>
                  <a:lnTo>
                    <a:pt x="700" y="1003"/>
                  </a:lnTo>
                  <a:lnTo>
                    <a:pt x="700" y="992"/>
                  </a:lnTo>
                  <a:lnTo>
                    <a:pt x="700" y="982"/>
                  </a:lnTo>
                  <a:lnTo>
                    <a:pt x="698" y="971"/>
                  </a:lnTo>
                  <a:lnTo>
                    <a:pt x="697" y="963"/>
                  </a:lnTo>
                  <a:lnTo>
                    <a:pt x="697" y="953"/>
                  </a:lnTo>
                  <a:lnTo>
                    <a:pt x="698" y="945"/>
                  </a:lnTo>
                  <a:lnTo>
                    <a:pt x="693" y="943"/>
                  </a:lnTo>
                  <a:lnTo>
                    <a:pt x="688" y="943"/>
                  </a:lnTo>
                  <a:lnTo>
                    <a:pt x="683" y="941"/>
                  </a:lnTo>
                  <a:lnTo>
                    <a:pt x="678" y="943"/>
                  </a:lnTo>
                  <a:lnTo>
                    <a:pt x="675" y="945"/>
                  </a:lnTo>
                  <a:lnTo>
                    <a:pt x="672" y="946"/>
                  </a:lnTo>
                  <a:lnTo>
                    <a:pt x="673" y="953"/>
                  </a:lnTo>
                  <a:lnTo>
                    <a:pt x="673" y="956"/>
                  </a:lnTo>
                  <a:lnTo>
                    <a:pt x="672" y="960"/>
                  </a:lnTo>
                  <a:lnTo>
                    <a:pt x="667" y="963"/>
                  </a:lnTo>
                  <a:lnTo>
                    <a:pt x="660" y="956"/>
                  </a:lnTo>
                  <a:lnTo>
                    <a:pt x="653" y="951"/>
                  </a:lnTo>
                  <a:lnTo>
                    <a:pt x="645" y="950"/>
                  </a:lnTo>
                  <a:lnTo>
                    <a:pt x="635" y="945"/>
                  </a:lnTo>
                  <a:lnTo>
                    <a:pt x="628" y="940"/>
                  </a:lnTo>
                  <a:lnTo>
                    <a:pt x="621" y="931"/>
                  </a:lnTo>
                  <a:lnTo>
                    <a:pt x="615" y="925"/>
                  </a:lnTo>
                  <a:lnTo>
                    <a:pt x="610" y="916"/>
                  </a:lnTo>
                  <a:lnTo>
                    <a:pt x="601" y="898"/>
                  </a:lnTo>
                  <a:lnTo>
                    <a:pt x="593" y="878"/>
                  </a:lnTo>
                  <a:lnTo>
                    <a:pt x="590" y="876"/>
                  </a:lnTo>
                  <a:lnTo>
                    <a:pt x="585" y="876"/>
                  </a:lnTo>
                  <a:lnTo>
                    <a:pt x="583" y="879"/>
                  </a:lnTo>
                  <a:lnTo>
                    <a:pt x="580" y="884"/>
                  </a:lnTo>
                  <a:lnTo>
                    <a:pt x="571" y="881"/>
                  </a:lnTo>
                  <a:lnTo>
                    <a:pt x="568" y="878"/>
                  </a:lnTo>
                  <a:lnTo>
                    <a:pt x="563" y="874"/>
                  </a:lnTo>
                  <a:lnTo>
                    <a:pt x="558" y="869"/>
                  </a:lnTo>
                  <a:lnTo>
                    <a:pt x="551" y="871"/>
                  </a:lnTo>
                  <a:lnTo>
                    <a:pt x="543" y="871"/>
                  </a:lnTo>
                  <a:lnTo>
                    <a:pt x="531" y="854"/>
                  </a:lnTo>
                  <a:lnTo>
                    <a:pt x="519" y="838"/>
                  </a:lnTo>
                  <a:lnTo>
                    <a:pt x="514" y="838"/>
                  </a:lnTo>
                  <a:lnTo>
                    <a:pt x="509" y="838"/>
                  </a:lnTo>
                  <a:lnTo>
                    <a:pt x="506" y="839"/>
                  </a:lnTo>
                  <a:lnTo>
                    <a:pt x="501" y="841"/>
                  </a:lnTo>
                  <a:lnTo>
                    <a:pt x="494" y="846"/>
                  </a:lnTo>
                  <a:lnTo>
                    <a:pt x="486" y="848"/>
                  </a:lnTo>
                  <a:lnTo>
                    <a:pt x="472" y="844"/>
                  </a:lnTo>
                  <a:lnTo>
                    <a:pt x="459" y="839"/>
                  </a:lnTo>
                  <a:lnTo>
                    <a:pt x="446" y="833"/>
                  </a:lnTo>
                  <a:lnTo>
                    <a:pt x="432" y="824"/>
                  </a:lnTo>
                  <a:lnTo>
                    <a:pt x="419" y="816"/>
                  </a:lnTo>
                  <a:lnTo>
                    <a:pt x="407" y="806"/>
                  </a:lnTo>
                  <a:lnTo>
                    <a:pt x="397" y="797"/>
                  </a:lnTo>
                  <a:lnTo>
                    <a:pt x="389" y="787"/>
                  </a:lnTo>
                  <a:lnTo>
                    <a:pt x="390" y="781"/>
                  </a:lnTo>
                  <a:lnTo>
                    <a:pt x="392" y="772"/>
                  </a:lnTo>
                  <a:lnTo>
                    <a:pt x="390" y="762"/>
                  </a:lnTo>
                  <a:lnTo>
                    <a:pt x="389" y="754"/>
                  </a:lnTo>
                  <a:lnTo>
                    <a:pt x="382" y="735"/>
                  </a:lnTo>
                  <a:lnTo>
                    <a:pt x="372" y="715"/>
                  </a:lnTo>
                  <a:lnTo>
                    <a:pt x="360" y="695"/>
                  </a:lnTo>
                  <a:lnTo>
                    <a:pt x="349" y="675"/>
                  </a:lnTo>
                  <a:lnTo>
                    <a:pt x="340" y="653"/>
                  </a:lnTo>
                  <a:lnTo>
                    <a:pt x="335" y="633"/>
                  </a:lnTo>
                  <a:lnTo>
                    <a:pt x="329" y="632"/>
                  </a:lnTo>
                  <a:lnTo>
                    <a:pt x="320" y="632"/>
                  </a:lnTo>
                  <a:lnTo>
                    <a:pt x="320" y="647"/>
                  </a:lnTo>
                  <a:lnTo>
                    <a:pt x="323" y="662"/>
                  </a:lnTo>
                  <a:lnTo>
                    <a:pt x="329" y="677"/>
                  </a:lnTo>
                  <a:lnTo>
                    <a:pt x="334" y="690"/>
                  </a:lnTo>
                  <a:lnTo>
                    <a:pt x="345" y="717"/>
                  </a:lnTo>
                  <a:lnTo>
                    <a:pt x="352" y="745"/>
                  </a:lnTo>
                  <a:lnTo>
                    <a:pt x="352" y="745"/>
                  </a:lnTo>
                  <a:lnTo>
                    <a:pt x="350" y="745"/>
                  </a:lnTo>
                  <a:lnTo>
                    <a:pt x="345" y="745"/>
                  </a:lnTo>
                  <a:lnTo>
                    <a:pt x="340" y="744"/>
                  </a:lnTo>
                  <a:lnTo>
                    <a:pt x="334" y="735"/>
                  </a:lnTo>
                  <a:lnTo>
                    <a:pt x="327" y="729"/>
                  </a:lnTo>
                  <a:lnTo>
                    <a:pt x="327" y="722"/>
                  </a:lnTo>
                  <a:lnTo>
                    <a:pt x="327" y="714"/>
                  </a:lnTo>
                  <a:lnTo>
                    <a:pt x="325" y="707"/>
                  </a:lnTo>
                  <a:lnTo>
                    <a:pt x="318" y="700"/>
                  </a:lnTo>
                  <a:lnTo>
                    <a:pt x="312" y="697"/>
                  </a:lnTo>
                  <a:lnTo>
                    <a:pt x="305" y="692"/>
                  </a:lnTo>
                  <a:lnTo>
                    <a:pt x="310" y="687"/>
                  </a:lnTo>
                  <a:lnTo>
                    <a:pt x="313" y="682"/>
                  </a:lnTo>
                  <a:lnTo>
                    <a:pt x="297" y="598"/>
                  </a:lnTo>
                  <a:lnTo>
                    <a:pt x="285" y="593"/>
                  </a:lnTo>
                  <a:lnTo>
                    <a:pt x="275" y="586"/>
                  </a:lnTo>
                  <a:lnTo>
                    <a:pt x="273" y="575"/>
                  </a:lnTo>
                  <a:lnTo>
                    <a:pt x="273" y="566"/>
                  </a:lnTo>
                  <a:lnTo>
                    <a:pt x="273" y="558"/>
                  </a:lnTo>
                  <a:lnTo>
                    <a:pt x="277" y="548"/>
                  </a:lnTo>
                  <a:lnTo>
                    <a:pt x="275" y="546"/>
                  </a:lnTo>
                  <a:lnTo>
                    <a:pt x="272" y="545"/>
                  </a:lnTo>
                  <a:lnTo>
                    <a:pt x="270" y="541"/>
                  </a:lnTo>
                  <a:lnTo>
                    <a:pt x="270" y="540"/>
                  </a:lnTo>
                  <a:lnTo>
                    <a:pt x="268" y="531"/>
                  </a:lnTo>
                  <a:lnTo>
                    <a:pt x="270" y="523"/>
                  </a:lnTo>
                  <a:lnTo>
                    <a:pt x="283" y="494"/>
                  </a:lnTo>
                  <a:lnTo>
                    <a:pt x="302" y="461"/>
                  </a:lnTo>
                  <a:lnTo>
                    <a:pt x="312" y="444"/>
                  </a:lnTo>
                  <a:lnTo>
                    <a:pt x="323" y="429"/>
                  </a:lnTo>
                  <a:lnTo>
                    <a:pt x="334" y="416"/>
                  </a:lnTo>
                  <a:lnTo>
                    <a:pt x="342" y="407"/>
                  </a:lnTo>
                  <a:lnTo>
                    <a:pt x="340" y="406"/>
                  </a:lnTo>
                  <a:lnTo>
                    <a:pt x="340" y="406"/>
                  </a:lnTo>
                  <a:lnTo>
                    <a:pt x="332" y="401"/>
                  </a:lnTo>
                  <a:lnTo>
                    <a:pt x="327" y="396"/>
                  </a:lnTo>
                  <a:lnTo>
                    <a:pt x="322" y="387"/>
                  </a:lnTo>
                  <a:lnTo>
                    <a:pt x="318" y="380"/>
                  </a:lnTo>
                  <a:lnTo>
                    <a:pt x="318" y="375"/>
                  </a:lnTo>
                  <a:lnTo>
                    <a:pt x="320" y="372"/>
                  </a:lnTo>
                  <a:lnTo>
                    <a:pt x="325" y="370"/>
                  </a:lnTo>
                  <a:lnTo>
                    <a:pt x="330" y="370"/>
                  </a:lnTo>
                  <a:lnTo>
                    <a:pt x="334" y="372"/>
                  </a:lnTo>
                  <a:lnTo>
                    <a:pt x="337" y="372"/>
                  </a:lnTo>
                  <a:lnTo>
                    <a:pt x="340" y="377"/>
                  </a:lnTo>
                  <a:lnTo>
                    <a:pt x="344" y="384"/>
                  </a:lnTo>
                  <a:lnTo>
                    <a:pt x="347" y="402"/>
                  </a:lnTo>
                  <a:lnTo>
                    <a:pt x="350" y="419"/>
                  </a:lnTo>
                  <a:lnTo>
                    <a:pt x="350" y="419"/>
                  </a:lnTo>
                  <a:lnTo>
                    <a:pt x="352" y="419"/>
                  </a:lnTo>
                  <a:lnTo>
                    <a:pt x="359" y="406"/>
                  </a:lnTo>
                  <a:lnTo>
                    <a:pt x="364" y="394"/>
                  </a:lnTo>
                  <a:lnTo>
                    <a:pt x="352" y="377"/>
                  </a:lnTo>
                  <a:lnTo>
                    <a:pt x="339" y="362"/>
                  </a:lnTo>
                  <a:lnTo>
                    <a:pt x="342" y="355"/>
                  </a:lnTo>
                  <a:lnTo>
                    <a:pt x="342" y="349"/>
                  </a:lnTo>
                  <a:lnTo>
                    <a:pt x="342" y="342"/>
                  </a:lnTo>
                  <a:lnTo>
                    <a:pt x="339" y="335"/>
                  </a:lnTo>
                  <a:lnTo>
                    <a:pt x="349" y="322"/>
                  </a:lnTo>
                  <a:lnTo>
                    <a:pt x="360" y="308"/>
                  </a:lnTo>
                  <a:lnTo>
                    <a:pt x="350" y="308"/>
                  </a:lnTo>
                  <a:lnTo>
                    <a:pt x="342" y="310"/>
                  </a:lnTo>
                  <a:lnTo>
                    <a:pt x="335" y="313"/>
                  </a:lnTo>
                  <a:lnTo>
                    <a:pt x="327" y="317"/>
                  </a:lnTo>
                  <a:lnTo>
                    <a:pt x="334" y="308"/>
                  </a:lnTo>
                  <a:lnTo>
                    <a:pt x="342" y="302"/>
                  </a:lnTo>
                  <a:lnTo>
                    <a:pt x="345" y="297"/>
                  </a:lnTo>
                  <a:lnTo>
                    <a:pt x="347" y="293"/>
                  </a:lnTo>
                  <a:lnTo>
                    <a:pt x="350" y="287"/>
                  </a:lnTo>
                  <a:lnTo>
                    <a:pt x="352" y="278"/>
                  </a:lnTo>
                  <a:lnTo>
                    <a:pt x="345" y="278"/>
                  </a:lnTo>
                  <a:lnTo>
                    <a:pt x="340" y="278"/>
                  </a:lnTo>
                  <a:lnTo>
                    <a:pt x="342" y="275"/>
                  </a:lnTo>
                  <a:lnTo>
                    <a:pt x="345" y="273"/>
                  </a:lnTo>
                  <a:lnTo>
                    <a:pt x="347" y="270"/>
                  </a:lnTo>
                  <a:lnTo>
                    <a:pt x="350" y="268"/>
                  </a:lnTo>
                  <a:lnTo>
                    <a:pt x="350" y="267"/>
                  </a:lnTo>
                  <a:lnTo>
                    <a:pt x="350" y="265"/>
                  </a:lnTo>
                  <a:lnTo>
                    <a:pt x="337" y="268"/>
                  </a:lnTo>
                  <a:lnTo>
                    <a:pt x="325" y="273"/>
                  </a:lnTo>
                  <a:lnTo>
                    <a:pt x="320" y="272"/>
                  </a:lnTo>
                  <a:lnTo>
                    <a:pt x="317" y="270"/>
                  </a:lnTo>
                  <a:lnTo>
                    <a:pt x="320" y="263"/>
                  </a:lnTo>
                  <a:lnTo>
                    <a:pt x="323" y="255"/>
                  </a:lnTo>
                  <a:lnTo>
                    <a:pt x="302" y="253"/>
                  </a:lnTo>
                  <a:lnTo>
                    <a:pt x="282" y="248"/>
                  </a:lnTo>
                  <a:lnTo>
                    <a:pt x="265" y="243"/>
                  </a:lnTo>
                  <a:lnTo>
                    <a:pt x="253" y="241"/>
                  </a:lnTo>
                  <a:lnTo>
                    <a:pt x="246" y="248"/>
                  </a:lnTo>
                  <a:lnTo>
                    <a:pt x="238" y="255"/>
                  </a:lnTo>
                  <a:lnTo>
                    <a:pt x="230" y="258"/>
                  </a:lnTo>
                  <a:lnTo>
                    <a:pt x="223" y="258"/>
                  </a:lnTo>
                  <a:lnTo>
                    <a:pt x="216" y="258"/>
                  </a:lnTo>
                  <a:lnTo>
                    <a:pt x="210" y="257"/>
                  </a:lnTo>
                  <a:lnTo>
                    <a:pt x="205" y="255"/>
                  </a:lnTo>
                  <a:lnTo>
                    <a:pt x="198" y="255"/>
                  </a:lnTo>
                  <a:lnTo>
                    <a:pt x="191" y="255"/>
                  </a:lnTo>
                  <a:lnTo>
                    <a:pt x="185" y="255"/>
                  </a:lnTo>
                  <a:lnTo>
                    <a:pt x="180" y="258"/>
                  </a:lnTo>
                  <a:lnTo>
                    <a:pt x="174" y="263"/>
                  </a:lnTo>
                  <a:lnTo>
                    <a:pt x="171" y="268"/>
                  </a:lnTo>
                  <a:lnTo>
                    <a:pt x="168" y="273"/>
                  </a:lnTo>
                  <a:lnTo>
                    <a:pt x="163" y="277"/>
                  </a:lnTo>
                  <a:lnTo>
                    <a:pt x="158" y="278"/>
                  </a:lnTo>
                  <a:lnTo>
                    <a:pt x="153" y="280"/>
                  </a:lnTo>
                  <a:lnTo>
                    <a:pt x="146" y="282"/>
                  </a:lnTo>
                  <a:lnTo>
                    <a:pt x="133" y="283"/>
                  </a:lnTo>
                  <a:lnTo>
                    <a:pt x="121" y="285"/>
                  </a:lnTo>
                  <a:lnTo>
                    <a:pt x="119" y="290"/>
                  </a:lnTo>
                  <a:lnTo>
                    <a:pt x="118" y="295"/>
                  </a:lnTo>
                  <a:lnTo>
                    <a:pt x="106" y="295"/>
                  </a:lnTo>
                  <a:lnTo>
                    <a:pt x="96" y="297"/>
                  </a:lnTo>
                  <a:lnTo>
                    <a:pt x="87" y="298"/>
                  </a:lnTo>
                  <a:lnTo>
                    <a:pt x="79" y="302"/>
                  </a:lnTo>
                  <a:lnTo>
                    <a:pt x="64" y="308"/>
                  </a:lnTo>
                  <a:lnTo>
                    <a:pt x="49" y="315"/>
                  </a:lnTo>
                  <a:lnTo>
                    <a:pt x="46" y="312"/>
                  </a:lnTo>
                  <a:lnTo>
                    <a:pt x="44" y="308"/>
                  </a:lnTo>
                  <a:lnTo>
                    <a:pt x="29" y="313"/>
                  </a:lnTo>
                  <a:lnTo>
                    <a:pt x="12" y="318"/>
                  </a:lnTo>
                  <a:lnTo>
                    <a:pt x="12" y="317"/>
                  </a:lnTo>
                  <a:lnTo>
                    <a:pt x="14" y="313"/>
                  </a:lnTo>
                  <a:lnTo>
                    <a:pt x="46" y="305"/>
                  </a:lnTo>
                  <a:lnTo>
                    <a:pt x="82" y="297"/>
                  </a:lnTo>
                  <a:lnTo>
                    <a:pt x="101" y="292"/>
                  </a:lnTo>
                  <a:lnTo>
                    <a:pt x="116" y="285"/>
                  </a:lnTo>
                  <a:lnTo>
                    <a:pt x="131" y="278"/>
                  </a:lnTo>
                  <a:lnTo>
                    <a:pt x="141" y="270"/>
                  </a:lnTo>
                  <a:lnTo>
                    <a:pt x="139" y="268"/>
                  </a:lnTo>
                  <a:lnTo>
                    <a:pt x="139" y="267"/>
                  </a:lnTo>
                  <a:lnTo>
                    <a:pt x="116" y="267"/>
                  </a:lnTo>
                  <a:lnTo>
                    <a:pt x="96" y="268"/>
                  </a:lnTo>
                  <a:lnTo>
                    <a:pt x="96" y="265"/>
                  </a:lnTo>
                  <a:lnTo>
                    <a:pt x="96" y="263"/>
                  </a:lnTo>
                  <a:lnTo>
                    <a:pt x="102" y="257"/>
                  </a:lnTo>
                  <a:lnTo>
                    <a:pt x="109" y="246"/>
                  </a:lnTo>
                  <a:lnTo>
                    <a:pt x="99" y="246"/>
                  </a:lnTo>
                  <a:lnTo>
                    <a:pt x="89" y="246"/>
                  </a:lnTo>
                  <a:lnTo>
                    <a:pt x="89" y="243"/>
                  </a:lnTo>
                  <a:lnTo>
                    <a:pt x="89" y="241"/>
                  </a:lnTo>
                  <a:lnTo>
                    <a:pt x="89" y="240"/>
                  </a:lnTo>
                  <a:lnTo>
                    <a:pt x="89" y="240"/>
                  </a:lnTo>
                  <a:lnTo>
                    <a:pt x="99" y="231"/>
                  </a:lnTo>
                  <a:lnTo>
                    <a:pt x="109" y="223"/>
                  </a:lnTo>
                  <a:lnTo>
                    <a:pt x="131" y="218"/>
                  </a:lnTo>
                  <a:lnTo>
                    <a:pt x="156" y="215"/>
                  </a:lnTo>
                  <a:lnTo>
                    <a:pt x="168" y="213"/>
                  </a:lnTo>
                  <a:lnTo>
                    <a:pt x="178" y="210"/>
                  </a:lnTo>
                  <a:lnTo>
                    <a:pt x="183" y="208"/>
                  </a:lnTo>
                  <a:lnTo>
                    <a:pt x="186" y="205"/>
                  </a:lnTo>
                  <a:lnTo>
                    <a:pt x="190" y="201"/>
                  </a:lnTo>
                  <a:lnTo>
                    <a:pt x="193" y="198"/>
                  </a:lnTo>
                  <a:lnTo>
                    <a:pt x="181" y="198"/>
                  </a:lnTo>
                  <a:lnTo>
                    <a:pt x="168" y="200"/>
                  </a:lnTo>
                  <a:lnTo>
                    <a:pt x="161" y="201"/>
                  </a:lnTo>
                  <a:lnTo>
                    <a:pt x="154" y="201"/>
                  </a:lnTo>
                  <a:lnTo>
                    <a:pt x="149" y="200"/>
                  </a:lnTo>
                  <a:lnTo>
                    <a:pt x="146" y="198"/>
                  </a:lnTo>
                  <a:lnTo>
                    <a:pt x="144" y="196"/>
                  </a:lnTo>
                  <a:lnTo>
                    <a:pt x="143" y="196"/>
                  </a:lnTo>
                  <a:lnTo>
                    <a:pt x="144" y="190"/>
                  </a:lnTo>
                  <a:lnTo>
                    <a:pt x="146" y="185"/>
                  </a:lnTo>
                  <a:lnTo>
                    <a:pt x="169" y="180"/>
                  </a:lnTo>
                  <a:lnTo>
                    <a:pt x="193" y="175"/>
                  </a:lnTo>
                  <a:lnTo>
                    <a:pt x="195" y="178"/>
                  </a:lnTo>
                  <a:lnTo>
                    <a:pt x="195" y="181"/>
                  </a:lnTo>
                  <a:lnTo>
                    <a:pt x="198" y="181"/>
                  </a:lnTo>
                  <a:lnTo>
                    <a:pt x="201" y="183"/>
                  </a:lnTo>
                  <a:lnTo>
                    <a:pt x="210" y="181"/>
                  </a:lnTo>
                  <a:lnTo>
                    <a:pt x="216" y="178"/>
                  </a:lnTo>
                  <a:lnTo>
                    <a:pt x="211" y="171"/>
                  </a:lnTo>
                  <a:lnTo>
                    <a:pt x="206" y="166"/>
                  </a:lnTo>
                  <a:lnTo>
                    <a:pt x="203" y="163"/>
                  </a:lnTo>
                  <a:lnTo>
                    <a:pt x="201" y="159"/>
                  </a:lnTo>
                  <a:lnTo>
                    <a:pt x="201" y="156"/>
                  </a:lnTo>
                  <a:lnTo>
                    <a:pt x="201" y="151"/>
                  </a:lnTo>
                  <a:lnTo>
                    <a:pt x="215" y="149"/>
                  </a:lnTo>
                  <a:lnTo>
                    <a:pt x="226" y="148"/>
                  </a:lnTo>
                  <a:lnTo>
                    <a:pt x="240" y="146"/>
                  </a:lnTo>
                  <a:lnTo>
                    <a:pt x="251" y="144"/>
                  </a:lnTo>
                  <a:lnTo>
                    <a:pt x="270" y="138"/>
                  </a:lnTo>
                  <a:lnTo>
                    <a:pt x="293" y="128"/>
                  </a:lnTo>
                  <a:lnTo>
                    <a:pt x="307" y="124"/>
                  </a:lnTo>
                  <a:lnTo>
                    <a:pt x="318" y="121"/>
                  </a:lnTo>
                  <a:lnTo>
                    <a:pt x="330" y="119"/>
                  </a:lnTo>
                  <a:lnTo>
                    <a:pt x="340" y="119"/>
                  </a:lnTo>
                  <a:lnTo>
                    <a:pt x="399" y="129"/>
                  </a:lnTo>
                  <a:lnTo>
                    <a:pt x="457" y="141"/>
                  </a:lnTo>
                  <a:lnTo>
                    <a:pt x="488" y="144"/>
                  </a:lnTo>
                  <a:lnTo>
                    <a:pt x="514" y="144"/>
                  </a:lnTo>
                  <a:lnTo>
                    <a:pt x="529" y="144"/>
                  </a:lnTo>
                  <a:lnTo>
                    <a:pt x="543" y="141"/>
                  </a:lnTo>
                  <a:lnTo>
                    <a:pt x="556" y="138"/>
                  </a:lnTo>
                  <a:lnTo>
                    <a:pt x="570" y="131"/>
                  </a:lnTo>
                  <a:lnTo>
                    <a:pt x="573" y="136"/>
                  </a:lnTo>
                  <a:lnTo>
                    <a:pt x="578" y="139"/>
                  </a:lnTo>
                  <a:lnTo>
                    <a:pt x="583" y="141"/>
                  </a:lnTo>
                  <a:lnTo>
                    <a:pt x="591" y="141"/>
                  </a:lnTo>
                  <a:lnTo>
                    <a:pt x="596" y="139"/>
                  </a:lnTo>
                  <a:lnTo>
                    <a:pt x="603" y="138"/>
                  </a:lnTo>
                  <a:lnTo>
                    <a:pt x="608" y="138"/>
                  </a:lnTo>
                  <a:lnTo>
                    <a:pt x="615" y="139"/>
                  </a:lnTo>
                  <a:lnTo>
                    <a:pt x="618" y="144"/>
                  </a:lnTo>
                  <a:lnTo>
                    <a:pt x="621" y="146"/>
                  </a:lnTo>
                  <a:lnTo>
                    <a:pt x="628" y="148"/>
                  </a:lnTo>
                  <a:lnTo>
                    <a:pt x="633" y="149"/>
                  </a:lnTo>
                  <a:lnTo>
                    <a:pt x="640" y="149"/>
                  </a:lnTo>
                  <a:lnTo>
                    <a:pt x="645" y="149"/>
                  </a:lnTo>
                  <a:lnTo>
                    <a:pt x="652" y="151"/>
                  </a:lnTo>
                  <a:lnTo>
                    <a:pt x="655" y="154"/>
                  </a:lnTo>
                  <a:lnTo>
                    <a:pt x="653" y="159"/>
                  </a:lnTo>
                  <a:lnTo>
                    <a:pt x="655" y="164"/>
                  </a:lnTo>
                  <a:lnTo>
                    <a:pt x="675" y="164"/>
                  </a:lnTo>
                  <a:lnTo>
                    <a:pt x="697" y="163"/>
                  </a:lnTo>
                  <a:lnTo>
                    <a:pt x="697" y="169"/>
                  </a:lnTo>
                  <a:lnTo>
                    <a:pt x="698" y="176"/>
                  </a:lnTo>
                  <a:lnTo>
                    <a:pt x="702" y="176"/>
                  </a:lnTo>
                  <a:lnTo>
                    <a:pt x="705" y="176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10" y="166"/>
                  </a:lnTo>
                  <a:lnTo>
                    <a:pt x="715" y="161"/>
                  </a:lnTo>
                  <a:lnTo>
                    <a:pt x="720" y="158"/>
                  </a:lnTo>
                  <a:lnTo>
                    <a:pt x="727" y="153"/>
                  </a:lnTo>
                  <a:lnTo>
                    <a:pt x="742" y="154"/>
                  </a:lnTo>
                  <a:lnTo>
                    <a:pt x="765" y="158"/>
                  </a:lnTo>
                  <a:lnTo>
                    <a:pt x="789" y="161"/>
                  </a:lnTo>
                  <a:lnTo>
                    <a:pt x="807" y="164"/>
                  </a:lnTo>
                  <a:lnTo>
                    <a:pt x="807" y="164"/>
                  </a:lnTo>
                  <a:lnTo>
                    <a:pt x="807" y="166"/>
                  </a:lnTo>
                  <a:lnTo>
                    <a:pt x="804" y="169"/>
                  </a:lnTo>
                  <a:lnTo>
                    <a:pt x="802" y="175"/>
                  </a:lnTo>
                  <a:lnTo>
                    <a:pt x="802" y="176"/>
                  </a:lnTo>
                  <a:lnTo>
                    <a:pt x="804" y="176"/>
                  </a:lnTo>
                  <a:lnTo>
                    <a:pt x="807" y="176"/>
                  </a:lnTo>
                  <a:lnTo>
                    <a:pt x="811" y="176"/>
                  </a:lnTo>
                  <a:lnTo>
                    <a:pt x="816" y="168"/>
                  </a:lnTo>
                  <a:lnTo>
                    <a:pt x="821" y="161"/>
                  </a:lnTo>
                  <a:lnTo>
                    <a:pt x="821" y="159"/>
                  </a:lnTo>
                  <a:lnTo>
                    <a:pt x="821" y="158"/>
                  </a:lnTo>
                  <a:lnTo>
                    <a:pt x="814" y="154"/>
                  </a:lnTo>
                  <a:lnTo>
                    <a:pt x="807" y="151"/>
                  </a:lnTo>
                  <a:lnTo>
                    <a:pt x="811" y="146"/>
                  </a:lnTo>
                  <a:lnTo>
                    <a:pt x="814" y="139"/>
                  </a:lnTo>
                  <a:lnTo>
                    <a:pt x="821" y="141"/>
                  </a:lnTo>
                  <a:lnTo>
                    <a:pt x="827" y="144"/>
                  </a:lnTo>
                  <a:lnTo>
                    <a:pt x="822" y="148"/>
                  </a:lnTo>
                  <a:lnTo>
                    <a:pt x="819" y="151"/>
                  </a:lnTo>
                  <a:lnTo>
                    <a:pt x="819" y="153"/>
                  </a:lnTo>
                  <a:lnTo>
                    <a:pt x="819" y="153"/>
                  </a:lnTo>
                  <a:lnTo>
                    <a:pt x="829" y="154"/>
                  </a:lnTo>
                  <a:lnTo>
                    <a:pt x="837" y="154"/>
                  </a:lnTo>
                  <a:lnTo>
                    <a:pt x="842" y="149"/>
                  </a:lnTo>
                  <a:lnTo>
                    <a:pt x="851" y="144"/>
                  </a:lnTo>
                  <a:lnTo>
                    <a:pt x="842" y="141"/>
                  </a:lnTo>
                  <a:lnTo>
                    <a:pt x="837" y="134"/>
                  </a:lnTo>
                  <a:lnTo>
                    <a:pt x="842" y="128"/>
                  </a:lnTo>
                  <a:lnTo>
                    <a:pt x="847" y="123"/>
                  </a:lnTo>
                  <a:lnTo>
                    <a:pt x="856" y="121"/>
                  </a:lnTo>
                  <a:lnTo>
                    <a:pt x="863" y="119"/>
                  </a:lnTo>
                  <a:lnTo>
                    <a:pt x="869" y="119"/>
                  </a:lnTo>
                  <a:lnTo>
                    <a:pt x="876" y="121"/>
                  </a:lnTo>
                  <a:lnTo>
                    <a:pt x="876" y="126"/>
                  </a:lnTo>
                  <a:lnTo>
                    <a:pt x="876" y="131"/>
                  </a:lnTo>
                  <a:lnTo>
                    <a:pt x="869" y="136"/>
                  </a:lnTo>
                  <a:lnTo>
                    <a:pt x="864" y="139"/>
                  </a:lnTo>
                  <a:lnTo>
                    <a:pt x="869" y="146"/>
                  </a:lnTo>
                  <a:lnTo>
                    <a:pt x="874" y="151"/>
                  </a:lnTo>
                  <a:lnTo>
                    <a:pt x="879" y="149"/>
                  </a:lnTo>
                  <a:lnTo>
                    <a:pt x="884" y="146"/>
                  </a:lnTo>
                  <a:lnTo>
                    <a:pt x="889" y="144"/>
                  </a:lnTo>
                  <a:lnTo>
                    <a:pt x="896" y="146"/>
                  </a:lnTo>
                  <a:lnTo>
                    <a:pt x="894" y="151"/>
                  </a:lnTo>
                  <a:lnTo>
                    <a:pt x="893" y="154"/>
                  </a:lnTo>
                  <a:lnTo>
                    <a:pt x="888" y="158"/>
                  </a:lnTo>
                  <a:lnTo>
                    <a:pt x="883" y="159"/>
                  </a:lnTo>
                  <a:lnTo>
                    <a:pt x="883" y="164"/>
                  </a:lnTo>
                  <a:lnTo>
                    <a:pt x="883" y="169"/>
                  </a:lnTo>
                  <a:lnTo>
                    <a:pt x="886" y="169"/>
                  </a:lnTo>
                  <a:lnTo>
                    <a:pt x="889" y="169"/>
                  </a:lnTo>
                  <a:lnTo>
                    <a:pt x="901" y="164"/>
                  </a:lnTo>
                  <a:lnTo>
                    <a:pt x="914" y="156"/>
                  </a:lnTo>
                  <a:lnTo>
                    <a:pt x="921" y="151"/>
                  </a:lnTo>
                  <a:lnTo>
                    <a:pt x="926" y="146"/>
                  </a:lnTo>
                  <a:lnTo>
                    <a:pt x="931" y="141"/>
                  </a:lnTo>
                  <a:lnTo>
                    <a:pt x="933" y="136"/>
                  </a:lnTo>
                  <a:lnTo>
                    <a:pt x="921" y="133"/>
                  </a:lnTo>
                  <a:lnTo>
                    <a:pt x="906" y="129"/>
                  </a:lnTo>
                  <a:lnTo>
                    <a:pt x="906" y="126"/>
                  </a:lnTo>
                  <a:lnTo>
                    <a:pt x="908" y="124"/>
                  </a:lnTo>
                  <a:lnTo>
                    <a:pt x="909" y="124"/>
                  </a:lnTo>
                  <a:lnTo>
                    <a:pt x="914" y="124"/>
                  </a:lnTo>
                  <a:lnTo>
                    <a:pt x="913" y="119"/>
                  </a:lnTo>
                  <a:lnTo>
                    <a:pt x="909" y="114"/>
                  </a:lnTo>
                  <a:lnTo>
                    <a:pt x="921" y="108"/>
                  </a:lnTo>
                  <a:lnTo>
                    <a:pt x="936" y="99"/>
                  </a:lnTo>
                  <a:lnTo>
                    <a:pt x="945" y="96"/>
                  </a:lnTo>
                  <a:lnTo>
                    <a:pt x="951" y="96"/>
                  </a:lnTo>
                  <a:lnTo>
                    <a:pt x="953" y="96"/>
                  </a:lnTo>
                  <a:lnTo>
                    <a:pt x="956" y="97"/>
                  </a:lnTo>
                  <a:lnTo>
                    <a:pt x="958" y="99"/>
                  </a:lnTo>
                  <a:lnTo>
                    <a:pt x="958" y="103"/>
                  </a:lnTo>
                  <a:lnTo>
                    <a:pt x="951" y="106"/>
                  </a:lnTo>
                  <a:lnTo>
                    <a:pt x="943" y="108"/>
                  </a:lnTo>
                  <a:lnTo>
                    <a:pt x="943" y="114"/>
                  </a:lnTo>
                  <a:lnTo>
                    <a:pt x="943" y="121"/>
                  </a:lnTo>
                  <a:lnTo>
                    <a:pt x="950" y="121"/>
                  </a:lnTo>
                  <a:lnTo>
                    <a:pt x="958" y="121"/>
                  </a:lnTo>
                  <a:lnTo>
                    <a:pt x="956" y="116"/>
                  </a:lnTo>
                  <a:lnTo>
                    <a:pt x="955" y="111"/>
                  </a:lnTo>
                  <a:lnTo>
                    <a:pt x="966" y="106"/>
                  </a:lnTo>
                  <a:lnTo>
                    <a:pt x="976" y="101"/>
                  </a:lnTo>
                  <a:lnTo>
                    <a:pt x="981" y="99"/>
                  </a:lnTo>
                  <a:lnTo>
                    <a:pt x="986" y="97"/>
                  </a:lnTo>
                  <a:lnTo>
                    <a:pt x="995" y="97"/>
                  </a:lnTo>
                  <a:lnTo>
                    <a:pt x="1003" y="99"/>
                  </a:lnTo>
                  <a:lnTo>
                    <a:pt x="1002" y="103"/>
                  </a:lnTo>
                  <a:lnTo>
                    <a:pt x="1000" y="106"/>
                  </a:lnTo>
                  <a:lnTo>
                    <a:pt x="996" y="108"/>
                  </a:lnTo>
                  <a:lnTo>
                    <a:pt x="993" y="109"/>
                  </a:lnTo>
                  <a:lnTo>
                    <a:pt x="995" y="113"/>
                  </a:lnTo>
                  <a:lnTo>
                    <a:pt x="995" y="116"/>
                  </a:lnTo>
                  <a:lnTo>
                    <a:pt x="1008" y="114"/>
                  </a:lnTo>
                  <a:lnTo>
                    <a:pt x="1022" y="113"/>
                  </a:lnTo>
                  <a:lnTo>
                    <a:pt x="1022" y="109"/>
                  </a:lnTo>
                  <a:lnTo>
                    <a:pt x="1022" y="104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7" y="106"/>
                  </a:lnTo>
                  <a:lnTo>
                    <a:pt x="1013" y="106"/>
                  </a:lnTo>
                  <a:lnTo>
                    <a:pt x="1012" y="104"/>
                  </a:lnTo>
                  <a:lnTo>
                    <a:pt x="1007" y="103"/>
                  </a:lnTo>
                  <a:lnTo>
                    <a:pt x="1007" y="97"/>
                  </a:lnTo>
                  <a:lnTo>
                    <a:pt x="1007" y="92"/>
                  </a:lnTo>
                  <a:close/>
                  <a:moveTo>
                    <a:pt x="1450" y="106"/>
                  </a:moveTo>
                  <a:lnTo>
                    <a:pt x="1452" y="109"/>
                  </a:lnTo>
                  <a:lnTo>
                    <a:pt x="1454" y="113"/>
                  </a:lnTo>
                  <a:lnTo>
                    <a:pt x="1459" y="113"/>
                  </a:lnTo>
                  <a:lnTo>
                    <a:pt x="1464" y="111"/>
                  </a:lnTo>
                  <a:lnTo>
                    <a:pt x="1462" y="111"/>
                  </a:lnTo>
                  <a:lnTo>
                    <a:pt x="1460" y="111"/>
                  </a:lnTo>
                  <a:lnTo>
                    <a:pt x="1455" y="109"/>
                  </a:lnTo>
                  <a:lnTo>
                    <a:pt x="1450" y="106"/>
                  </a:lnTo>
                  <a:close/>
                  <a:moveTo>
                    <a:pt x="1197" y="129"/>
                  </a:moveTo>
                  <a:lnTo>
                    <a:pt x="1206" y="131"/>
                  </a:lnTo>
                  <a:lnTo>
                    <a:pt x="1212" y="131"/>
                  </a:lnTo>
                  <a:lnTo>
                    <a:pt x="1212" y="134"/>
                  </a:lnTo>
                  <a:lnTo>
                    <a:pt x="1212" y="138"/>
                  </a:lnTo>
                  <a:lnTo>
                    <a:pt x="1211" y="141"/>
                  </a:lnTo>
                  <a:lnTo>
                    <a:pt x="1207" y="144"/>
                  </a:lnTo>
                  <a:lnTo>
                    <a:pt x="1202" y="143"/>
                  </a:lnTo>
                  <a:lnTo>
                    <a:pt x="1197" y="141"/>
                  </a:lnTo>
                  <a:lnTo>
                    <a:pt x="1196" y="141"/>
                  </a:lnTo>
                  <a:lnTo>
                    <a:pt x="1194" y="141"/>
                  </a:lnTo>
                  <a:lnTo>
                    <a:pt x="1196" y="136"/>
                  </a:lnTo>
                  <a:lnTo>
                    <a:pt x="1197" y="129"/>
                  </a:lnTo>
                  <a:close/>
                  <a:moveTo>
                    <a:pt x="983" y="156"/>
                  </a:moveTo>
                  <a:lnTo>
                    <a:pt x="993" y="158"/>
                  </a:lnTo>
                  <a:lnTo>
                    <a:pt x="1002" y="159"/>
                  </a:lnTo>
                  <a:lnTo>
                    <a:pt x="1002" y="161"/>
                  </a:lnTo>
                  <a:lnTo>
                    <a:pt x="1002" y="161"/>
                  </a:lnTo>
                  <a:lnTo>
                    <a:pt x="1000" y="164"/>
                  </a:lnTo>
                  <a:lnTo>
                    <a:pt x="1000" y="166"/>
                  </a:lnTo>
                  <a:lnTo>
                    <a:pt x="993" y="169"/>
                  </a:lnTo>
                  <a:lnTo>
                    <a:pt x="988" y="169"/>
                  </a:lnTo>
                  <a:lnTo>
                    <a:pt x="983" y="168"/>
                  </a:lnTo>
                  <a:lnTo>
                    <a:pt x="980" y="164"/>
                  </a:lnTo>
                  <a:lnTo>
                    <a:pt x="981" y="163"/>
                  </a:lnTo>
                  <a:lnTo>
                    <a:pt x="983" y="161"/>
                  </a:lnTo>
                  <a:lnTo>
                    <a:pt x="983" y="159"/>
                  </a:lnTo>
                  <a:lnTo>
                    <a:pt x="983" y="156"/>
                  </a:lnTo>
                  <a:close/>
                  <a:moveTo>
                    <a:pt x="1454" y="176"/>
                  </a:moveTo>
                  <a:lnTo>
                    <a:pt x="1460" y="178"/>
                  </a:lnTo>
                  <a:lnTo>
                    <a:pt x="1465" y="181"/>
                  </a:lnTo>
                  <a:lnTo>
                    <a:pt x="1469" y="185"/>
                  </a:lnTo>
                  <a:lnTo>
                    <a:pt x="1472" y="190"/>
                  </a:lnTo>
                  <a:lnTo>
                    <a:pt x="1479" y="185"/>
                  </a:lnTo>
                  <a:lnTo>
                    <a:pt x="1487" y="178"/>
                  </a:lnTo>
                  <a:lnTo>
                    <a:pt x="1512" y="181"/>
                  </a:lnTo>
                  <a:lnTo>
                    <a:pt x="1534" y="188"/>
                  </a:lnTo>
                  <a:lnTo>
                    <a:pt x="1536" y="188"/>
                  </a:lnTo>
                  <a:lnTo>
                    <a:pt x="1537" y="188"/>
                  </a:lnTo>
                  <a:lnTo>
                    <a:pt x="1536" y="191"/>
                  </a:lnTo>
                  <a:lnTo>
                    <a:pt x="1534" y="195"/>
                  </a:lnTo>
                  <a:lnTo>
                    <a:pt x="1529" y="200"/>
                  </a:lnTo>
                  <a:lnTo>
                    <a:pt x="1519" y="205"/>
                  </a:lnTo>
                  <a:lnTo>
                    <a:pt x="1507" y="210"/>
                  </a:lnTo>
                  <a:lnTo>
                    <a:pt x="1494" y="213"/>
                  </a:lnTo>
                  <a:lnTo>
                    <a:pt x="1480" y="213"/>
                  </a:lnTo>
                  <a:lnTo>
                    <a:pt x="1469" y="211"/>
                  </a:lnTo>
                  <a:lnTo>
                    <a:pt x="1465" y="210"/>
                  </a:lnTo>
                  <a:lnTo>
                    <a:pt x="1462" y="208"/>
                  </a:lnTo>
                  <a:lnTo>
                    <a:pt x="1460" y="205"/>
                  </a:lnTo>
                  <a:lnTo>
                    <a:pt x="1460" y="201"/>
                  </a:lnTo>
                  <a:lnTo>
                    <a:pt x="1457" y="200"/>
                  </a:lnTo>
                  <a:lnTo>
                    <a:pt x="1455" y="200"/>
                  </a:lnTo>
                  <a:lnTo>
                    <a:pt x="1455" y="198"/>
                  </a:lnTo>
                  <a:lnTo>
                    <a:pt x="1454" y="195"/>
                  </a:lnTo>
                  <a:lnTo>
                    <a:pt x="1455" y="195"/>
                  </a:lnTo>
                  <a:lnTo>
                    <a:pt x="1459" y="195"/>
                  </a:lnTo>
                  <a:lnTo>
                    <a:pt x="1454" y="191"/>
                  </a:lnTo>
                  <a:lnTo>
                    <a:pt x="1449" y="188"/>
                  </a:lnTo>
                  <a:lnTo>
                    <a:pt x="1449" y="188"/>
                  </a:lnTo>
                  <a:lnTo>
                    <a:pt x="1449" y="186"/>
                  </a:lnTo>
                  <a:lnTo>
                    <a:pt x="1452" y="185"/>
                  </a:lnTo>
                  <a:lnTo>
                    <a:pt x="1457" y="183"/>
                  </a:lnTo>
                  <a:lnTo>
                    <a:pt x="1455" y="180"/>
                  </a:lnTo>
                  <a:lnTo>
                    <a:pt x="1454" y="176"/>
                  </a:lnTo>
                  <a:close/>
                  <a:moveTo>
                    <a:pt x="965" y="186"/>
                  </a:moveTo>
                  <a:lnTo>
                    <a:pt x="971" y="190"/>
                  </a:lnTo>
                  <a:lnTo>
                    <a:pt x="975" y="196"/>
                  </a:lnTo>
                  <a:lnTo>
                    <a:pt x="973" y="200"/>
                  </a:lnTo>
                  <a:lnTo>
                    <a:pt x="973" y="203"/>
                  </a:lnTo>
                  <a:lnTo>
                    <a:pt x="961" y="203"/>
                  </a:lnTo>
                  <a:lnTo>
                    <a:pt x="951" y="205"/>
                  </a:lnTo>
                  <a:lnTo>
                    <a:pt x="950" y="203"/>
                  </a:lnTo>
                  <a:lnTo>
                    <a:pt x="948" y="203"/>
                  </a:lnTo>
                  <a:lnTo>
                    <a:pt x="948" y="200"/>
                  </a:lnTo>
                  <a:lnTo>
                    <a:pt x="948" y="198"/>
                  </a:lnTo>
                  <a:lnTo>
                    <a:pt x="956" y="193"/>
                  </a:lnTo>
                  <a:lnTo>
                    <a:pt x="965" y="186"/>
                  </a:lnTo>
                  <a:close/>
                  <a:moveTo>
                    <a:pt x="883" y="188"/>
                  </a:moveTo>
                  <a:lnTo>
                    <a:pt x="893" y="190"/>
                  </a:lnTo>
                  <a:lnTo>
                    <a:pt x="903" y="193"/>
                  </a:lnTo>
                  <a:lnTo>
                    <a:pt x="909" y="201"/>
                  </a:lnTo>
                  <a:lnTo>
                    <a:pt x="919" y="208"/>
                  </a:lnTo>
                  <a:lnTo>
                    <a:pt x="919" y="210"/>
                  </a:lnTo>
                  <a:lnTo>
                    <a:pt x="918" y="211"/>
                  </a:lnTo>
                  <a:lnTo>
                    <a:pt x="916" y="211"/>
                  </a:lnTo>
                  <a:lnTo>
                    <a:pt x="914" y="211"/>
                  </a:lnTo>
                  <a:lnTo>
                    <a:pt x="901" y="208"/>
                  </a:lnTo>
                  <a:lnTo>
                    <a:pt x="884" y="205"/>
                  </a:lnTo>
                  <a:lnTo>
                    <a:pt x="878" y="210"/>
                  </a:lnTo>
                  <a:lnTo>
                    <a:pt x="864" y="213"/>
                  </a:lnTo>
                  <a:lnTo>
                    <a:pt x="873" y="200"/>
                  </a:lnTo>
                  <a:lnTo>
                    <a:pt x="883" y="188"/>
                  </a:lnTo>
                  <a:close/>
                  <a:moveTo>
                    <a:pt x="1611" y="275"/>
                  </a:moveTo>
                  <a:lnTo>
                    <a:pt x="1618" y="277"/>
                  </a:lnTo>
                  <a:lnTo>
                    <a:pt x="1624" y="278"/>
                  </a:lnTo>
                  <a:lnTo>
                    <a:pt x="1626" y="280"/>
                  </a:lnTo>
                  <a:lnTo>
                    <a:pt x="1626" y="282"/>
                  </a:lnTo>
                  <a:lnTo>
                    <a:pt x="1626" y="283"/>
                  </a:lnTo>
                  <a:lnTo>
                    <a:pt x="1626" y="283"/>
                  </a:lnTo>
                  <a:lnTo>
                    <a:pt x="1626" y="283"/>
                  </a:lnTo>
                  <a:lnTo>
                    <a:pt x="1624" y="283"/>
                  </a:lnTo>
                  <a:lnTo>
                    <a:pt x="1616" y="280"/>
                  </a:lnTo>
                  <a:lnTo>
                    <a:pt x="1611" y="275"/>
                  </a:lnTo>
                  <a:close/>
                  <a:moveTo>
                    <a:pt x="322" y="283"/>
                  </a:moveTo>
                  <a:lnTo>
                    <a:pt x="322" y="287"/>
                  </a:lnTo>
                  <a:lnTo>
                    <a:pt x="323" y="288"/>
                  </a:lnTo>
                  <a:lnTo>
                    <a:pt x="329" y="288"/>
                  </a:lnTo>
                  <a:lnTo>
                    <a:pt x="335" y="287"/>
                  </a:lnTo>
                  <a:lnTo>
                    <a:pt x="335" y="290"/>
                  </a:lnTo>
                  <a:lnTo>
                    <a:pt x="335" y="293"/>
                  </a:lnTo>
                  <a:lnTo>
                    <a:pt x="334" y="295"/>
                  </a:lnTo>
                  <a:lnTo>
                    <a:pt x="332" y="298"/>
                  </a:lnTo>
                  <a:lnTo>
                    <a:pt x="327" y="300"/>
                  </a:lnTo>
                  <a:lnTo>
                    <a:pt x="323" y="303"/>
                  </a:lnTo>
                  <a:lnTo>
                    <a:pt x="322" y="303"/>
                  </a:lnTo>
                  <a:lnTo>
                    <a:pt x="320" y="303"/>
                  </a:lnTo>
                  <a:lnTo>
                    <a:pt x="318" y="295"/>
                  </a:lnTo>
                  <a:lnTo>
                    <a:pt x="317" y="288"/>
                  </a:lnTo>
                  <a:lnTo>
                    <a:pt x="318" y="287"/>
                  </a:lnTo>
                  <a:lnTo>
                    <a:pt x="322" y="283"/>
                  </a:lnTo>
                  <a:close/>
                  <a:moveTo>
                    <a:pt x="1664" y="347"/>
                  </a:moveTo>
                  <a:lnTo>
                    <a:pt x="1664" y="352"/>
                  </a:lnTo>
                  <a:lnTo>
                    <a:pt x="1664" y="357"/>
                  </a:lnTo>
                  <a:lnTo>
                    <a:pt x="1661" y="359"/>
                  </a:lnTo>
                  <a:lnTo>
                    <a:pt x="1656" y="359"/>
                  </a:lnTo>
                  <a:lnTo>
                    <a:pt x="1658" y="362"/>
                  </a:lnTo>
                  <a:lnTo>
                    <a:pt x="1659" y="364"/>
                  </a:lnTo>
                  <a:lnTo>
                    <a:pt x="1661" y="365"/>
                  </a:lnTo>
                  <a:lnTo>
                    <a:pt x="1664" y="369"/>
                  </a:lnTo>
                  <a:lnTo>
                    <a:pt x="1664" y="369"/>
                  </a:lnTo>
                  <a:lnTo>
                    <a:pt x="1664" y="370"/>
                  </a:lnTo>
                  <a:lnTo>
                    <a:pt x="1643" y="372"/>
                  </a:lnTo>
                  <a:lnTo>
                    <a:pt x="1624" y="375"/>
                  </a:lnTo>
                  <a:lnTo>
                    <a:pt x="1606" y="380"/>
                  </a:lnTo>
                  <a:lnTo>
                    <a:pt x="1589" y="385"/>
                  </a:lnTo>
                  <a:lnTo>
                    <a:pt x="1589" y="385"/>
                  </a:lnTo>
                  <a:lnTo>
                    <a:pt x="1589" y="384"/>
                  </a:lnTo>
                  <a:lnTo>
                    <a:pt x="1591" y="382"/>
                  </a:lnTo>
                  <a:lnTo>
                    <a:pt x="1591" y="380"/>
                  </a:lnTo>
                  <a:lnTo>
                    <a:pt x="1604" y="372"/>
                  </a:lnTo>
                  <a:lnTo>
                    <a:pt x="1616" y="365"/>
                  </a:lnTo>
                  <a:lnTo>
                    <a:pt x="1608" y="364"/>
                  </a:lnTo>
                  <a:lnTo>
                    <a:pt x="1599" y="359"/>
                  </a:lnTo>
                  <a:lnTo>
                    <a:pt x="1603" y="350"/>
                  </a:lnTo>
                  <a:lnTo>
                    <a:pt x="1604" y="342"/>
                  </a:lnTo>
                  <a:lnTo>
                    <a:pt x="1614" y="342"/>
                  </a:lnTo>
                  <a:lnTo>
                    <a:pt x="1623" y="342"/>
                  </a:lnTo>
                  <a:lnTo>
                    <a:pt x="1618" y="329"/>
                  </a:lnTo>
                  <a:lnTo>
                    <a:pt x="1611" y="315"/>
                  </a:lnTo>
                  <a:lnTo>
                    <a:pt x="1603" y="302"/>
                  </a:lnTo>
                  <a:lnTo>
                    <a:pt x="1594" y="288"/>
                  </a:lnTo>
                  <a:lnTo>
                    <a:pt x="1594" y="288"/>
                  </a:lnTo>
                  <a:lnTo>
                    <a:pt x="1594" y="287"/>
                  </a:lnTo>
                  <a:lnTo>
                    <a:pt x="1601" y="287"/>
                  </a:lnTo>
                  <a:lnTo>
                    <a:pt x="1606" y="287"/>
                  </a:lnTo>
                  <a:lnTo>
                    <a:pt x="1606" y="292"/>
                  </a:lnTo>
                  <a:lnTo>
                    <a:pt x="1606" y="297"/>
                  </a:lnTo>
                  <a:lnTo>
                    <a:pt x="1608" y="297"/>
                  </a:lnTo>
                  <a:lnTo>
                    <a:pt x="1611" y="297"/>
                  </a:lnTo>
                  <a:lnTo>
                    <a:pt x="1614" y="293"/>
                  </a:lnTo>
                  <a:lnTo>
                    <a:pt x="1619" y="292"/>
                  </a:lnTo>
                  <a:lnTo>
                    <a:pt x="1624" y="290"/>
                  </a:lnTo>
                  <a:lnTo>
                    <a:pt x="1631" y="288"/>
                  </a:lnTo>
                  <a:lnTo>
                    <a:pt x="1631" y="297"/>
                  </a:lnTo>
                  <a:lnTo>
                    <a:pt x="1633" y="305"/>
                  </a:lnTo>
                  <a:lnTo>
                    <a:pt x="1636" y="313"/>
                  </a:lnTo>
                  <a:lnTo>
                    <a:pt x="1639" y="322"/>
                  </a:lnTo>
                  <a:lnTo>
                    <a:pt x="1648" y="337"/>
                  </a:lnTo>
                  <a:lnTo>
                    <a:pt x="1656" y="347"/>
                  </a:lnTo>
                  <a:lnTo>
                    <a:pt x="1661" y="347"/>
                  </a:lnTo>
                  <a:lnTo>
                    <a:pt x="1664" y="347"/>
                  </a:lnTo>
                  <a:close/>
                  <a:moveTo>
                    <a:pt x="0" y="320"/>
                  </a:moveTo>
                  <a:lnTo>
                    <a:pt x="4" y="320"/>
                  </a:lnTo>
                  <a:lnTo>
                    <a:pt x="9" y="320"/>
                  </a:lnTo>
                  <a:lnTo>
                    <a:pt x="9" y="322"/>
                  </a:lnTo>
                  <a:lnTo>
                    <a:pt x="7" y="324"/>
                  </a:lnTo>
                  <a:lnTo>
                    <a:pt x="5" y="324"/>
                  </a:lnTo>
                  <a:lnTo>
                    <a:pt x="4" y="324"/>
                  </a:lnTo>
                  <a:lnTo>
                    <a:pt x="2" y="324"/>
                  </a:lnTo>
                  <a:lnTo>
                    <a:pt x="0" y="325"/>
                  </a:lnTo>
                  <a:lnTo>
                    <a:pt x="0" y="322"/>
                  </a:lnTo>
                  <a:lnTo>
                    <a:pt x="0" y="320"/>
                  </a:lnTo>
                  <a:close/>
                  <a:moveTo>
                    <a:pt x="1564" y="322"/>
                  </a:moveTo>
                  <a:lnTo>
                    <a:pt x="1577" y="322"/>
                  </a:lnTo>
                  <a:lnTo>
                    <a:pt x="1591" y="324"/>
                  </a:lnTo>
                  <a:lnTo>
                    <a:pt x="1591" y="324"/>
                  </a:lnTo>
                  <a:lnTo>
                    <a:pt x="1591" y="325"/>
                  </a:lnTo>
                  <a:lnTo>
                    <a:pt x="1589" y="337"/>
                  </a:lnTo>
                  <a:lnTo>
                    <a:pt x="1586" y="350"/>
                  </a:lnTo>
                  <a:lnTo>
                    <a:pt x="1577" y="355"/>
                  </a:lnTo>
                  <a:lnTo>
                    <a:pt x="1566" y="360"/>
                  </a:lnTo>
                  <a:lnTo>
                    <a:pt x="1561" y="362"/>
                  </a:lnTo>
                  <a:lnTo>
                    <a:pt x="1556" y="364"/>
                  </a:lnTo>
                  <a:lnTo>
                    <a:pt x="1551" y="365"/>
                  </a:lnTo>
                  <a:lnTo>
                    <a:pt x="1546" y="364"/>
                  </a:lnTo>
                  <a:lnTo>
                    <a:pt x="1542" y="362"/>
                  </a:lnTo>
                  <a:lnTo>
                    <a:pt x="1539" y="360"/>
                  </a:lnTo>
                  <a:lnTo>
                    <a:pt x="1544" y="345"/>
                  </a:lnTo>
                  <a:lnTo>
                    <a:pt x="1551" y="330"/>
                  </a:lnTo>
                  <a:lnTo>
                    <a:pt x="1557" y="327"/>
                  </a:lnTo>
                  <a:lnTo>
                    <a:pt x="1564" y="322"/>
                  </a:lnTo>
                  <a:close/>
                  <a:moveTo>
                    <a:pt x="312" y="330"/>
                  </a:moveTo>
                  <a:lnTo>
                    <a:pt x="315" y="330"/>
                  </a:lnTo>
                  <a:lnTo>
                    <a:pt x="317" y="330"/>
                  </a:lnTo>
                  <a:lnTo>
                    <a:pt x="313" y="342"/>
                  </a:lnTo>
                  <a:lnTo>
                    <a:pt x="307" y="350"/>
                  </a:lnTo>
                  <a:lnTo>
                    <a:pt x="305" y="349"/>
                  </a:lnTo>
                  <a:lnTo>
                    <a:pt x="303" y="349"/>
                  </a:lnTo>
                  <a:lnTo>
                    <a:pt x="303" y="344"/>
                  </a:lnTo>
                  <a:lnTo>
                    <a:pt x="303" y="339"/>
                  </a:lnTo>
                  <a:lnTo>
                    <a:pt x="308" y="335"/>
                  </a:lnTo>
                  <a:lnTo>
                    <a:pt x="312" y="330"/>
                  </a:lnTo>
                  <a:close/>
                  <a:moveTo>
                    <a:pt x="1063" y="367"/>
                  </a:moveTo>
                  <a:lnTo>
                    <a:pt x="1067" y="370"/>
                  </a:lnTo>
                  <a:lnTo>
                    <a:pt x="1067" y="372"/>
                  </a:lnTo>
                  <a:lnTo>
                    <a:pt x="1067" y="375"/>
                  </a:lnTo>
                  <a:lnTo>
                    <a:pt x="1065" y="377"/>
                  </a:lnTo>
                  <a:lnTo>
                    <a:pt x="1062" y="382"/>
                  </a:lnTo>
                  <a:lnTo>
                    <a:pt x="1058" y="385"/>
                  </a:lnTo>
                  <a:lnTo>
                    <a:pt x="1062" y="385"/>
                  </a:lnTo>
                  <a:lnTo>
                    <a:pt x="1065" y="385"/>
                  </a:lnTo>
                  <a:lnTo>
                    <a:pt x="1065" y="390"/>
                  </a:lnTo>
                  <a:lnTo>
                    <a:pt x="1065" y="396"/>
                  </a:lnTo>
                  <a:lnTo>
                    <a:pt x="1068" y="392"/>
                  </a:lnTo>
                  <a:lnTo>
                    <a:pt x="1072" y="390"/>
                  </a:lnTo>
                  <a:lnTo>
                    <a:pt x="1075" y="389"/>
                  </a:lnTo>
                  <a:lnTo>
                    <a:pt x="1082" y="387"/>
                  </a:lnTo>
                  <a:lnTo>
                    <a:pt x="1087" y="389"/>
                  </a:lnTo>
                  <a:lnTo>
                    <a:pt x="1092" y="390"/>
                  </a:lnTo>
                  <a:lnTo>
                    <a:pt x="1089" y="409"/>
                  </a:lnTo>
                  <a:lnTo>
                    <a:pt x="1084" y="429"/>
                  </a:lnTo>
                  <a:lnTo>
                    <a:pt x="1079" y="429"/>
                  </a:lnTo>
                  <a:lnTo>
                    <a:pt x="1074" y="429"/>
                  </a:lnTo>
                  <a:lnTo>
                    <a:pt x="1072" y="427"/>
                  </a:lnTo>
                  <a:lnTo>
                    <a:pt x="1068" y="427"/>
                  </a:lnTo>
                  <a:lnTo>
                    <a:pt x="1068" y="422"/>
                  </a:lnTo>
                  <a:lnTo>
                    <a:pt x="1067" y="419"/>
                  </a:lnTo>
                  <a:lnTo>
                    <a:pt x="1065" y="421"/>
                  </a:lnTo>
                  <a:lnTo>
                    <a:pt x="1062" y="422"/>
                  </a:lnTo>
                  <a:lnTo>
                    <a:pt x="1058" y="426"/>
                  </a:lnTo>
                  <a:lnTo>
                    <a:pt x="1055" y="429"/>
                  </a:lnTo>
                  <a:lnTo>
                    <a:pt x="1052" y="422"/>
                  </a:lnTo>
                  <a:lnTo>
                    <a:pt x="1048" y="416"/>
                  </a:lnTo>
                  <a:lnTo>
                    <a:pt x="1037" y="417"/>
                  </a:lnTo>
                  <a:lnTo>
                    <a:pt x="1027" y="417"/>
                  </a:lnTo>
                  <a:lnTo>
                    <a:pt x="1025" y="412"/>
                  </a:lnTo>
                  <a:lnTo>
                    <a:pt x="1025" y="406"/>
                  </a:lnTo>
                  <a:lnTo>
                    <a:pt x="1035" y="399"/>
                  </a:lnTo>
                  <a:lnTo>
                    <a:pt x="1047" y="389"/>
                  </a:lnTo>
                  <a:lnTo>
                    <a:pt x="1057" y="377"/>
                  </a:lnTo>
                  <a:lnTo>
                    <a:pt x="1063" y="367"/>
                  </a:lnTo>
                  <a:close/>
                  <a:moveTo>
                    <a:pt x="719" y="399"/>
                  </a:moveTo>
                  <a:lnTo>
                    <a:pt x="707" y="406"/>
                  </a:lnTo>
                  <a:lnTo>
                    <a:pt x="693" y="411"/>
                  </a:lnTo>
                  <a:lnTo>
                    <a:pt x="688" y="414"/>
                  </a:lnTo>
                  <a:lnTo>
                    <a:pt x="682" y="417"/>
                  </a:lnTo>
                  <a:lnTo>
                    <a:pt x="677" y="422"/>
                  </a:lnTo>
                  <a:lnTo>
                    <a:pt x="673" y="429"/>
                  </a:lnTo>
                  <a:lnTo>
                    <a:pt x="673" y="431"/>
                  </a:lnTo>
                  <a:lnTo>
                    <a:pt x="675" y="431"/>
                  </a:lnTo>
                  <a:lnTo>
                    <a:pt x="683" y="431"/>
                  </a:lnTo>
                  <a:lnTo>
                    <a:pt x="690" y="427"/>
                  </a:lnTo>
                  <a:lnTo>
                    <a:pt x="695" y="424"/>
                  </a:lnTo>
                  <a:lnTo>
                    <a:pt x="704" y="421"/>
                  </a:lnTo>
                  <a:lnTo>
                    <a:pt x="720" y="427"/>
                  </a:lnTo>
                  <a:lnTo>
                    <a:pt x="739" y="432"/>
                  </a:lnTo>
                  <a:lnTo>
                    <a:pt x="739" y="434"/>
                  </a:lnTo>
                  <a:lnTo>
                    <a:pt x="737" y="436"/>
                  </a:lnTo>
                  <a:lnTo>
                    <a:pt x="727" y="439"/>
                  </a:lnTo>
                  <a:lnTo>
                    <a:pt x="717" y="442"/>
                  </a:lnTo>
                  <a:lnTo>
                    <a:pt x="709" y="447"/>
                  </a:lnTo>
                  <a:lnTo>
                    <a:pt x="702" y="454"/>
                  </a:lnTo>
                  <a:lnTo>
                    <a:pt x="695" y="461"/>
                  </a:lnTo>
                  <a:lnTo>
                    <a:pt x="690" y="469"/>
                  </a:lnTo>
                  <a:lnTo>
                    <a:pt x="685" y="479"/>
                  </a:lnTo>
                  <a:lnTo>
                    <a:pt x="682" y="489"/>
                  </a:lnTo>
                  <a:lnTo>
                    <a:pt x="683" y="491"/>
                  </a:lnTo>
                  <a:lnTo>
                    <a:pt x="683" y="491"/>
                  </a:lnTo>
                  <a:lnTo>
                    <a:pt x="690" y="491"/>
                  </a:lnTo>
                  <a:lnTo>
                    <a:pt x="697" y="491"/>
                  </a:lnTo>
                  <a:lnTo>
                    <a:pt x="704" y="474"/>
                  </a:lnTo>
                  <a:lnTo>
                    <a:pt x="714" y="459"/>
                  </a:lnTo>
                  <a:lnTo>
                    <a:pt x="719" y="452"/>
                  </a:lnTo>
                  <a:lnTo>
                    <a:pt x="725" y="447"/>
                  </a:lnTo>
                  <a:lnTo>
                    <a:pt x="732" y="444"/>
                  </a:lnTo>
                  <a:lnTo>
                    <a:pt x="742" y="441"/>
                  </a:lnTo>
                  <a:lnTo>
                    <a:pt x="742" y="442"/>
                  </a:lnTo>
                  <a:lnTo>
                    <a:pt x="742" y="444"/>
                  </a:lnTo>
                  <a:lnTo>
                    <a:pt x="744" y="451"/>
                  </a:lnTo>
                  <a:lnTo>
                    <a:pt x="744" y="457"/>
                  </a:lnTo>
                  <a:lnTo>
                    <a:pt x="742" y="464"/>
                  </a:lnTo>
                  <a:lnTo>
                    <a:pt x="739" y="469"/>
                  </a:lnTo>
                  <a:lnTo>
                    <a:pt x="747" y="469"/>
                  </a:lnTo>
                  <a:lnTo>
                    <a:pt x="755" y="471"/>
                  </a:lnTo>
                  <a:lnTo>
                    <a:pt x="762" y="461"/>
                  </a:lnTo>
                  <a:lnTo>
                    <a:pt x="770" y="452"/>
                  </a:lnTo>
                  <a:lnTo>
                    <a:pt x="777" y="454"/>
                  </a:lnTo>
                  <a:lnTo>
                    <a:pt x="784" y="454"/>
                  </a:lnTo>
                  <a:lnTo>
                    <a:pt x="786" y="452"/>
                  </a:lnTo>
                  <a:lnTo>
                    <a:pt x="786" y="451"/>
                  </a:lnTo>
                  <a:lnTo>
                    <a:pt x="767" y="437"/>
                  </a:lnTo>
                  <a:lnTo>
                    <a:pt x="747" y="427"/>
                  </a:lnTo>
                  <a:lnTo>
                    <a:pt x="749" y="421"/>
                  </a:lnTo>
                  <a:lnTo>
                    <a:pt x="750" y="416"/>
                  </a:lnTo>
                  <a:lnTo>
                    <a:pt x="744" y="409"/>
                  </a:lnTo>
                  <a:lnTo>
                    <a:pt x="735" y="402"/>
                  </a:lnTo>
                  <a:lnTo>
                    <a:pt x="727" y="401"/>
                  </a:lnTo>
                  <a:lnTo>
                    <a:pt x="719" y="399"/>
                  </a:lnTo>
                  <a:close/>
                  <a:moveTo>
                    <a:pt x="1999" y="442"/>
                  </a:moveTo>
                  <a:lnTo>
                    <a:pt x="1991" y="439"/>
                  </a:lnTo>
                  <a:lnTo>
                    <a:pt x="1984" y="434"/>
                  </a:lnTo>
                  <a:lnTo>
                    <a:pt x="1979" y="432"/>
                  </a:lnTo>
                  <a:lnTo>
                    <a:pt x="1974" y="432"/>
                  </a:lnTo>
                  <a:lnTo>
                    <a:pt x="1969" y="432"/>
                  </a:lnTo>
                  <a:lnTo>
                    <a:pt x="1964" y="434"/>
                  </a:lnTo>
                  <a:lnTo>
                    <a:pt x="1962" y="442"/>
                  </a:lnTo>
                  <a:lnTo>
                    <a:pt x="1961" y="447"/>
                  </a:lnTo>
                  <a:lnTo>
                    <a:pt x="1956" y="451"/>
                  </a:lnTo>
                  <a:lnTo>
                    <a:pt x="1949" y="454"/>
                  </a:lnTo>
                  <a:lnTo>
                    <a:pt x="1949" y="468"/>
                  </a:lnTo>
                  <a:lnTo>
                    <a:pt x="1949" y="479"/>
                  </a:lnTo>
                  <a:lnTo>
                    <a:pt x="1949" y="493"/>
                  </a:lnTo>
                  <a:lnTo>
                    <a:pt x="1949" y="508"/>
                  </a:lnTo>
                  <a:lnTo>
                    <a:pt x="1942" y="511"/>
                  </a:lnTo>
                  <a:lnTo>
                    <a:pt x="1937" y="513"/>
                  </a:lnTo>
                  <a:lnTo>
                    <a:pt x="1949" y="513"/>
                  </a:lnTo>
                  <a:lnTo>
                    <a:pt x="1959" y="511"/>
                  </a:lnTo>
                  <a:lnTo>
                    <a:pt x="1969" y="508"/>
                  </a:lnTo>
                  <a:lnTo>
                    <a:pt x="1979" y="504"/>
                  </a:lnTo>
                  <a:lnTo>
                    <a:pt x="1998" y="496"/>
                  </a:lnTo>
                  <a:lnTo>
                    <a:pt x="2018" y="489"/>
                  </a:lnTo>
                  <a:lnTo>
                    <a:pt x="2018" y="489"/>
                  </a:lnTo>
                  <a:lnTo>
                    <a:pt x="2019" y="489"/>
                  </a:lnTo>
                  <a:lnTo>
                    <a:pt x="2026" y="489"/>
                  </a:lnTo>
                  <a:lnTo>
                    <a:pt x="2031" y="491"/>
                  </a:lnTo>
                  <a:lnTo>
                    <a:pt x="2034" y="493"/>
                  </a:lnTo>
                  <a:lnTo>
                    <a:pt x="2040" y="494"/>
                  </a:lnTo>
                  <a:lnTo>
                    <a:pt x="2045" y="501"/>
                  </a:lnTo>
                  <a:lnTo>
                    <a:pt x="2051" y="506"/>
                  </a:lnTo>
                  <a:lnTo>
                    <a:pt x="2065" y="504"/>
                  </a:lnTo>
                  <a:lnTo>
                    <a:pt x="2078" y="503"/>
                  </a:lnTo>
                  <a:lnTo>
                    <a:pt x="2091" y="501"/>
                  </a:lnTo>
                  <a:lnTo>
                    <a:pt x="2105" y="501"/>
                  </a:lnTo>
                  <a:lnTo>
                    <a:pt x="2105" y="498"/>
                  </a:lnTo>
                  <a:lnTo>
                    <a:pt x="2105" y="496"/>
                  </a:lnTo>
                  <a:lnTo>
                    <a:pt x="2098" y="493"/>
                  </a:lnTo>
                  <a:lnTo>
                    <a:pt x="2093" y="489"/>
                  </a:lnTo>
                  <a:lnTo>
                    <a:pt x="2090" y="484"/>
                  </a:lnTo>
                  <a:lnTo>
                    <a:pt x="2090" y="476"/>
                  </a:lnTo>
                  <a:lnTo>
                    <a:pt x="2075" y="471"/>
                  </a:lnTo>
                  <a:lnTo>
                    <a:pt x="2060" y="464"/>
                  </a:lnTo>
                  <a:lnTo>
                    <a:pt x="2053" y="459"/>
                  </a:lnTo>
                  <a:lnTo>
                    <a:pt x="2048" y="454"/>
                  </a:lnTo>
                  <a:lnTo>
                    <a:pt x="2046" y="449"/>
                  </a:lnTo>
                  <a:lnTo>
                    <a:pt x="2046" y="442"/>
                  </a:lnTo>
                  <a:lnTo>
                    <a:pt x="2051" y="441"/>
                  </a:lnTo>
                  <a:lnTo>
                    <a:pt x="2055" y="439"/>
                  </a:lnTo>
                  <a:lnTo>
                    <a:pt x="2055" y="439"/>
                  </a:lnTo>
                  <a:lnTo>
                    <a:pt x="2055" y="437"/>
                  </a:lnTo>
                  <a:lnTo>
                    <a:pt x="2051" y="436"/>
                  </a:lnTo>
                  <a:lnTo>
                    <a:pt x="2048" y="434"/>
                  </a:lnTo>
                  <a:lnTo>
                    <a:pt x="2058" y="431"/>
                  </a:lnTo>
                  <a:lnTo>
                    <a:pt x="2065" y="426"/>
                  </a:lnTo>
                  <a:lnTo>
                    <a:pt x="2063" y="422"/>
                  </a:lnTo>
                  <a:lnTo>
                    <a:pt x="2061" y="421"/>
                  </a:lnTo>
                  <a:lnTo>
                    <a:pt x="2056" y="419"/>
                  </a:lnTo>
                  <a:lnTo>
                    <a:pt x="2053" y="417"/>
                  </a:lnTo>
                  <a:lnTo>
                    <a:pt x="2046" y="424"/>
                  </a:lnTo>
                  <a:lnTo>
                    <a:pt x="2036" y="429"/>
                  </a:lnTo>
                  <a:lnTo>
                    <a:pt x="2028" y="432"/>
                  </a:lnTo>
                  <a:lnTo>
                    <a:pt x="2018" y="436"/>
                  </a:lnTo>
                  <a:lnTo>
                    <a:pt x="2018" y="437"/>
                  </a:lnTo>
                  <a:lnTo>
                    <a:pt x="2018" y="439"/>
                  </a:lnTo>
                  <a:lnTo>
                    <a:pt x="2023" y="441"/>
                  </a:lnTo>
                  <a:lnTo>
                    <a:pt x="2024" y="442"/>
                  </a:lnTo>
                  <a:lnTo>
                    <a:pt x="2026" y="444"/>
                  </a:lnTo>
                  <a:lnTo>
                    <a:pt x="2028" y="449"/>
                  </a:lnTo>
                  <a:lnTo>
                    <a:pt x="2026" y="451"/>
                  </a:lnTo>
                  <a:lnTo>
                    <a:pt x="2024" y="454"/>
                  </a:lnTo>
                  <a:lnTo>
                    <a:pt x="2019" y="456"/>
                  </a:lnTo>
                  <a:lnTo>
                    <a:pt x="2014" y="459"/>
                  </a:lnTo>
                  <a:lnTo>
                    <a:pt x="2009" y="459"/>
                  </a:lnTo>
                  <a:lnTo>
                    <a:pt x="2001" y="459"/>
                  </a:lnTo>
                  <a:lnTo>
                    <a:pt x="2001" y="451"/>
                  </a:lnTo>
                  <a:lnTo>
                    <a:pt x="1999" y="442"/>
                  </a:lnTo>
                  <a:close/>
                  <a:moveTo>
                    <a:pt x="2194" y="449"/>
                  </a:moveTo>
                  <a:lnTo>
                    <a:pt x="2204" y="447"/>
                  </a:lnTo>
                  <a:lnTo>
                    <a:pt x="2214" y="447"/>
                  </a:lnTo>
                  <a:lnTo>
                    <a:pt x="2212" y="437"/>
                  </a:lnTo>
                  <a:lnTo>
                    <a:pt x="2212" y="427"/>
                  </a:lnTo>
                  <a:lnTo>
                    <a:pt x="2207" y="424"/>
                  </a:lnTo>
                  <a:lnTo>
                    <a:pt x="2202" y="422"/>
                  </a:lnTo>
                  <a:lnTo>
                    <a:pt x="2185" y="429"/>
                  </a:lnTo>
                  <a:lnTo>
                    <a:pt x="2172" y="434"/>
                  </a:lnTo>
                  <a:lnTo>
                    <a:pt x="2165" y="437"/>
                  </a:lnTo>
                  <a:lnTo>
                    <a:pt x="2158" y="441"/>
                  </a:lnTo>
                  <a:lnTo>
                    <a:pt x="2153" y="446"/>
                  </a:lnTo>
                  <a:lnTo>
                    <a:pt x="2147" y="452"/>
                  </a:lnTo>
                  <a:lnTo>
                    <a:pt x="2150" y="459"/>
                  </a:lnTo>
                  <a:lnTo>
                    <a:pt x="2155" y="464"/>
                  </a:lnTo>
                  <a:lnTo>
                    <a:pt x="2160" y="468"/>
                  </a:lnTo>
                  <a:lnTo>
                    <a:pt x="2167" y="473"/>
                  </a:lnTo>
                  <a:lnTo>
                    <a:pt x="2172" y="484"/>
                  </a:lnTo>
                  <a:lnTo>
                    <a:pt x="2175" y="494"/>
                  </a:lnTo>
                  <a:lnTo>
                    <a:pt x="2178" y="498"/>
                  </a:lnTo>
                  <a:lnTo>
                    <a:pt x="2183" y="503"/>
                  </a:lnTo>
                  <a:lnTo>
                    <a:pt x="2190" y="506"/>
                  </a:lnTo>
                  <a:lnTo>
                    <a:pt x="2202" y="509"/>
                  </a:lnTo>
                  <a:lnTo>
                    <a:pt x="2199" y="516"/>
                  </a:lnTo>
                  <a:lnTo>
                    <a:pt x="2194" y="519"/>
                  </a:lnTo>
                  <a:lnTo>
                    <a:pt x="2189" y="521"/>
                  </a:lnTo>
                  <a:lnTo>
                    <a:pt x="2182" y="524"/>
                  </a:lnTo>
                  <a:lnTo>
                    <a:pt x="2182" y="529"/>
                  </a:lnTo>
                  <a:lnTo>
                    <a:pt x="2182" y="533"/>
                  </a:lnTo>
                  <a:lnTo>
                    <a:pt x="2194" y="548"/>
                  </a:lnTo>
                  <a:lnTo>
                    <a:pt x="2205" y="556"/>
                  </a:lnTo>
                  <a:lnTo>
                    <a:pt x="2212" y="560"/>
                  </a:lnTo>
                  <a:lnTo>
                    <a:pt x="2222" y="561"/>
                  </a:lnTo>
                  <a:lnTo>
                    <a:pt x="2232" y="563"/>
                  </a:lnTo>
                  <a:lnTo>
                    <a:pt x="2245" y="563"/>
                  </a:lnTo>
                  <a:lnTo>
                    <a:pt x="2249" y="560"/>
                  </a:lnTo>
                  <a:lnTo>
                    <a:pt x="2250" y="556"/>
                  </a:lnTo>
                  <a:lnTo>
                    <a:pt x="2249" y="555"/>
                  </a:lnTo>
                  <a:lnTo>
                    <a:pt x="2247" y="553"/>
                  </a:lnTo>
                  <a:lnTo>
                    <a:pt x="2242" y="551"/>
                  </a:lnTo>
                  <a:lnTo>
                    <a:pt x="2237" y="550"/>
                  </a:lnTo>
                  <a:lnTo>
                    <a:pt x="2235" y="533"/>
                  </a:lnTo>
                  <a:lnTo>
                    <a:pt x="2234" y="519"/>
                  </a:lnTo>
                  <a:lnTo>
                    <a:pt x="2229" y="508"/>
                  </a:lnTo>
                  <a:lnTo>
                    <a:pt x="2222" y="496"/>
                  </a:lnTo>
                  <a:lnTo>
                    <a:pt x="2209" y="478"/>
                  </a:lnTo>
                  <a:lnTo>
                    <a:pt x="2194" y="459"/>
                  </a:lnTo>
                  <a:lnTo>
                    <a:pt x="2194" y="454"/>
                  </a:lnTo>
                  <a:lnTo>
                    <a:pt x="2194" y="449"/>
                  </a:lnTo>
                  <a:close/>
                  <a:moveTo>
                    <a:pt x="1683" y="469"/>
                  </a:moveTo>
                  <a:lnTo>
                    <a:pt x="1683" y="476"/>
                  </a:lnTo>
                  <a:lnTo>
                    <a:pt x="1683" y="483"/>
                  </a:lnTo>
                  <a:lnTo>
                    <a:pt x="1671" y="493"/>
                  </a:lnTo>
                  <a:lnTo>
                    <a:pt x="1661" y="501"/>
                  </a:lnTo>
                  <a:lnTo>
                    <a:pt x="1649" y="508"/>
                  </a:lnTo>
                  <a:lnTo>
                    <a:pt x="1634" y="513"/>
                  </a:lnTo>
                  <a:lnTo>
                    <a:pt x="1636" y="521"/>
                  </a:lnTo>
                  <a:lnTo>
                    <a:pt x="1639" y="528"/>
                  </a:lnTo>
                  <a:lnTo>
                    <a:pt x="1639" y="534"/>
                  </a:lnTo>
                  <a:lnTo>
                    <a:pt x="1638" y="541"/>
                  </a:lnTo>
                  <a:lnTo>
                    <a:pt x="1626" y="551"/>
                  </a:lnTo>
                  <a:lnTo>
                    <a:pt x="1616" y="558"/>
                  </a:lnTo>
                  <a:lnTo>
                    <a:pt x="1609" y="561"/>
                  </a:lnTo>
                  <a:lnTo>
                    <a:pt x="1603" y="563"/>
                  </a:lnTo>
                  <a:lnTo>
                    <a:pt x="1592" y="565"/>
                  </a:lnTo>
                  <a:lnTo>
                    <a:pt x="1581" y="565"/>
                  </a:lnTo>
                  <a:lnTo>
                    <a:pt x="1579" y="573"/>
                  </a:lnTo>
                  <a:lnTo>
                    <a:pt x="1579" y="581"/>
                  </a:lnTo>
                  <a:lnTo>
                    <a:pt x="1579" y="581"/>
                  </a:lnTo>
                  <a:lnTo>
                    <a:pt x="1581" y="583"/>
                  </a:lnTo>
                  <a:lnTo>
                    <a:pt x="1594" y="581"/>
                  </a:lnTo>
                  <a:lnTo>
                    <a:pt x="1606" y="580"/>
                  </a:lnTo>
                  <a:lnTo>
                    <a:pt x="1614" y="578"/>
                  </a:lnTo>
                  <a:lnTo>
                    <a:pt x="1623" y="576"/>
                  </a:lnTo>
                  <a:lnTo>
                    <a:pt x="1636" y="570"/>
                  </a:lnTo>
                  <a:lnTo>
                    <a:pt x="1653" y="565"/>
                  </a:lnTo>
                  <a:lnTo>
                    <a:pt x="1666" y="565"/>
                  </a:lnTo>
                  <a:lnTo>
                    <a:pt x="1680" y="565"/>
                  </a:lnTo>
                  <a:lnTo>
                    <a:pt x="1695" y="563"/>
                  </a:lnTo>
                  <a:lnTo>
                    <a:pt x="1708" y="563"/>
                  </a:lnTo>
                  <a:lnTo>
                    <a:pt x="1718" y="561"/>
                  </a:lnTo>
                  <a:lnTo>
                    <a:pt x="1728" y="556"/>
                  </a:lnTo>
                  <a:lnTo>
                    <a:pt x="1735" y="555"/>
                  </a:lnTo>
                  <a:lnTo>
                    <a:pt x="1740" y="555"/>
                  </a:lnTo>
                  <a:lnTo>
                    <a:pt x="1747" y="555"/>
                  </a:lnTo>
                  <a:lnTo>
                    <a:pt x="1752" y="556"/>
                  </a:lnTo>
                  <a:lnTo>
                    <a:pt x="1755" y="556"/>
                  </a:lnTo>
                  <a:lnTo>
                    <a:pt x="1758" y="558"/>
                  </a:lnTo>
                  <a:lnTo>
                    <a:pt x="1760" y="573"/>
                  </a:lnTo>
                  <a:lnTo>
                    <a:pt x="1763" y="588"/>
                  </a:lnTo>
                  <a:lnTo>
                    <a:pt x="1768" y="601"/>
                  </a:lnTo>
                  <a:lnTo>
                    <a:pt x="1773" y="612"/>
                  </a:lnTo>
                  <a:lnTo>
                    <a:pt x="1787" y="615"/>
                  </a:lnTo>
                  <a:lnTo>
                    <a:pt x="1798" y="618"/>
                  </a:lnTo>
                  <a:lnTo>
                    <a:pt x="1808" y="625"/>
                  </a:lnTo>
                  <a:lnTo>
                    <a:pt x="1817" y="632"/>
                  </a:lnTo>
                  <a:lnTo>
                    <a:pt x="1827" y="637"/>
                  </a:lnTo>
                  <a:lnTo>
                    <a:pt x="1835" y="643"/>
                  </a:lnTo>
                  <a:lnTo>
                    <a:pt x="1847" y="647"/>
                  </a:lnTo>
                  <a:lnTo>
                    <a:pt x="1862" y="648"/>
                  </a:lnTo>
                  <a:lnTo>
                    <a:pt x="1865" y="633"/>
                  </a:lnTo>
                  <a:lnTo>
                    <a:pt x="1870" y="620"/>
                  </a:lnTo>
                  <a:lnTo>
                    <a:pt x="1875" y="618"/>
                  </a:lnTo>
                  <a:lnTo>
                    <a:pt x="1880" y="617"/>
                  </a:lnTo>
                  <a:lnTo>
                    <a:pt x="1885" y="617"/>
                  </a:lnTo>
                  <a:lnTo>
                    <a:pt x="1891" y="617"/>
                  </a:lnTo>
                  <a:lnTo>
                    <a:pt x="1901" y="620"/>
                  </a:lnTo>
                  <a:lnTo>
                    <a:pt x="1911" y="623"/>
                  </a:lnTo>
                  <a:lnTo>
                    <a:pt x="1926" y="628"/>
                  </a:lnTo>
                  <a:lnTo>
                    <a:pt x="1942" y="633"/>
                  </a:lnTo>
                  <a:lnTo>
                    <a:pt x="1959" y="638"/>
                  </a:lnTo>
                  <a:lnTo>
                    <a:pt x="1976" y="643"/>
                  </a:lnTo>
                  <a:lnTo>
                    <a:pt x="1986" y="638"/>
                  </a:lnTo>
                  <a:lnTo>
                    <a:pt x="1996" y="633"/>
                  </a:lnTo>
                  <a:lnTo>
                    <a:pt x="2004" y="633"/>
                  </a:lnTo>
                  <a:lnTo>
                    <a:pt x="2011" y="633"/>
                  </a:lnTo>
                  <a:lnTo>
                    <a:pt x="2018" y="633"/>
                  </a:lnTo>
                  <a:lnTo>
                    <a:pt x="2024" y="635"/>
                  </a:lnTo>
                  <a:lnTo>
                    <a:pt x="2034" y="640"/>
                  </a:lnTo>
                  <a:lnTo>
                    <a:pt x="2043" y="645"/>
                  </a:lnTo>
                  <a:lnTo>
                    <a:pt x="2043" y="640"/>
                  </a:lnTo>
                  <a:lnTo>
                    <a:pt x="2043" y="635"/>
                  </a:lnTo>
                  <a:lnTo>
                    <a:pt x="2041" y="627"/>
                  </a:lnTo>
                  <a:lnTo>
                    <a:pt x="2040" y="618"/>
                  </a:lnTo>
                  <a:lnTo>
                    <a:pt x="2040" y="608"/>
                  </a:lnTo>
                  <a:lnTo>
                    <a:pt x="2041" y="598"/>
                  </a:lnTo>
                  <a:lnTo>
                    <a:pt x="2046" y="580"/>
                  </a:lnTo>
                  <a:lnTo>
                    <a:pt x="2051" y="563"/>
                  </a:lnTo>
                  <a:lnTo>
                    <a:pt x="2050" y="561"/>
                  </a:lnTo>
                  <a:lnTo>
                    <a:pt x="2046" y="560"/>
                  </a:lnTo>
                  <a:lnTo>
                    <a:pt x="2028" y="566"/>
                  </a:lnTo>
                  <a:lnTo>
                    <a:pt x="2009" y="575"/>
                  </a:lnTo>
                  <a:lnTo>
                    <a:pt x="1999" y="568"/>
                  </a:lnTo>
                  <a:lnTo>
                    <a:pt x="1989" y="561"/>
                  </a:lnTo>
                  <a:lnTo>
                    <a:pt x="1983" y="566"/>
                  </a:lnTo>
                  <a:lnTo>
                    <a:pt x="1978" y="568"/>
                  </a:lnTo>
                  <a:lnTo>
                    <a:pt x="1971" y="568"/>
                  </a:lnTo>
                  <a:lnTo>
                    <a:pt x="1966" y="566"/>
                  </a:lnTo>
                  <a:lnTo>
                    <a:pt x="1956" y="560"/>
                  </a:lnTo>
                  <a:lnTo>
                    <a:pt x="1947" y="550"/>
                  </a:lnTo>
                  <a:lnTo>
                    <a:pt x="1931" y="523"/>
                  </a:lnTo>
                  <a:lnTo>
                    <a:pt x="1917" y="504"/>
                  </a:lnTo>
                  <a:lnTo>
                    <a:pt x="1909" y="508"/>
                  </a:lnTo>
                  <a:lnTo>
                    <a:pt x="1904" y="509"/>
                  </a:lnTo>
                  <a:lnTo>
                    <a:pt x="1897" y="511"/>
                  </a:lnTo>
                  <a:lnTo>
                    <a:pt x="1889" y="511"/>
                  </a:lnTo>
                  <a:lnTo>
                    <a:pt x="1887" y="516"/>
                  </a:lnTo>
                  <a:lnTo>
                    <a:pt x="1887" y="519"/>
                  </a:lnTo>
                  <a:lnTo>
                    <a:pt x="1892" y="526"/>
                  </a:lnTo>
                  <a:lnTo>
                    <a:pt x="1897" y="533"/>
                  </a:lnTo>
                  <a:lnTo>
                    <a:pt x="1901" y="541"/>
                  </a:lnTo>
                  <a:lnTo>
                    <a:pt x="1904" y="551"/>
                  </a:lnTo>
                  <a:lnTo>
                    <a:pt x="1901" y="558"/>
                  </a:lnTo>
                  <a:lnTo>
                    <a:pt x="1896" y="566"/>
                  </a:lnTo>
                  <a:lnTo>
                    <a:pt x="1874" y="543"/>
                  </a:lnTo>
                  <a:lnTo>
                    <a:pt x="1855" y="519"/>
                  </a:lnTo>
                  <a:lnTo>
                    <a:pt x="1854" y="506"/>
                  </a:lnTo>
                  <a:lnTo>
                    <a:pt x="1854" y="493"/>
                  </a:lnTo>
                  <a:lnTo>
                    <a:pt x="1839" y="484"/>
                  </a:lnTo>
                  <a:lnTo>
                    <a:pt x="1822" y="476"/>
                  </a:lnTo>
                  <a:lnTo>
                    <a:pt x="1807" y="459"/>
                  </a:lnTo>
                  <a:lnTo>
                    <a:pt x="1792" y="444"/>
                  </a:lnTo>
                  <a:lnTo>
                    <a:pt x="1787" y="444"/>
                  </a:lnTo>
                  <a:lnTo>
                    <a:pt x="1782" y="446"/>
                  </a:lnTo>
                  <a:lnTo>
                    <a:pt x="1780" y="447"/>
                  </a:lnTo>
                  <a:lnTo>
                    <a:pt x="1777" y="451"/>
                  </a:lnTo>
                  <a:lnTo>
                    <a:pt x="1778" y="454"/>
                  </a:lnTo>
                  <a:lnTo>
                    <a:pt x="1778" y="457"/>
                  </a:lnTo>
                  <a:lnTo>
                    <a:pt x="1783" y="468"/>
                  </a:lnTo>
                  <a:lnTo>
                    <a:pt x="1792" y="474"/>
                  </a:lnTo>
                  <a:lnTo>
                    <a:pt x="1800" y="483"/>
                  </a:lnTo>
                  <a:lnTo>
                    <a:pt x="1808" y="489"/>
                  </a:lnTo>
                  <a:lnTo>
                    <a:pt x="1827" y="503"/>
                  </a:lnTo>
                  <a:lnTo>
                    <a:pt x="1842" y="516"/>
                  </a:lnTo>
                  <a:lnTo>
                    <a:pt x="1842" y="518"/>
                  </a:lnTo>
                  <a:lnTo>
                    <a:pt x="1842" y="518"/>
                  </a:lnTo>
                  <a:lnTo>
                    <a:pt x="1839" y="518"/>
                  </a:lnTo>
                  <a:lnTo>
                    <a:pt x="1835" y="518"/>
                  </a:lnTo>
                  <a:lnTo>
                    <a:pt x="1830" y="516"/>
                  </a:lnTo>
                  <a:lnTo>
                    <a:pt x="1827" y="513"/>
                  </a:lnTo>
                  <a:lnTo>
                    <a:pt x="1829" y="519"/>
                  </a:lnTo>
                  <a:lnTo>
                    <a:pt x="1829" y="526"/>
                  </a:lnTo>
                  <a:lnTo>
                    <a:pt x="1827" y="531"/>
                  </a:lnTo>
                  <a:lnTo>
                    <a:pt x="1825" y="536"/>
                  </a:lnTo>
                  <a:lnTo>
                    <a:pt x="1815" y="541"/>
                  </a:lnTo>
                  <a:lnTo>
                    <a:pt x="1807" y="546"/>
                  </a:lnTo>
                  <a:lnTo>
                    <a:pt x="1807" y="556"/>
                  </a:lnTo>
                  <a:lnTo>
                    <a:pt x="1807" y="565"/>
                  </a:lnTo>
                  <a:lnTo>
                    <a:pt x="1792" y="556"/>
                  </a:lnTo>
                  <a:lnTo>
                    <a:pt x="1778" y="548"/>
                  </a:lnTo>
                  <a:lnTo>
                    <a:pt x="1790" y="545"/>
                  </a:lnTo>
                  <a:lnTo>
                    <a:pt x="1802" y="543"/>
                  </a:lnTo>
                  <a:lnTo>
                    <a:pt x="1807" y="543"/>
                  </a:lnTo>
                  <a:lnTo>
                    <a:pt x="1810" y="541"/>
                  </a:lnTo>
                  <a:lnTo>
                    <a:pt x="1815" y="538"/>
                  </a:lnTo>
                  <a:lnTo>
                    <a:pt x="1819" y="534"/>
                  </a:lnTo>
                  <a:lnTo>
                    <a:pt x="1819" y="528"/>
                  </a:lnTo>
                  <a:lnTo>
                    <a:pt x="1817" y="521"/>
                  </a:lnTo>
                  <a:lnTo>
                    <a:pt x="1807" y="518"/>
                  </a:lnTo>
                  <a:lnTo>
                    <a:pt x="1797" y="513"/>
                  </a:lnTo>
                  <a:lnTo>
                    <a:pt x="1788" y="504"/>
                  </a:lnTo>
                  <a:lnTo>
                    <a:pt x="1780" y="498"/>
                  </a:lnTo>
                  <a:lnTo>
                    <a:pt x="1765" y="481"/>
                  </a:lnTo>
                  <a:lnTo>
                    <a:pt x="1750" y="466"/>
                  </a:lnTo>
                  <a:lnTo>
                    <a:pt x="1738" y="468"/>
                  </a:lnTo>
                  <a:lnTo>
                    <a:pt x="1731" y="471"/>
                  </a:lnTo>
                  <a:lnTo>
                    <a:pt x="1726" y="474"/>
                  </a:lnTo>
                  <a:lnTo>
                    <a:pt x="1720" y="479"/>
                  </a:lnTo>
                  <a:lnTo>
                    <a:pt x="1715" y="479"/>
                  </a:lnTo>
                  <a:lnTo>
                    <a:pt x="1710" y="479"/>
                  </a:lnTo>
                  <a:lnTo>
                    <a:pt x="1705" y="478"/>
                  </a:lnTo>
                  <a:lnTo>
                    <a:pt x="1700" y="476"/>
                  </a:lnTo>
                  <a:lnTo>
                    <a:pt x="1691" y="473"/>
                  </a:lnTo>
                  <a:lnTo>
                    <a:pt x="1683" y="469"/>
                  </a:lnTo>
                  <a:close/>
                  <a:moveTo>
                    <a:pt x="3156" y="446"/>
                  </a:moveTo>
                  <a:lnTo>
                    <a:pt x="3158" y="447"/>
                  </a:lnTo>
                  <a:lnTo>
                    <a:pt x="3160" y="449"/>
                  </a:lnTo>
                  <a:lnTo>
                    <a:pt x="3158" y="447"/>
                  </a:lnTo>
                  <a:lnTo>
                    <a:pt x="3156" y="446"/>
                  </a:lnTo>
                  <a:close/>
                  <a:moveTo>
                    <a:pt x="3221" y="468"/>
                  </a:moveTo>
                  <a:lnTo>
                    <a:pt x="3221" y="473"/>
                  </a:lnTo>
                  <a:lnTo>
                    <a:pt x="3221" y="478"/>
                  </a:lnTo>
                  <a:lnTo>
                    <a:pt x="3215" y="481"/>
                  </a:lnTo>
                  <a:lnTo>
                    <a:pt x="3208" y="483"/>
                  </a:lnTo>
                  <a:lnTo>
                    <a:pt x="3210" y="488"/>
                  </a:lnTo>
                  <a:lnTo>
                    <a:pt x="3210" y="493"/>
                  </a:lnTo>
                  <a:lnTo>
                    <a:pt x="3201" y="489"/>
                  </a:lnTo>
                  <a:lnTo>
                    <a:pt x="3193" y="488"/>
                  </a:lnTo>
                  <a:lnTo>
                    <a:pt x="3190" y="486"/>
                  </a:lnTo>
                  <a:lnTo>
                    <a:pt x="3186" y="488"/>
                  </a:lnTo>
                  <a:lnTo>
                    <a:pt x="3183" y="489"/>
                  </a:lnTo>
                  <a:lnTo>
                    <a:pt x="3180" y="494"/>
                  </a:lnTo>
                  <a:lnTo>
                    <a:pt x="3175" y="493"/>
                  </a:lnTo>
                  <a:lnTo>
                    <a:pt x="3171" y="491"/>
                  </a:lnTo>
                  <a:lnTo>
                    <a:pt x="3168" y="488"/>
                  </a:lnTo>
                  <a:lnTo>
                    <a:pt x="3166" y="481"/>
                  </a:lnTo>
                  <a:lnTo>
                    <a:pt x="3173" y="481"/>
                  </a:lnTo>
                  <a:lnTo>
                    <a:pt x="3180" y="479"/>
                  </a:lnTo>
                  <a:lnTo>
                    <a:pt x="3178" y="468"/>
                  </a:lnTo>
                  <a:lnTo>
                    <a:pt x="3176" y="456"/>
                  </a:lnTo>
                  <a:lnTo>
                    <a:pt x="3170" y="454"/>
                  </a:lnTo>
                  <a:lnTo>
                    <a:pt x="3166" y="454"/>
                  </a:lnTo>
                  <a:lnTo>
                    <a:pt x="3165" y="452"/>
                  </a:lnTo>
                  <a:lnTo>
                    <a:pt x="3161" y="451"/>
                  </a:lnTo>
                  <a:lnTo>
                    <a:pt x="3161" y="449"/>
                  </a:lnTo>
                  <a:lnTo>
                    <a:pt x="3161" y="449"/>
                  </a:lnTo>
                  <a:lnTo>
                    <a:pt x="3168" y="449"/>
                  </a:lnTo>
                  <a:lnTo>
                    <a:pt x="3175" y="449"/>
                  </a:lnTo>
                  <a:lnTo>
                    <a:pt x="3185" y="456"/>
                  </a:lnTo>
                  <a:lnTo>
                    <a:pt x="3195" y="462"/>
                  </a:lnTo>
                  <a:lnTo>
                    <a:pt x="3200" y="466"/>
                  </a:lnTo>
                  <a:lnTo>
                    <a:pt x="3206" y="468"/>
                  </a:lnTo>
                  <a:lnTo>
                    <a:pt x="3213" y="468"/>
                  </a:lnTo>
                  <a:lnTo>
                    <a:pt x="3221" y="468"/>
                  </a:lnTo>
                  <a:close/>
                  <a:moveTo>
                    <a:pt x="1745" y="471"/>
                  </a:moveTo>
                  <a:lnTo>
                    <a:pt x="1748" y="474"/>
                  </a:lnTo>
                  <a:lnTo>
                    <a:pt x="1752" y="478"/>
                  </a:lnTo>
                  <a:lnTo>
                    <a:pt x="1748" y="486"/>
                  </a:lnTo>
                  <a:lnTo>
                    <a:pt x="1745" y="496"/>
                  </a:lnTo>
                  <a:lnTo>
                    <a:pt x="1747" y="501"/>
                  </a:lnTo>
                  <a:lnTo>
                    <a:pt x="1750" y="509"/>
                  </a:lnTo>
                  <a:lnTo>
                    <a:pt x="1750" y="518"/>
                  </a:lnTo>
                  <a:lnTo>
                    <a:pt x="1748" y="526"/>
                  </a:lnTo>
                  <a:lnTo>
                    <a:pt x="1747" y="529"/>
                  </a:lnTo>
                  <a:lnTo>
                    <a:pt x="1745" y="531"/>
                  </a:lnTo>
                  <a:lnTo>
                    <a:pt x="1738" y="531"/>
                  </a:lnTo>
                  <a:lnTo>
                    <a:pt x="1733" y="529"/>
                  </a:lnTo>
                  <a:lnTo>
                    <a:pt x="1731" y="518"/>
                  </a:lnTo>
                  <a:lnTo>
                    <a:pt x="1731" y="506"/>
                  </a:lnTo>
                  <a:lnTo>
                    <a:pt x="1736" y="504"/>
                  </a:lnTo>
                  <a:lnTo>
                    <a:pt x="1741" y="504"/>
                  </a:lnTo>
                  <a:lnTo>
                    <a:pt x="1738" y="496"/>
                  </a:lnTo>
                  <a:lnTo>
                    <a:pt x="1735" y="489"/>
                  </a:lnTo>
                  <a:lnTo>
                    <a:pt x="1740" y="481"/>
                  </a:lnTo>
                  <a:lnTo>
                    <a:pt x="1745" y="471"/>
                  </a:lnTo>
                  <a:close/>
                  <a:moveTo>
                    <a:pt x="3223" y="583"/>
                  </a:moveTo>
                  <a:lnTo>
                    <a:pt x="3185" y="593"/>
                  </a:lnTo>
                  <a:lnTo>
                    <a:pt x="3183" y="601"/>
                  </a:lnTo>
                  <a:lnTo>
                    <a:pt x="3183" y="608"/>
                  </a:lnTo>
                  <a:lnTo>
                    <a:pt x="3178" y="608"/>
                  </a:lnTo>
                  <a:lnTo>
                    <a:pt x="3175" y="608"/>
                  </a:lnTo>
                  <a:lnTo>
                    <a:pt x="3175" y="605"/>
                  </a:lnTo>
                  <a:lnTo>
                    <a:pt x="3175" y="600"/>
                  </a:lnTo>
                  <a:lnTo>
                    <a:pt x="3173" y="600"/>
                  </a:lnTo>
                  <a:lnTo>
                    <a:pt x="3173" y="600"/>
                  </a:lnTo>
                  <a:lnTo>
                    <a:pt x="3170" y="600"/>
                  </a:lnTo>
                  <a:lnTo>
                    <a:pt x="3166" y="601"/>
                  </a:lnTo>
                  <a:lnTo>
                    <a:pt x="3163" y="608"/>
                  </a:lnTo>
                  <a:lnTo>
                    <a:pt x="3160" y="613"/>
                  </a:lnTo>
                  <a:lnTo>
                    <a:pt x="3154" y="617"/>
                  </a:lnTo>
                  <a:lnTo>
                    <a:pt x="3149" y="620"/>
                  </a:lnTo>
                  <a:lnTo>
                    <a:pt x="3146" y="610"/>
                  </a:lnTo>
                  <a:lnTo>
                    <a:pt x="3143" y="601"/>
                  </a:lnTo>
                  <a:lnTo>
                    <a:pt x="3138" y="605"/>
                  </a:lnTo>
                  <a:lnTo>
                    <a:pt x="3131" y="608"/>
                  </a:lnTo>
                  <a:lnTo>
                    <a:pt x="3128" y="605"/>
                  </a:lnTo>
                  <a:lnTo>
                    <a:pt x="3126" y="601"/>
                  </a:lnTo>
                  <a:lnTo>
                    <a:pt x="3131" y="588"/>
                  </a:lnTo>
                  <a:lnTo>
                    <a:pt x="3139" y="576"/>
                  </a:lnTo>
                  <a:lnTo>
                    <a:pt x="3156" y="578"/>
                  </a:lnTo>
                  <a:lnTo>
                    <a:pt x="3175" y="580"/>
                  </a:lnTo>
                  <a:lnTo>
                    <a:pt x="3186" y="560"/>
                  </a:lnTo>
                  <a:lnTo>
                    <a:pt x="3200" y="541"/>
                  </a:lnTo>
                  <a:lnTo>
                    <a:pt x="3193" y="526"/>
                  </a:lnTo>
                  <a:lnTo>
                    <a:pt x="3186" y="511"/>
                  </a:lnTo>
                  <a:lnTo>
                    <a:pt x="3190" y="509"/>
                  </a:lnTo>
                  <a:lnTo>
                    <a:pt x="3190" y="508"/>
                  </a:lnTo>
                  <a:lnTo>
                    <a:pt x="3190" y="508"/>
                  </a:lnTo>
                  <a:lnTo>
                    <a:pt x="3190" y="504"/>
                  </a:lnTo>
                  <a:lnTo>
                    <a:pt x="3195" y="504"/>
                  </a:lnTo>
                  <a:lnTo>
                    <a:pt x="3200" y="506"/>
                  </a:lnTo>
                  <a:lnTo>
                    <a:pt x="3206" y="514"/>
                  </a:lnTo>
                  <a:lnTo>
                    <a:pt x="3213" y="523"/>
                  </a:lnTo>
                  <a:lnTo>
                    <a:pt x="3216" y="538"/>
                  </a:lnTo>
                  <a:lnTo>
                    <a:pt x="3218" y="553"/>
                  </a:lnTo>
                  <a:lnTo>
                    <a:pt x="3220" y="568"/>
                  </a:lnTo>
                  <a:lnTo>
                    <a:pt x="3223" y="583"/>
                  </a:lnTo>
                  <a:close/>
                  <a:moveTo>
                    <a:pt x="3144" y="615"/>
                  </a:moveTo>
                  <a:lnTo>
                    <a:pt x="3141" y="627"/>
                  </a:lnTo>
                  <a:lnTo>
                    <a:pt x="3139" y="637"/>
                  </a:lnTo>
                  <a:lnTo>
                    <a:pt x="3134" y="637"/>
                  </a:lnTo>
                  <a:lnTo>
                    <a:pt x="3129" y="637"/>
                  </a:lnTo>
                  <a:lnTo>
                    <a:pt x="3129" y="628"/>
                  </a:lnTo>
                  <a:lnTo>
                    <a:pt x="3128" y="618"/>
                  </a:lnTo>
                  <a:lnTo>
                    <a:pt x="3124" y="618"/>
                  </a:lnTo>
                  <a:lnTo>
                    <a:pt x="3121" y="617"/>
                  </a:lnTo>
                  <a:lnTo>
                    <a:pt x="3118" y="615"/>
                  </a:lnTo>
                  <a:lnTo>
                    <a:pt x="3116" y="612"/>
                  </a:lnTo>
                  <a:lnTo>
                    <a:pt x="3116" y="610"/>
                  </a:lnTo>
                  <a:lnTo>
                    <a:pt x="3118" y="608"/>
                  </a:lnTo>
                  <a:lnTo>
                    <a:pt x="3121" y="606"/>
                  </a:lnTo>
                  <a:lnTo>
                    <a:pt x="3124" y="605"/>
                  </a:lnTo>
                  <a:lnTo>
                    <a:pt x="3128" y="608"/>
                  </a:lnTo>
                  <a:lnTo>
                    <a:pt x="3133" y="612"/>
                  </a:lnTo>
                  <a:lnTo>
                    <a:pt x="3136" y="613"/>
                  </a:lnTo>
                  <a:lnTo>
                    <a:pt x="3144" y="615"/>
                  </a:lnTo>
                  <a:close/>
                  <a:moveTo>
                    <a:pt x="3052" y="719"/>
                  </a:moveTo>
                  <a:lnTo>
                    <a:pt x="3056" y="720"/>
                  </a:lnTo>
                  <a:lnTo>
                    <a:pt x="3059" y="720"/>
                  </a:lnTo>
                  <a:lnTo>
                    <a:pt x="3057" y="740"/>
                  </a:lnTo>
                  <a:lnTo>
                    <a:pt x="3056" y="761"/>
                  </a:lnTo>
                  <a:lnTo>
                    <a:pt x="3054" y="761"/>
                  </a:lnTo>
                  <a:lnTo>
                    <a:pt x="3052" y="761"/>
                  </a:lnTo>
                  <a:lnTo>
                    <a:pt x="3049" y="757"/>
                  </a:lnTo>
                  <a:lnTo>
                    <a:pt x="3044" y="754"/>
                  </a:lnTo>
                  <a:lnTo>
                    <a:pt x="3042" y="744"/>
                  </a:lnTo>
                  <a:lnTo>
                    <a:pt x="3042" y="735"/>
                  </a:lnTo>
                  <a:lnTo>
                    <a:pt x="3047" y="727"/>
                  </a:lnTo>
                  <a:lnTo>
                    <a:pt x="3052" y="719"/>
                  </a:lnTo>
                  <a:close/>
                  <a:moveTo>
                    <a:pt x="710" y="782"/>
                  </a:moveTo>
                  <a:lnTo>
                    <a:pt x="709" y="776"/>
                  </a:lnTo>
                  <a:lnTo>
                    <a:pt x="707" y="771"/>
                  </a:lnTo>
                  <a:lnTo>
                    <a:pt x="687" y="764"/>
                  </a:lnTo>
                  <a:lnTo>
                    <a:pt x="667" y="754"/>
                  </a:lnTo>
                  <a:lnTo>
                    <a:pt x="652" y="759"/>
                  </a:lnTo>
                  <a:lnTo>
                    <a:pt x="637" y="762"/>
                  </a:lnTo>
                  <a:lnTo>
                    <a:pt x="638" y="761"/>
                  </a:lnTo>
                  <a:lnTo>
                    <a:pt x="640" y="761"/>
                  </a:lnTo>
                  <a:lnTo>
                    <a:pt x="645" y="752"/>
                  </a:lnTo>
                  <a:lnTo>
                    <a:pt x="650" y="747"/>
                  </a:lnTo>
                  <a:lnTo>
                    <a:pt x="657" y="744"/>
                  </a:lnTo>
                  <a:lnTo>
                    <a:pt x="665" y="744"/>
                  </a:lnTo>
                  <a:lnTo>
                    <a:pt x="673" y="744"/>
                  </a:lnTo>
                  <a:lnTo>
                    <a:pt x="682" y="745"/>
                  </a:lnTo>
                  <a:lnTo>
                    <a:pt x="690" y="749"/>
                  </a:lnTo>
                  <a:lnTo>
                    <a:pt x="698" y="752"/>
                  </a:lnTo>
                  <a:lnTo>
                    <a:pt x="734" y="772"/>
                  </a:lnTo>
                  <a:lnTo>
                    <a:pt x="757" y="786"/>
                  </a:lnTo>
                  <a:lnTo>
                    <a:pt x="757" y="786"/>
                  </a:lnTo>
                  <a:lnTo>
                    <a:pt x="757" y="787"/>
                  </a:lnTo>
                  <a:lnTo>
                    <a:pt x="737" y="787"/>
                  </a:lnTo>
                  <a:lnTo>
                    <a:pt x="719" y="787"/>
                  </a:lnTo>
                  <a:lnTo>
                    <a:pt x="719" y="786"/>
                  </a:lnTo>
                  <a:lnTo>
                    <a:pt x="720" y="782"/>
                  </a:lnTo>
                  <a:lnTo>
                    <a:pt x="715" y="782"/>
                  </a:lnTo>
                  <a:lnTo>
                    <a:pt x="710" y="782"/>
                  </a:lnTo>
                  <a:close/>
                  <a:moveTo>
                    <a:pt x="776" y="789"/>
                  </a:moveTo>
                  <a:lnTo>
                    <a:pt x="791" y="791"/>
                  </a:lnTo>
                  <a:lnTo>
                    <a:pt x="802" y="792"/>
                  </a:lnTo>
                  <a:lnTo>
                    <a:pt x="812" y="797"/>
                  </a:lnTo>
                  <a:lnTo>
                    <a:pt x="821" y="806"/>
                  </a:lnTo>
                  <a:lnTo>
                    <a:pt x="819" y="809"/>
                  </a:lnTo>
                  <a:lnTo>
                    <a:pt x="817" y="811"/>
                  </a:lnTo>
                  <a:lnTo>
                    <a:pt x="797" y="812"/>
                  </a:lnTo>
                  <a:lnTo>
                    <a:pt x="779" y="812"/>
                  </a:lnTo>
                  <a:lnTo>
                    <a:pt x="760" y="809"/>
                  </a:lnTo>
                  <a:lnTo>
                    <a:pt x="744" y="804"/>
                  </a:lnTo>
                  <a:lnTo>
                    <a:pt x="744" y="802"/>
                  </a:lnTo>
                  <a:lnTo>
                    <a:pt x="744" y="802"/>
                  </a:lnTo>
                  <a:lnTo>
                    <a:pt x="752" y="799"/>
                  </a:lnTo>
                  <a:lnTo>
                    <a:pt x="760" y="797"/>
                  </a:lnTo>
                  <a:lnTo>
                    <a:pt x="769" y="794"/>
                  </a:lnTo>
                  <a:lnTo>
                    <a:pt x="776" y="789"/>
                  </a:lnTo>
                  <a:close/>
                  <a:moveTo>
                    <a:pt x="2930" y="789"/>
                  </a:moveTo>
                  <a:lnTo>
                    <a:pt x="2937" y="792"/>
                  </a:lnTo>
                  <a:lnTo>
                    <a:pt x="2939" y="794"/>
                  </a:lnTo>
                  <a:lnTo>
                    <a:pt x="2940" y="797"/>
                  </a:lnTo>
                  <a:lnTo>
                    <a:pt x="2942" y="802"/>
                  </a:lnTo>
                  <a:lnTo>
                    <a:pt x="2942" y="802"/>
                  </a:lnTo>
                  <a:lnTo>
                    <a:pt x="2942" y="804"/>
                  </a:lnTo>
                  <a:lnTo>
                    <a:pt x="2937" y="807"/>
                  </a:lnTo>
                  <a:lnTo>
                    <a:pt x="2934" y="811"/>
                  </a:lnTo>
                  <a:lnTo>
                    <a:pt x="2927" y="814"/>
                  </a:lnTo>
                  <a:lnTo>
                    <a:pt x="2920" y="814"/>
                  </a:lnTo>
                  <a:lnTo>
                    <a:pt x="2917" y="812"/>
                  </a:lnTo>
                  <a:lnTo>
                    <a:pt x="2915" y="811"/>
                  </a:lnTo>
                  <a:lnTo>
                    <a:pt x="2913" y="809"/>
                  </a:lnTo>
                  <a:lnTo>
                    <a:pt x="2912" y="807"/>
                  </a:lnTo>
                  <a:lnTo>
                    <a:pt x="2915" y="801"/>
                  </a:lnTo>
                  <a:lnTo>
                    <a:pt x="2920" y="796"/>
                  </a:lnTo>
                  <a:lnTo>
                    <a:pt x="2923" y="794"/>
                  </a:lnTo>
                  <a:lnTo>
                    <a:pt x="2930" y="789"/>
                  </a:lnTo>
                  <a:close/>
                  <a:moveTo>
                    <a:pt x="3062" y="811"/>
                  </a:moveTo>
                  <a:lnTo>
                    <a:pt x="3064" y="811"/>
                  </a:lnTo>
                  <a:lnTo>
                    <a:pt x="3067" y="811"/>
                  </a:lnTo>
                  <a:lnTo>
                    <a:pt x="3074" y="816"/>
                  </a:lnTo>
                  <a:lnTo>
                    <a:pt x="3079" y="822"/>
                  </a:lnTo>
                  <a:lnTo>
                    <a:pt x="3083" y="829"/>
                  </a:lnTo>
                  <a:lnTo>
                    <a:pt x="3084" y="839"/>
                  </a:lnTo>
                  <a:lnTo>
                    <a:pt x="3079" y="843"/>
                  </a:lnTo>
                  <a:lnTo>
                    <a:pt x="3076" y="846"/>
                  </a:lnTo>
                  <a:lnTo>
                    <a:pt x="3077" y="859"/>
                  </a:lnTo>
                  <a:lnTo>
                    <a:pt x="3077" y="871"/>
                  </a:lnTo>
                  <a:lnTo>
                    <a:pt x="3076" y="871"/>
                  </a:lnTo>
                  <a:lnTo>
                    <a:pt x="3076" y="871"/>
                  </a:lnTo>
                  <a:lnTo>
                    <a:pt x="3066" y="864"/>
                  </a:lnTo>
                  <a:lnTo>
                    <a:pt x="3057" y="859"/>
                  </a:lnTo>
                  <a:lnTo>
                    <a:pt x="3057" y="838"/>
                  </a:lnTo>
                  <a:lnTo>
                    <a:pt x="3057" y="816"/>
                  </a:lnTo>
                  <a:lnTo>
                    <a:pt x="3061" y="814"/>
                  </a:lnTo>
                  <a:lnTo>
                    <a:pt x="3062" y="811"/>
                  </a:lnTo>
                  <a:close/>
                  <a:moveTo>
                    <a:pt x="2964" y="824"/>
                  </a:moveTo>
                  <a:lnTo>
                    <a:pt x="2967" y="829"/>
                  </a:lnTo>
                  <a:lnTo>
                    <a:pt x="2972" y="834"/>
                  </a:lnTo>
                  <a:lnTo>
                    <a:pt x="2969" y="836"/>
                  </a:lnTo>
                  <a:lnTo>
                    <a:pt x="2965" y="836"/>
                  </a:lnTo>
                  <a:lnTo>
                    <a:pt x="2962" y="834"/>
                  </a:lnTo>
                  <a:lnTo>
                    <a:pt x="2960" y="834"/>
                  </a:lnTo>
                  <a:lnTo>
                    <a:pt x="2959" y="836"/>
                  </a:lnTo>
                  <a:lnTo>
                    <a:pt x="2955" y="839"/>
                  </a:lnTo>
                  <a:lnTo>
                    <a:pt x="2957" y="844"/>
                  </a:lnTo>
                  <a:lnTo>
                    <a:pt x="2959" y="846"/>
                  </a:lnTo>
                  <a:lnTo>
                    <a:pt x="2957" y="849"/>
                  </a:lnTo>
                  <a:lnTo>
                    <a:pt x="2955" y="853"/>
                  </a:lnTo>
                  <a:lnTo>
                    <a:pt x="2952" y="849"/>
                  </a:lnTo>
                  <a:lnTo>
                    <a:pt x="2950" y="846"/>
                  </a:lnTo>
                  <a:lnTo>
                    <a:pt x="2955" y="838"/>
                  </a:lnTo>
                  <a:lnTo>
                    <a:pt x="2960" y="826"/>
                  </a:lnTo>
                  <a:lnTo>
                    <a:pt x="2962" y="824"/>
                  </a:lnTo>
                  <a:lnTo>
                    <a:pt x="2964" y="824"/>
                  </a:lnTo>
                  <a:close/>
                  <a:moveTo>
                    <a:pt x="3066" y="876"/>
                  </a:moveTo>
                  <a:lnTo>
                    <a:pt x="3066" y="873"/>
                  </a:lnTo>
                  <a:lnTo>
                    <a:pt x="3067" y="868"/>
                  </a:lnTo>
                  <a:lnTo>
                    <a:pt x="3067" y="868"/>
                  </a:lnTo>
                  <a:lnTo>
                    <a:pt x="3069" y="868"/>
                  </a:lnTo>
                  <a:lnTo>
                    <a:pt x="3071" y="873"/>
                  </a:lnTo>
                  <a:lnTo>
                    <a:pt x="3074" y="876"/>
                  </a:lnTo>
                  <a:lnTo>
                    <a:pt x="3069" y="876"/>
                  </a:lnTo>
                  <a:lnTo>
                    <a:pt x="3066" y="876"/>
                  </a:lnTo>
                  <a:close/>
                  <a:moveTo>
                    <a:pt x="3084" y="873"/>
                  </a:moveTo>
                  <a:lnTo>
                    <a:pt x="3089" y="873"/>
                  </a:lnTo>
                  <a:lnTo>
                    <a:pt x="3094" y="873"/>
                  </a:lnTo>
                  <a:lnTo>
                    <a:pt x="3094" y="874"/>
                  </a:lnTo>
                  <a:lnTo>
                    <a:pt x="3094" y="876"/>
                  </a:lnTo>
                  <a:lnTo>
                    <a:pt x="3094" y="879"/>
                  </a:lnTo>
                  <a:lnTo>
                    <a:pt x="3096" y="883"/>
                  </a:lnTo>
                  <a:lnTo>
                    <a:pt x="3093" y="881"/>
                  </a:lnTo>
                  <a:lnTo>
                    <a:pt x="3089" y="879"/>
                  </a:lnTo>
                  <a:lnTo>
                    <a:pt x="3086" y="878"/>
                  </a:lnTo>
                  <a:lnTo>
                    <a:pt x="3084" y="873"/>
                  </a:lnTo>
                  <a:close/>
                  <a:moveTo>
                    <a:pt x="3071" y="881"/>
                  </a:moveTo>
                  <a:lnTo>
                    <a:pt x="3074" y="883"/>
                  </a:lnTo>
                  <a:lnTo>
                    <a:pt x="3076" y="886"/>
                  </a:lnTo>
                  <a:lnTo>
                    <a:pt x="3076" y="889"/>
                  </a:lnTo>
                  <a:lnTo>
                    <a:pt x="3077" y="896"/>
                  </a:lnTo>
                  <a:lnTo>
                    <a:pt x="3076" y="896"/>
                  </a:lnTo>
                  <a:lnTo>
                    <a:pt x="3074" y="894"/>
                  </a:lnTo>
                  <a:lnTo>
                    <a:pt x="3072" y="888"/>
                  </a:lnTo>
                  <a:lnTo>
                    <a:pt x="3071" y="881"/>
                  </a:lnTo>
                  <a:close/>
                  <a:moveTo>
                    <a:pt x="3104" y="881"/>
                  </a:moveTo>
                  <a:lnTo>
                    <a:pt x="3108" y="883"/>
                  </a:lnTo>
                  <a:lnTo>
                    <a:pt x="3109" y="886"/>
                  </a:lnTo>
                  <a:lnTo>
                    <a:pt x="3109" y="886"/>
                  </a:lnTo>
                  <a:lnTo>
                    <a:pt x="3108" y="888"/>
                  </a:lnTo>
                  <a:lnTo>
                    <a:pt x="3104" y="888"/>
                  </a:lnTo>
                  <a:lnTo>
                    <a:pt x="3103" y="888"/>
                  </a:lnTo>
                  <a:lnTo>
                    <a:pt x="3103" y="886"/>
                  </a:lnTo>
                  <a:lnTo>
                    <a:pt x="3103" y="884"/>
                  </a:lnTo>
                  <a:lnTo>
                    <a:pt x="3103" y="884"/>
                  </a:lnTo>
                  <a:lnTo>
                    <a:pt x="3104" y="884"/>
                  </a:lnTo>
                  <a:lnTo>
                    <a:pt x="3104" y="883"/>
                  </a:lnTo>
                  <a:lnTo>
                    <a:pt x="3104" y="881"/>
                  </a:lnTo>
                  <a:close/>
                  <a:moveTo>
                    <a:pt x="3104" y="893"/>
                  </a:moveTo>
                  <a:lnTo>
                    <a:pt x="3108" y="894"/>
                  </a:lnTo>
                  <a:lnTo>
                    <a:pt x="3109" y="899"/>
                  </a:lnTo>
                  <a:lnTo>
                    <a:pt x="3106" y="899"/>
                  </a:lnTo>
                  <a:lnTo>
                    <a:pt x="3103" y="899"/>
                  </a:lnTo>
                  <a:lnTo>
                    <a:pt x="3103" y="898"/>
                  </a:lnTo>
                  <a:lnTo>
                    <a:pt x="3101" y="896"/>
                  </a:lnTo>
                  <a:lnTo>
                    <a:pt x="3103" y="896"/>
                  </a:lnTo>
                  <a:lnTo>
                    <a:pt x="3103" y="896"/>
                  </a:lnTo>
                  <a:lnTo>
                    <a:pt x="3104" y="894"/>
                  </a:lnTo>
                  <a:lnTo>
                    <a:pt x="3104" y="893"/>
                  </a:lnTo>
                  <a:close/>
                  <a:moveTo>
                    <a:pt x="3119" y="896"/>
                  </a:moveTo>
                  <a:lnTo>
                    <a:pt x="3123" y="898"/>
                  </a:lnTo>
                  <a:lnTo>
                    <a:pt x="3128" y="899"/>
                  </a:lnTo>
                  <a:lnTo>
                    <a:pt x="3128" y="899"/>
                  </a:lnTo>
                  <a:lnTo>
                    <a:pt x="3128" y="901"/>
                  </a:lnTo>
                  <a:lnTo>
                    <a:pt x="3124" y="901"/>
                  </a:lnTo>
                  <a:lnTo>
                    <a:pt x="3123" y="901"/>
                  </a:lnTo>
                  <a:lnTo>
                    <a:pt x="3121" y="899"/>
                  </a:lnTo>
                  <a:lnTo>
                    <a:pt x="3119" y="896"/>
                  </a:lnTo>
                  <a:close/>
                  <a:moveTo>
                    <a:pt x="3089" y="905"/>
                  </a:moveTo>
                  <a:lnTo>
                    <a:pt x="3093" y="908"/>
                  </a:lnTo>
                  <a:lnTo>
                    <a:pt x="3094" y="911"/>
                  </a:lnTo>
                  <a:lnTo>
                    <a:pt x="3096" y="915"/>
                  </a:lnTo>
                  <a:lnTo>
                    <a:pt x="3098" y="918"/>
                  </a:lnTo>
                  <a:lnTo>
                    <a:pt x="3096" y="918"/>
                  </a:lnTo>
                  <a:lnTo>
                    <a:pt x="3096" y="918"/>
                  </a:lnTo>
                  <a:lnTo>
                    <a:pt x="3091" y="918"/>
                  </a:lnTo>
                  <a:lnTo>
                    <a:pt x="3088" y="916"/>
                  </a:lnTo>
                  <a:lnTo>
                    <a:pt x="3089" y="911"/>
                  </a:lnTo>
                  <a:lnTo>
                    <a:pt x="3089" y="905"/>
                  </a:lnTo>
                  <a:close/>
                  <a:moveTo>
                    <a:pt x="3123" y="908"/>
                  </a:moveTo>
                  <a:lnTo>
                    <a:pt x="3126" y="908"/>
                  </a:lnTo>
                  <a:lnTo>
                    <a:pt x="3128" y="910"/>
                  </a:lnTo>
                  <a:lnTo>
                    <a:pt x="3128" y="910"/>
                  </a:lnTo>
                  <a:lnTo>
                    <a:pt x="3128" y="913"/>
                  </a:lnTo>
                  <a:lnTo>
                    <a:pt x="3124" y="913"/>
                  </a:lnTo>
                  <a:lnTo>
                    <a:pt x="3119" y="913"/>
                  </a:lnTo>
                  <a:lnTo>
                    <a:pt x="3116" y="911"/>
                  </a:lnTo>
                  <a:lnTo>
                    <a:pt x="3114" y="910"/>
                  </a:lnTo>
                  <a:lnTo>
                    <a:pt x="3118" y="908"/>
                  </a:lnTo>
                  <a:lnTo>
                    <a:pt x="3123" y="908"/>
                  </a:lnTo>
                  <a:close/>
                  <a:moveTo>
                    <a:pt x="3103" y="921"/>
                  </a:moveTo>
                  <a:lnTo>
                    <a:pt x="3106" y="923"/>
                  </a:lnTo>
                  <a:lnTo>
                    <a:pt x="3106" y="928"/>
                  </a:lnTo>
                  <a:lnTo>
                    <a:pt x="3103" y="933"/>
                  </a:lnTo>
                  <a:lnTo>
                    <a:pt x="3101" y="938"/>
                  </a:lnTo>
                  <a:lnTo>
                    <a:pt x="3101" y="936"/>
                  </a:lnTo>
                  <a:lnTo>
                    <a:pt x="3101" y="936"/>
                  </a:lnTo>
                  <a:lnTo>
                    <a:pt x="3099" y="930"/>
                  </a:lnTo>
                  <a:lnTo>
                    <a:pt x="3098" y="925"/>
                  </a:lnTo>
                  <a:lnTo>
                    <a:pt x="3101" y="923"/>
                  </a:lnTo>
                  <a:lnTo>
                    <a:pt x="3103" y="921"/>
                  </a:lnTo>
                  <a:close/>
                  <a:moveTo>
                    <a:pt x="2592" y="931"/>
                  </a:moveTo>
                  <a:lnTo>
                    <a:pt x="2599" y="936"/>
                  </a:lnTo>
                  <a:lnTo>
                    <a:pt x="2604" y="945"/>
                  </a:lnTo>
                  <a:lnTo>
                    <a:pt x="2609" y="953"/>
                  </a:lnTo>
                  <a:lnTo>
                    <a:pt x="2614" y="963"/>
                  </a:lnTo>
                  <a:lnTo>
                    <a:pt x="2609" y="973"/>
                  </a:lnTo>
                  <a:lnTo>
                    <a:pt x="2604" y="983"/>
                  </a:lnTo>
                  <a:lnTo>
                    <a:pt x="2604" y="983"/>
                  </a:lnTo>
                  <a:lnTo>
                    <a:pt x="2602" y="983"/>
                  </a:lnTo>
                  <a:lnTo>
                    <a:pt x="2597" y="982"/>
                  </a:lnTo>
                  <a:lnTo>
                    <a:pt x="2590" y="982"/>
                  </a:lnTo>
                  <a:lnTo>
                    <a:pt x="2589" y="966"/>
                  </a:lnTo>
                  <a:lnTo>
                    <a:pt x="2587" y="955"/>
                  </a:lnTo>
                  <a:lnTo>
                    <a:pt x="2589" y="943"/>
                  </a:lnTo>
                  <a:lnTo>
                    <a:pt x="2592" y="931"/>
                  </a:lnTo>
                  <a:close/>
                  <a:moveTo>
                    <a:pt x="3136" y="983"/>
                  </a:moveTo>
                  <a:lnTo>
                    <a:pt x="3129" y="982"/>
                  </a:lnTo>
                  <a:lnTo>
                    <a:pt x="3124" y="982"/>
                  </a:lnTo>
                  <a:lnTo>
                    <a:pt x="3121" y="978"/>
                  </a:lnTo>
                  <a:lnTo>
                    <a:pt x="3118" y="975"/>
                  </a:lnTo>
                  <a:lnTo>
                    <a:pt x="3116" y="966"/>
                  </a:lnTo>
                  <a:lnTo>
                    <a:pt x="3114" y="955"/>
                  </a:lnTo>
                  <a:lnTo>
                    <a:pt x="3124" y="945"/>
                  </a:lnTo>
                  <a:lnTo>
                    <a:pt x="3133" y="933"/>
                  </a:lnTo>
                  <a:lnTo>
                    <a:pt x="3133" y="935"/>
                  </a:lnTo>
                  <a:lnTo>
                    <a:pt x="3133" y="936"/>
                  </a:lnTo>
                  <a:lnTo>
                    <a:pt x="3138" y="950"/>
                  </a:lnTo>
                  <a:lnTo>
                    <a:pt x="3143" y="963"/>
                  </a:lnTo>
                  <a:lnTo>
                    <a:pt x="3138" y="966"/>
                  </a:lnTo>
                  <a:lnTo>
                    <a:pt x="3133" y="970"/>
                  </a:lnTo>
                  <a:lnTo>
                    <a:pt x="3134" y="977"/>
                  </a:lnTo>
                  <a:lnTo>
                    <a:pt x="3136" y="983"/>
                  </a:lnTo>
                  <a:close/>
                  <a:moveTo>
                    <a:pt x="3108" y="946"/>
                  </a:moveTo>
                  <a:lnTo>
                    <a:pt x="3111" y="950"/>
                  </a:lnTo>
                  <a:lnTo>
                    <a:pt x="3111" y="953"/>
                  </a:lnTo>
                  <a:lnTo>
                    <a:pt x="3111" y="956"/>
                  </a:lnTo>
                  <a:lnTo>
                    <a:pt x="3109" y="961"/>
                  </a:lnTo>
                  <a:lnTo>
                    <a:pt x="3109" y="961"/>
                  </a:lnTo>
                  <a:lnTo>
                    <a:pt x="3108" y="961"/>
                  </a:lnTo>
                  <a:lnTo>
                    <a:pt x="3103" y="960"/>
                  </a:lnTo>
                  <a:lnTo>
                    <a:pt x="3096" y="960"/>
                  </a:lnTo>
                  <a:lnTo>
                    <a:pt x="3101" y="953"/>
                  </a:lnTo>
                  <a:lnTo>
                    <a:pt x="3108" y="946"/>
                  </a:lnTo>
                  <a:close/>
                  <a:moveTo>
                    <a:pt x="3029" y="970"/>
                  </a:moveTo>
                  <a:lnTo>
                    <a:pt x="3044" y="980"/>
                  </a:lnTo>
                  <a:lnTo>
                    <a:pt x="3057" y="990"/>
                  </a:lnTo>
                  <a:lnTo>
                    <a:pt x="3057" y="993"/>
                  </a:lnTo>
                  <a:lnTo>
                    <a:pt x="3057" y="995"/>
                  </a:lnTo>
                  <a:lnTo>
                    <a:pt x="3054" y="1003"/>
                  </a:lnTo>
                  <a:lnTo>
                    <a:pt x="3049" y="1008"/>
                  </a:lnTo>
                  <a:lnTo>
                    <a:pt x="3044" y="1012"/>
                  </a:lnTo>
                  <a:lnTo>
                    <a:pt x="3039" y="1017"/>
                  </a:lnTo>
                  <a:lnTo>
                    <a:pt x="3047" y="1033"/>
                  </a:lnTo>
                  <a:lnTo>
                    <a:pt x="3052" y="1052"/>
                  </a:lnTo>
                  <a:lnTo>
                    <a:pt x="3047" y="1059"/>
                  </a:lnTo>
                  <a:lnTo>
                    <a:pt x="3042" y="1065"/>
                  </a:lnTo>
                  <a:lnTo>
                    <a:pt x="3039" y="1074"/>
                  </a:lnTo>
                  <a:lnTo>
                    <a:pt x="3036" y="1084"/>
                  </a:lnTo>
                  <a:lnTo>
                    <a:pt x="3032" y="1092"/>
                  </a:lnTo>
                  <a:lnTo>
                    <a:pt x="3029" y="1102"/>
                  </a:lnTo>
                  <a:lnTo>
                    <a:pt x="3026" y="1110"/>
                  </a:lnTo>
                  <a:lnTo>
                    <a:pt x="3021" y="1117"/>
                  </a:lnTo>
                  <a:lnTo>
                    <a:pt x="3007" y="1112"/>
                  </a:lnTo>
                  <a:lnTo>
                    <a:pt x="2999" y="1107"/>
                  </a:lnTo>
                  <a:lnTo>
                    <a:pt x="2975" y="1105"/>
                  </a:lnTo>
                  <a:lnTo>
                    <a:pt x="2952" y="1104"/>
                  </a:lnTo>
                  <a:lnTo>
                    <a:pt x="2952" y="1090"/>
                  </a:lnTo>
                  <a:lnTo>
                    <a:pt x="2947" y="1082"/>
                  </a:lnTo>
                  <a:lnTo>
                    <a:pt x="2942" y="1074"/>
                  </a:lnTo>
                  <a:lnTo>
                    <a:pt x="2935" y="1067"/>
                  </a:lnTo>
                  <a:lnTo>
                    <a:pt x="2935" y="1060"/>
                  </a:lnTo>
                  <a:lnTo>
                    <a:pt x="2937" y="1054"/>
                  </a:lnTo>
                  <a:lnTo>
                    <a:pt x="2939" y="1047"/>
                  </a:lnTo>
                  <a:lnTo>
                    <a:pt x="2942" y="1042"/>
                  </a:lnTo>
                  <a:lnTo>
                    <a:pt x="2950" y="1043"/>
                  </a:lnTo>
                  <a:lnTo>
                    <a:pt x="2957" y="1045"/>
                  </a:lnTo>
                  <a:lnTo>
                    <a:pt x="2964" y="1037"/>
                  </a:lnTo>
                  <a:lnTo>
                    <a:pt x="2970" y="1028"/>
                  </a:lnTo>
                  <a:lnTo>
                    <a:pt x="2982" y="1022"/>
                  </a:lnTo>
                  <a:lnTo>
                    <a:pt x="2995" y="1015"/>
                  </a:lnTo>
                  <a:lnTo>
                    <a:pt x="3012" y="993"/>
                  </a:lnTo>
                  <a:lnTo>
                    <a:pt x="3029" y="970"/>
                  </a:lnTo>
                  <a:close/>
                  <a:moveTo>
                    <a:pt x="2771" y="983"/>
                  </a:moveTo>
                  <a:lnTo>
                    <a:pt x="2785" y="988"/>
                  </a:lnTo>
                  <a:lnTo>
                    <a:pt x="2801" y="992"/>
                  </a:lnTo>
                  <a:lnTo>
                    <a:pt x="2806" y="1002"/>
                  </a:lnTo>
                  <a:lnTo>
                    <a:pt x="2813" y="1010"/>
                  </a:lnTo>
                  <a:lnTo>
                    <a:pt x="2820" y="1017"/>
                  </a:lnTo>
                  <a:lnTo>
                    <a:pt x="2828" y="1023"/>
                  </a:lnTo>
                  <a:lnTo>
                    <a:pt x="2846" y="1033"/>
                  </a:lnTo>
                  <a:lnTo>
                    <a:pt x="2862" y="1047"/>
                  </a:lnTo>
                  <a:lnTo>
                    <a:pt x="2873" y="1069"/>
                  </a:lnTo>
                  <a:lnTo>
                    <a:pt x="2883" y="1092"/>
                  </a:lnTo>
                  <a:lnTo>
                    <a:pt x="2892" y="1097"/>
                  </a:lnTo>
                  <a:lnTo>
                    <a:pt x="2900" y="1102"/>
                  </a:lnTo>
                  <a:lnTo>
                    <a:pt x="2902" y="1110"/>
                  </a:lnTo>
                  <a:lnTo>
                    <a:pt x="2903" y="1122"/>
                  </a:lnTo>
                  <a:lnTo>
                    <a:pt x="2902" y="1134"/>
                  </a:lnTo>
                  <a:lnTo>
                    <a:pt x="2900" y="1142"/>
                  </a:lnTo>
                  <a:lnTo>
                    <a:pt x="2890" y="1142"/>
                  </a:lnTo>
                  <a:lnTo>
                    <a:pt x="2880" y="1142"/>
                  </a:lnTo>
                  <a:lnTo>
                    <a:pt x="2862" y="1119"/>
                  </a:lnTo>
                  <a:lnTo>
                    <a:pt x="2841" y="1095"/>
                  </a:lnTo>
                  <a:lnTo>
                    <a:pt x="2835" y="1082"/>
                  </a:lnTo>
                  <a:lnTo>
                    <a:pt x="2830" y="1069"/>
                  </a:lnTo>
                  <a:lnTo>
                    <a:pt x="2825" y="1054"/>
                  </a:lnTo>
                  <a:lnTo>
                    <a:pt x="2818" y="1038"/>
                  </a:lnTo>
                  <a:lnTo>
                    <a:pt x="2813" y="1032"/>
                  </a:lnTo>
                  <a:lnTo>
                    <a:pt x="2806" y="1027"/>
                  </a:lnTo>
                  <a:lnTo>
                    <a:pt x="2800" y="1022"/>
                  </a:lnTo>
                  <a:lnTo>
                    <a:pt x="2793" y="1015"/>
                  </a:lnTo>
                  <a:lnTo>
                    <a:pt x="2785" y="1010"/>
                  </a:lnTo>
                  <a:lnTo>
                    <a:pt x="2778" y="1005"/>
                  </a:lnTo>
                  <a:lnTo>
                    <a:pt x="2773" y="998"/>
                  </a:lnTo>
                  <a:lnTo>
                    <a:pt x="2768" y="990"/>
                  </a:lnTo>
                  <a:lnTo>
                    <a:pt x="2769" y="987"/>
                  </a:lnTo>
                  <a:lnTo>
                    <a:pt x="2771" y="983"/>
                  </a:lnTo>
                  <a:close/>
                  <a:moveTo>
                    <a:pt x="3170" y="1030"/>
                  </a:moveTo>
                  <a:lnTo>
                    <a:pt x="3171" y="1030"/>
                  </a:lnTo>
                  <a:lnTo>
                    <a:pt x="3173" y="1030"/>
                  </a:lnTo>
                  <a:lnTo>
                    <a:pt x="3171" y="1033"/>
                  </a:lnTo>
                  <a:lnTo>
                    <a:pt x="3171" y="1035"/>
                  </a:lnTo>
                  <a:lnTo>
                    <a:pt x="3170" y="1035"/>
                  </a:lnTo>
                  <a:lnTo>
                    <a:pt x="3166" y="1037"/>
                  </a:lnTo>
                  <a:lnTo>
                    <a:pt x="3168" y="1033"/>
                  </a:lnTo>
                  <a:lnTo>
                    <a:pt x="3170" y="1030"/>
                  </a:lnTo>
                  <a:close/>
                  <a:moveTo>
                    <a:pt x="3160" y="1040"/>
                  </a:moveTo>
                  <a:lnTo>
                    <a:pt x="3163" y="1040"/>
                  </a:lnTo>
                  <a:lnTo>
                    <a:pt x="3165" y="1040"/>
                  </a:lnTo>
                  <a:lnTo>
                    <a:pt x="3166" y="1057"/>
                  </a:lnTo>
                  <a:lnTo>
                    <a:pt x="3166" y="1072"/>
                  </a:lnTo>
                  <a:lnTo>
                    <a:pt x="3165" y="1072"/>
                  </a:lnTo>
                  <a:lnTo>
                    <a:pt x="3163" y="1072"/>
                  </a:lnTo>
                  <a:lnTo>
                    <a:pt x="3160" y="1055"/>
                  </a:lnTo>
                  <a:lnTo>
                    <a:pt x="3160" y="1040"/>
                  </a:lnTo>
                  <a:close/>
                  <a:moveTo>
                    <a:pt x="3128" y="1043"/>
                  </a:moveTo>
                  <a:lnTo>
                    <a:pt x="3129" y="1047"/>
                  </a:lnTo>
                  <a:lnTo>
                    <a:pt x="3129" y="1049"/>
                  </a:lnTo>
                  <a:lnTo>
                    <a:pt x="3129" y="1052"/>
                  </a:lnTo>
                  <a:lnTo>
                    <a:pt x="3128" y="1054"/>
                  </a:lnTo>
                  <a:lnTo>
                    <a:pt x="3123" y="1057"/>
                  </a:lnTo>
                  <a:lnTo>
                    <a:pt x="3118" y="1060"/>
                  </a:lnTo>
                  <a:lnTo>
                    <a:pt x="3113" y="1057"/>
                  </a:lnTo>
                  <a:lnTo>
                    <a:pt x="3106" y="1054"/>
                  </a:lnTo>
                  <a:lnTo>
                    <a:pt x="3106" y="1052"/>
                  </a:lnTo>
                  <a:lnTo>
                    <a:pt x="3106" y="1052"/>
                  </a:lnTo>
                  <a:lnTo>
                    <a:pt x="3116" y="1050"/>
                  </a:lnTo>
                  <a:lnTo>
                    <a:pt x="3126" y="1050"/>
                  </a:lnTo>
                  <a:lnTo>
                    <a:pt x="3126" y="1047"/>
                  </a:lnTo>
                  <a:lnTo>
                    <a:pt x="3128" y="1043"/>
                  </a:lnTo>
                  <a:close/>
                  <a:moveTo>
                    <a:pt x="3091" y="1050"/>
                  </a:moveTo>
                  <a:lnTo>
                    <a:pt x="3098" y="1050"/>
                  </a:lnTo>
                  <a:lnTo>
                    <a:pt x="3103" y="1052"/>
                  </a:lnTo>
                  <a:lnTo>
                    <a:pt x="3103" y="1052"/>
                  </a:lnTo>
                  <a:lnTo>
                    <a:pt x="3103" y="1054"/>
                  </a:lnTo>
                  <a:lnTo>
                    <a:pt x="3094" y="1055"/>
                  </a:lnTo>
                  <a:lnTo>
                    <a:pt x="3086" y="1059"/>
                  </a:lnTo>
                  <a:lnTo>
                    <a:pt x="3083" y="1059"/>
                  </a:lnTo>
                  <a:lnTo>
                    <a:pt x="3079" y="1059"/>
                  </a:lnTo>
                  <a:lnTo>
                    <a:pt x="3076" y="1059"/>
                  </a:lnTo>
                  <a:lnTo>
                    <a:pt x="3074" y="1057"/>
                  </a:lnTo>
                  <a:lnTo>
                    <a:pt x="3074" y="1054"/>
                  </a:lnTo>
                  <a:lnTo>
                    <a:pt x="3076" y="1052"/>
                  </a:lnTo>
                  <a:lnTo>
                    <a:pt x="3083" y="1050"/>
                  </a:lnTo>
                  <a:lnTo>
                    <a:pt x="3091" y="1050"/>
                  </a:lnTo>
                  <a:close/>
                  <a:moveTo>
                    <a:pt x="3280" y="1176"/>
                  </a:moveTo>
                  <a:lnTo>
                    <a:pt x="3282" y="1171"/>
                  </a:lnTo>
                  <a:lnTo>
                    <a:pt x="3282" y="1166"/>
                  </a:lnTo>
                  <a:lnTo>
                    <a:pt x="3288" y="1166"/>
                  </a:lnTo>
                  <a:lnTo>
                    <a:pt x="3293" y="1166"/>
                  </a:lnTo>
                  <a:lnTo>
                    <a:pt x="3293" y="1159"/>
                  </a:lnTo>
                  <a:lnTo>
                    <a:pt x="3293" y="1152"/>
                  </a:lnTo>
                  <a:lnTo>
                    <a:pt x="3282" y="1142"/>
                  </a:lnTo>
                  <a:lnTo>
                    <a:pt x="3272" y="1131"/>
                  </a:lnTo>
                  <a:lnTo>
                    <a:pt x="3267" y="1127"/>
                  </a:lnTo>
                  <a:lnTo>
                    <a:pt x="3260" y="1126"/>
                  </a:lnTo>
                  <a:lnTo>
                    <a:pt x="3253" y="1127"/>
                  </a:lnTo>
                  <a:lnTo>
                    <a:pt x="3245" y="1132"/>
                  </a:lnTo>
                  <a:lnTo>
                    <a:pt x="3242" y="1129"/>
                  </a:lnTo>
                  <a:lnTo>
                    <a:pt x="3238" y="1127"/>
                  </a:lnTo>
                  <a:lnTo>
                    <a:pt x="3238" y="1119"/>
                  </a:lnTo>
                  <a:lnTo>
                    <a:pt x="3238" y="1114"/>
                  </a:lnTo>
                  <a:lnTo>
                    <a:pt x="3235" y="1109"/>
                  </a:lnTo>
                  <a:lnTo>
                    <a:pt x="3230" y="1105"/>
                  </a:lnTo>
                  <a:lnTo>
                    <a:pt x="3225" y="1107"/>
                  </a:lnTo>
                  <a:lnTo>
                    <a:pt x="3220" y="1107"/>
                  </a:lnTo>
                  <a:lnTo>
                    <a:pt x="3216" y="1105"/>
                  </a:lnTo>
                  <a:lnTo>
                    <a:pt x="3213" y="1100"/>
                  </a:lnTo>
                  <a:lnTo>
                    <a:pt x="3216" y="1102"/>
                  </a:lnTo>
                  <a:lnTo>
                    <a:pt x="3221" y="1105"/>
                  </a:lnTo>
                  <a:lnTo>
                    <a:pt x="3226" y="1100"/>
                  </a:lnTo>
                  <a:lnTo>
                    <a:pt x="3233" y="1095"/>
                  </a:lnTo>
                  <a:lnTo>
                    <a:pt x="3233" y="1095"/>
                  </a:lnTo>
                  <a:lnTo>
                    <a:pt x="3233" y="1094"/>
                  </a:lnTo>
                  <a:lnTo>
                    <a:pt x="3225" y="1094"/>
                  </a:lnTo>
                  <a:lnTo>
                    <a:pt x="3216" y="1090"/>
                  </a:lnTo>
                  <a:lnTo>
                    <a:pt x="3210" y="1085"/>
                  </a:lnTo>
                  <a:lnTo>
                    <a:pt x="3205" y="1079"/>
                  </a:lnTo>
                  <a:lnTo>
                    <a:pt x="3215" y="1074"/>
                  </a:lnTo>
                  <a:lnTo>
                    <a:pt x="3223" y="1067"/>
                  </a:lnTo>
                  <a:lnTo>
                    <a:pt x="3230" y="1070"/>
                  </a:lnTo>
                  <a:lnTo>
                    <a:pt x="3235" y="1074"/>
                  </a:lnTo>
                  <a:lnTo>
                    <a:pt x="3238" y="1079"/>
                  </a:lnTo>
                  <a:lnTo>
                    <a:pt x="3243" y="1084"/>
                  </a:lnTo>
                  <a:lnTo>
                    <a:pt x="3240" y="1089"/>
                  </a:lnTo>
                  <a:lnTo>
                    <a:pt x="3238" y="1092"/>
                  </a:lnTo>
                  <a:lnTo>
                    <a:pt x="3237" y="1095"/>
                  </a:lnTo>
                  <a:lnTo>
                    <a:pt x="3238" y="1100"/>
                  </a:lnTo>
                  <a:lnTo>
                    <a:pt x="3240" y="1104"/>
                  </a:lnTo>
                  <a:lnTo>
                    <a:pt x="3243" y="1105"/>
                  </a:lnTo>
                  <a:lnTo>
                    <a:pt x="3252" y="1105"/>
                  </a:lnTo>
                  <a:lnTo>
                    <a:pt x="3258" y="1105"/>
                  </a:lnTo>
                  <a:lnTo>
                    <a:pt x="3263" y="1102"/>
                  </a:lnTo>
                  <a:lnTo>
                    <a:pt x="3268" y="1099"/>
                  </a:lnTo>
                  <a:lnTo>
                    <a:pt x="3272" y="1094"/>
                  </a:lnTo>
                  <a:lnTo>
                    <a:pt x="3277" y="1090"/>
                  </a:lnTo>
                  <a:lnTo>
                    <a:pt x="3282" y="1087"/>
                  </a:lnTo>
                  <a:lnTo>
                    <a:pt x="3288" y="1085"/>
                  </a:lnTo>
                  <a:lnTo>
                    <a:pt x="3305" y="1092"/>
                  </a:lnTo>
                  <a:lnTo>
                    <a:pt x="3327" y="1100"/>
                  </a:lnTo>
                  <a:lnTo>
                    <a:pt x="3349" y="1110"/>
                  </a:lnTo>
                  <a:lnTo>
                    <a:pt x="3364" y="1119"/>
                  </a:lnTo>
                  <a:lnTo>
                    <a:pt x="3370" y="1126"/>
                  </a:lnTo>
                  <a:lnTo>
                    <a:pt x="3377" y="1132"/>
                  </a:lnTo>
                  <a:lnTo>
                    <a:pt x="3382" y="1141"/>
                  </a:lnTo>
                  <a:lnTo>
                    <a:pt x="3387" y="1149"/>
                  </a:lnTo>
                  <a:lnTo>
                    <a:pt x="3396" y="1167"/>
                  </a:lnTo>
                  <a:lnTo>
                    <a:pt x="3406" y="1184"/>
                  </a:lnTo>
                  <a:lnTo>
                    <a:pt x="3419" y="1192"/>
                  </a:lnTo>
                  <a:lnTo>
                    <a:pt x="3431" y="1204"/>
                  </a:lnTo>
                  <a:lnTo>
                    <a:pt x="3431" y="1204"/>
                  </a:lnTo>
                  <a:lnTo>
                    <a:pt x="3431" y="1204"/>
                  </a:lnTo>
                  <a:lnTo>
                    <a:pt x="3416" y="1203"/>
                  </a:lnTo>
                  <a:lnTo>
                    <a:pt x="3401" y="1203"/>
                  </a:lnTo>
                  <a:lnTo>
                    <a:pt x="3384" y="1184"/>
                  </a:lnTo>
                  <a:lnTo>
                    <a:pt x="3367" y="1166"/>
                  </a:lnTo>
                  <a:lnTo>
                    <a:pt x="3359" y="1167"/>
                  </a:lnTo>
                  <a:lnTo>
                    <a:pt x="3354" y="1169"/>
                  </a:lnTo>
                  <a:lnTo>
                    <a:pt x="3350" y="1171"/>
                  </a:lnTo>
                  <a:lnTo>
                    <a:pt x="3345" y="1172"/>
                  </a:lnTo>
                  <a:lnTo>
                    <a:pt x="3344" y="1182"/>
                  </a:lnTo>
                  <a:lnTo>
                    <a:pt x="3342" y="1191"/>
                  </a:lnTo>
                  <a:lnTo>
                    <a:pt x="3324" y="1186"/>
                  </a:lnTo>
                  <a:lnTo>
                    <a:pt x="3312" y="1181"/>
                  </a:lnTo>
                  <a:lnTo>
                    <a:pt x="3305" y="1179"/>
                  </a:lnTo>
                  <a:lnTo>
                    <a:pt x="3298" y="1177"/>
                  </a:lnTo>
                  <a:lnTo>
                    <a:pt x="3290" y="1176"/>
                  </a:lnTo>
                  <a:lnTo>
                    <a:pt x="3280" y="1176"/>
                  </a:lnTo>
                  <a:close/>
                  <a:moveTo>
                    <a:pt x="1030" y="1072"/>
                  </a:moveTo>
                  <a:lnTo>
                    <a:pt x="1035" y="1072"/>
                  </a:lnTo>
                  <a:lnTo>
                    <a:pt x="1040" y="1072"/>
                  </a:lnTo>
                  <a:lnTo>
                    <a:pt x="1040" y="1075"/>
                  </a:lnTo>
                  <a:lnTo>
                    <a:pt x="1040" y="1079"/>
                  </a:lnTo>
                  <a:lnTo>
                    <a:pt x="1038" y="1080"/>
                  </a:lnTo>
                  <a:lnTo>
                    <a:pt x="1037" y="1082"/>
                  </a:lnTo>
                  <a:lnTo>
                    <a:pt x="1037" y="1082"/>
                  </a:lnTo>
                  <a:lnTo>
                    <a:pt x="1035" y="1082"/>
                  </a:lnTo>
                  <a:lnTo>
                    <a:pt x="1030" y="1080"/>
                  </a:lnTo>
                  <a:lnTo>
                    <a:pt x="1025" y="1079"/>
                  </a:lnTo>
                  <a:lnTo>
                    <a:pt x="1027" y="1075"/>
                  </a:lnTo>
                  <a:lnTo>
                    <a:pt x="1030" y="1072"/>
                  </a:lnTo>
                  <a:close/>
                  <a:moveTo>
                    <a:pt x="3108" y="1085"/>
                  </a:moveTo>
                  <a:lnTo>
                    <a:pt x="3101" y="1085"/>
                  </a:lnTo>
                  <a:lnTo>
                    <a:pt x="3094" y="1087"/>
                  </a:lnTo>
                  <a:lnTo>
                    <a:pt x="3094" y="1095"/>
                  </a:lnTo>
                  <a:lnTo>
                    <a:pt x="3096" y="1105"/>
                  </a:lnTo>
                  <a:lnTo>
                    <a:pt x="3099" y="1115"/>
                  </a:lnTo>
                  <a:lnTo>
                    <a:pt x="3103" y="1127"/>
                  </a:lnTo>
                  <a:lnTo>
                    <a:pt x="3099" y="1127"/>
                  </a:lnTo>
                  <a:lnTo>
                    <a:pt x="3096" y="1126"/>
                  </a:lnTo>
                  <a:lnTo>
                    <a:pt x="3086" y="1114"/>
                  </a:lnTo>
                  <a:lnTo>
                    <a:pt x="3077" y="1100"/>
                  </a:lnTo>
                  <a:lnTo>
                    <a:pt x="3074" y="1102"/>
                  </a:lnTo>
                  <a:lnTo>
                    <a:pt x="3072" y="1104"/>
                  </a:lnTo>
                  <a:lnTo>
                    <a:pt x="3071" y="1119"/>
                  </a:lnTo>
                  <a:lnTo>
                    <a:pt x="3074" y="1132"/>
                  </a:lnTo>
                  <a:lnTo>
                    <a:pt x="3071" y="1131"/>
                  </a:lnTo>
                  <a:lnTo>
                    <a:pt x="3067" y="1129"/>
                  </a:lnTo>
                  <a:lnTo>
                    <a:pt x="3066" y="1127"/>
                  </a:lnTo>
                  <a:lnTo>
                    <a:pt x="3064" y="1126"/>
                  </a:lnTo>
                  <a:lnTo>
                    <a:pt x="3061" y="1112"/>
                  </a:lnTo>
                  <a:lnTo>
                    <a:pt x="3056" y="1097"/>
                  </a:lnTo>
                  <a:lnTo>
                    <a:pt x="3062" y="1085"/>
                  </a:lnTo>
                  <a:lnTo>
                    <a:pt x="3067" y="1074"/>
                  </a:lnTo>
                  <a:lnTo>
                    <a:pt x="3074" y="1079"/>
                  </a:lnTo>
                  <a:lnTo>
                    <a:pt x="3081" y="1082"/>
                  </a:lnTo>
                  <a:lnTo>
                    <a:pt x="3088" y="1079"/>
                  </a:lnTo>
                  <a:lnTo>
                    <a:pt x="3094" y="1077"/>
                  </a:lnTo>
                  <a:lnTo>
                    <a:pt x="3101" y="1075"/>
                  </a:lnTo>
                  <a:lnTo>
                    <a:pt x="3108" y="1077"/>
                  </a:lnTo>
                  <a:lnTo>
                    <a:pt x="3108" y="1080"/>
                  </a:lnTo>
                  <a:lnTo>
                    <a:pt x="3108" y="1085"/>
                  </a:lnTo>
                  <a:close/>
                  <a:moveTo>
                    <a:pt x="2897" y="1144"/>
                  </a:moveTo>
                  <a:lnTo>
                    <a:pt x="2908" y="1144"/>
                  </a:lnTo>
                  <a:lnTo>
                    <a:pt x="2922" y="1144"/>
                  </a:lnTo>
                  <a:lnTo>
                    <a:pt x="2930" y="1152"/>
                  </a:lnTo>
                  <a:lnTo>
                    <a:pt x="2940" y="1159"/>
                  </a:lnTo>
                  <a:lnTo>
                    <a:pt x="2955" y="1156"/>
                  </a:lnTo>
                  <a:lnTo>
                    <a:pt x="2970" y="1154"/>
                  </a:lnTo>
                  <a:lnTo>
                    <a:pt x="2987" y="1166"/>
                  </a:lnTo>
                  <a:lnTo>
                    <a:pt x="3004" y="1177"/>
                  </a:lnTo>
                  <a:lnTo>
                    <a:pt x="3004" y="1179"/>
                  </a:lnTo>
                  <a:lnTo>
                    <a:pt x="3002" y="1181"/>
                  </a:lnTo>
                  <a:lnTo>
                    <a:pt x="2979" y="1177"/>
                  </a:lnTo>
                  <a:lnTo>
                    <a:pt x="2955" y="1174"/>
                  </a:lnTo>
                  <a:lnTo>
                    <a:pt x="2932" y="1171"/>
                  </a:lnTo>
                  <a:lnTo>
                    <a:pt x="2908" y="1167"/>
                  </a:lnTo>
                  <a:lnTo>
                    <a:pt x="2903" y="1162"/>
                  </a:lnTo>
                  <a:lnTo>
                    <a:pt x="2900" y="1157"/>
                  </a:lnTo>
                  <a:lnTo>
                    <a:pt x="2897" y="1152"/>
                  </a:lnTo>
                  <a:lnTo>
                    <a:pt x="2897" y="1144"/>
                  </a:lnTo>
                  <a:close/>
                  <a:moveTo>
                    <a:pt x="3098" y="1295"/>
                  </a:moveTo>
                  <a:lnTo>
                    <a:pt x="3098" y="1291"/>
                  </a:lnTo>
                  <a:lnTo>
                    <a:pt x="3098" y="1288"/>
                  </a:lnTo>
                  <a:lnTo>
                    <a:pt x="3104" y="1285"/>
                  </a:lnTo>
                  <a:lnTo>
                    <a:pt x="3109" y="1278"/>
                  </a:lnTo>
                  <a:lnTo>
                    <a:pt x="3113" y="1270"/>
                  </a:lnTo>
                  <a:lnTo>
                    <a:pt x="3114" y="1259"/>
                  </a:lnTo>
                  <a:lnTo>
                    <a:pt x="3131" y="1254"/>
                  </a:lnTo>
                  <a:lnTo>
                    <a:pt x="3148" y="1251"/>
                  </a:lnTo>
                  <a:lnTo>
                    <a:pt x="3154" y="1261"/>
                  </a:lnTo>
                  <a:lnTo>
                    <a:pt x="3163" y="1270"/>
                  </a:lnTo>
                  <a:lnTo>
                    <a:pt x="3168" y="1270"/>
                  </a:lnTo>
                  <a:lnTo>
                    <a:pt x="3175" y="1268"/>
                  </a:lnTo>
                  <a:lnTo>
                    <a:pt x="3175" y="1259"/>
                  </a:lnTo>
                  <a:lnTo>
                    <a:pt x="3175" y="1253"/>
                  </a:lnTo>
                  <a:lnTo>
                    <a:pt x="3176" y="1248"/>
                  </a:lnTo>
                  <a:lnTo>
                    <a:pt x="3180" y="1243"/>
                  </a:lnTo>
                  <a:lnTo>
                    <a:pt x="3186" y="1234"/>
                  </a:lnTo>
                  <a:lnTo>
                    <a:pt x="3195" y="1228"/>
                  </a:lnTo>
                  <a:lnTo>
                    <a:pt x="3200" y="1229"/>
                  </a:lnTo>
                  <a:lnTo>
                    <a:pt x="3205" y="1229"/>
                  </a:lnTo>
                  <a:lnTo>
                    <a:pt x="3210" y="1229"/>
                  </a:lnTo>
                  <a:lnTo>
                    <a:pt x="3213" y="1228"/>
                  </a:lnTo>
                  <a:lnTo>
                    <a:pt x="3211" y="1221"/>
                  </a:lnTo>
                  <a:lnTo>
                    <a:pt x="3211" y="1214"/>
                  </a:lnTo>
                  <a:lnTo>
                    <a:pt x="3223" y="1219"/>
                  </a:lnTo>
                  <a:lnTo>
                    <a:pt x="3235" y="1224"/>
                  </a:lnTo>
                  <a:lnTo>
                    <a:pt x="3247" y="1228"/>
                  </a:lnTo>
                  <a:lnTo>
                    <a:pt x="3262" y="1231"/>
                  </a:lnTo>
                  <a:lnTo>
                    <a:pt x="3262" y="1234"/>
                  </a:lnTo>
                  <a:lnTo>
                    <a:pt x="3262" y="1238"/>
                  </a:lnTo>
                  <a:lnTo>
                    <a:pt x="3257" y="1241"/>
                  </a:lnTo>
                  <a:lnTo>
                    <a:pt x="3253" y="1244"/>
                  </a:lnTo>
                  <a:lnTo>
                    <a:pt x="3252" y="1249"/>
                  </a:lnTo>
                  <a:lnTo>
                    <a:pt x="3250" y="1256"/>
                  </a:lnTo>
                  <a:lnTo>
                    <a:pt x="3270" y="1244"/>
                  </a:lnTo>
                  <a:lnTo>
                    <a:pt x="3292" y="1234"/>
                  </a:lnTo>
                  <a:lnTo>
                    <a:pt x="3314" y="1223"/>
                  </a:lnTo>
                  <a:lnTo>
                    <a:pt x="3334" y="1213"/>
                  </a:lnTo>
                  <a:lnTo>
                    <a:pt x="3335" y="1221"/>
                  </a:lnTo>
                  <a:lnTo>
                    <a:pt x="3337" y="1234"/>
                  </a:lnTo>
                  <a:lnTo>
                    <a:pt x="3340" y="1248"/>
                  </a:lnTo>
                  <a:lnTo>
                    <a:pt x="3345" y="1254"/>
                  </a:lnTo>
                  <a:lnTo>
                    <a:pt x="3350" y="1258"/>
                  </a:lnTo>
                  <a:lnTo>
                    <a:pt x="3355" y="1261"/>
                  </a:lnTo>
                  <a:lnTo>
                    <a:pt x="3355" y="1288"/>
                  </a:lnTo>
                  <a:lnTo>
                    <a:pt x="3359" y="1306"/>
                  </a:lnTo>
                  <a:lnTo>
                    <a:pt x="3360" y="1315"/>
                  </a:lnTo>
                  <a:lnTo>
                    <a:pt x="3365" y="1321"/>
                  </a:lnTo>
                  <a:lnTo>
                    <a:pt x="3374" y="1328"/>
                  </a:lnTo>
                  <a:lnTo>
                    <a:pt x="3382" y="1336"/>
                  </a:lnTo>
                  <a:lnTo>
                    <a:pt x="3386" y="1348"/>
                  </a:lnTo>
                  <a:lnTo>
                    <a:pt x="3391" y="1360"/>
                  </a:lnTo>
                  <a:lnTo>
                    <a:pt x="3396" y="1368"/>
                  </a:lnTo>
                  <a:lnTo>
                    <a:pt x="3401" y="1377"/>
                  </a:lnTo>
                  <a:lnTo>
                    <a:pt x="3407" y="1385"/>
                  </a:lnTo>
                  <a:lnTo>
                    <a:pt x="3412" y="1395"/>
                  </a:lnTo>
                  <a:lnTo>
                    <a:pt x="3416" y="1403"/>
                  </a:lnTo>
                  <a:lnTo>
                    <a:pt x="3419" y="1415"/>
                  </a:lnTo>
                  <a:lnTo>
                    <a:pt x="3419" y="1424"/>
                  </a:lnTo>
                  <a:lnTo>
                    <a:pt x="3419" y="1434"/>
                  </a:lnTo>
                  <a:lnTo>
                    <a:pt x="3417" y="1442"/>
                  </a:lnTo>
                  <a:lnTo>
                    <a:pt x="3414" y="1452"/>
                  </a:lnTo>
                  <a:lnTo>
                    <a:pt x="3404" y="1470"/>
                  </a:lnTo>
                  <a:lnTo>
                    <a:pt x="3391" y="1489"/>
                  </a:lnTo>
                  <a:lnTo>
                    <a:pt x="3362" y="1521"/>
                  </a:lnTo>
                  <a:lnTo>
                    <a:pt x="3337" y="1542"/>
                  </a:lnTo>
                  <a:lnTo>
                    <a:pt x="3325" y="1559"/>
                  </a:lnTo>
                  <a:lnTo>
                    <a:pt x="3312" y="1576"/>
                  </a:lnTo>
                  <a:lnTo>
                    <a:pt x="3302" y="1581"/>
                  </a:lnTo>
                  <a:lnTo>
                    <a:pt x="3287" y="1586"/>
                  </a:lnTo>
                  <a:lnTo>
                    <a:pt x="3272" y="1589"/>
                  </a:lnTo>
                  <a:lnTo>
                    <a:pt x="3262" y="1593"/>
                  </a:lnTo>
                  <a:lnTo>
                    <a:pt x="3260" y="1588"/>
                  </a:lnTo>
                  <a:lnTo>
                    <a:pt x="3257" y="1583"/>
                  </a:lnTo>
                  <a:lnTo>
                    <a:pt x="3245" y="1584"/>
                  </a:lnTo>
                  <a:lnTo>
                    <a:pt x="3232" y="1589"/>
                  </a:lnTo>
                  <a:lnTo>
                    <a:pt x="3221" y="1586"/>
                  </a:lnTo>
                  <a:lnTo>
                    <a:pt x="3206" y="1581"/>
                  </a:lnTo>
                  <a:lnTo>
                    <a:pt x="3203" y="1576"/>
                  </a:lnTo>
                  <a:lnTo>
                    <a:pt x="3201" y="1571"/>
                  </a:lnTo>
                  <a:lnTo>
                    <a:pt x="3205" y="1563"/>
                  </a:lnTo>
                  <a:lnTo>
                    <a:pt x="3206" y="1556"/>
                  </a:lnTo>
                  <a:lnTo>
                    <a:pt x="3206" y="1551"/>
                  </a:lnTo>
                  <a:lnTo>
                    <a:pt x="3205" y="1549"/>
                  </a:lnTo>
                  <a:lnTo>
                    <a:pt x="3201" y="1546"/>
                  </a:lnTo>
                  <a:lnTo>
                    <a:pt x="3200" y="1544"/>
                  </a:lnTo>
                  <a:lnTo>
                    <a:pt x="3198" y="1541"/>
                  </a:lnTo>
                  <a:lnTo>
                    <a:pt x="3196" y="1536"/>
                  </a:lnTo>
                  <a:lnTo>
                    <a:pt x="3191" y="1539"/>
                  </a:lnTo>
                  <a:lnTo>
                    <a:pt x="3190" y="1541"/>
                  </a:lnTo>
                  <a:lnTo>
                    <a:pt x="3186" y="1541"/>
                  </a:lnTo>
                  <a:lnTo>
                    <a:pt x="3183" y="1541"/>
                  </a:lnTo>
                  <a:lnTo>
                    <a:pt x="3188" y="1536"/>
                  </a:lnTo>
                  <a:lnTo>
                    <a:pt x="3191" y="1534"/>
                  </a:lnTo>
                  <a:lnTo>
                    <a:pt x="3196" y="1534"/>
                  </a:lnTo>
                  <a:lnTo>
                    <a:pt x="3203" y="1534"/>
                  </a:lnTo>
                  <a:lnTo>
                    <a:pt x="3203" y="1531"/>
                  </a:lnTo>
                  <a:lnTo>
                    <a:pt x="3205" y="1526"/>
                  </a:lnTo>
                  <a:lnTo>
                    <a:pt x="3205" y="1521"/>
                  </a:lnTo>
                  <a:lnTo>
                    <a:pt x="3203" y="1516"/>
                  </a:lnTo>
                  <a:lnTo>
                    <a:pt x="3188" y="1526"/>
                  </a:lnTo>
                  <a:lnTo>
                    <a:pt x="3171" y="1536"/>
                  </a:lnTo>
                  <a:lnTo>
                    <a:pt x="3171" y="1522"/>
                  </a:lnTo>
                  <a:lnTo>
                    <a:pt x="3170" y="1514"/>
                  </a:lnTo>
                  <a:lnTo>
                    <a:pt x="3165" y="1507"/>
                  </a:lnTo>
                  <a:lnTo>
                    <a:pt x="3160" y="1499"/>
                  </a:lnTo>
                  <a:lnTo>
                    <a:pt x="3141" y="1496"/>
                  </a:lnTo>
                  <a:lnTo>
                    <a:pt x="3124" y="1496"/>
                  </a:lnTo>
                  <a:lnTo>
                    <a:pt x="3108" y="1497"/>
                  </a:lnTo>
                  <a:lnTo>
                    <a:pt x="3093" y="1502"/>
                  </a:lnTo>
                  <a:lnTo>
                    <a:pt x="3062" y="1514"/>
                  </a:lnTo>
                  <a:lnTo>
                    <a:pt x="3036" y="1524"/>
                  </a:lnTo>
                  <a:lnTo>
                    <a:pt x="3017" y="1526"/>
                  </a:lnTo>
                  <a:lnTo>
                    <a:pt x="3000" y="1526"/>
                  </a:lnTo>
                  <a:lnTo>
                    <a:pt x="2990" y="1532"/>
                  </a:lnTo>
                  <a:lnTo>
                    <a:pt x="2982" y="1537"/>
                  </a:lnTo>
                  <a:lnTo>
                    <a:pt x="2970" y="1541"/>
                  </a:lnTo>
                  <a:lnTo>
                    <a:pt x="2957" y="1541"/>
                  </a:lnTo>
                  <a:lnTo>
                    <a:pt x="2952" y="1539"/>
                  </a:lnTo>
                  <a:lnTo>
                    <a:pt x="2947" y="1537"/>
                  </a:lnTo>
                  <a:lnTo>
                    <a:pt x="2944" y="1532"/>
                  </a:lnTo>
                  <a:lnTo>
                    <a:pt x="2942" y="1526"/>
                  </a:lnTo>
                  <a:lnTo>
                    <a:pt x="2947" y="1519"/>
                  </a:lnTo>
                  <a:lnTo>
                    <a:pt x="2952" y="1512"/>
                  </a:lnTo>
                  <a:lnTo>
                    <a:pt x="2955" y="1502"/>
                  </a:lnTo>
                  <a:lnTo>
                    <a:pt x="2957" y="1492"/>
                  </a:lnTo>
                  <a:lnTo>
                    <a:pt x="2959" y="1472"/>
                  </a:lnTo>
                  <a:lnTo>
                    <a:pt x="2959" y="1449"/>
                  </a:lnTo>
                  <a:lnTo>
                    <a:pt x="2959" y="1425"/>
                  </a:lnTo>
                  <a:lnTo>
                    <a:pt x="2959" y="1402"/>
                  </a:lnTo>
                  <a:lnTo>
                    <a:pt x="2959" y="1392"/>
                  </a:lnTo>
                  <a:lnTo>
                    <a:pt x="2960" y="1380"/>
                  </a:lnTo>
                  <a:lnTo>
                    <a:pt x="2964" y="1372"/>
                  </a:lnTo>
                  <a:lnTo>
                    <a:pt x="2967" y="1363"/>
                  </a:lnTo>
                  <a:lnTo>
                    <a:pt x="2977" y="1360"/>
                  </a:lnTo>
                  <a:lnTo>
                    <a:pt x="2985" y="1355"/>
                  </a:lnTo>
                  <a:lnTo>
                    <a:pt x="2992" y="1350"/>
                  </a:lnTo>
                  <a:lnTo>
                    <a:pt x="3000" y="1345"/>
                  </a:lnTo>
                  <a:lnTo>
                    <a:pt x="3032" y="1336"/>
                  </a:lnTo>
                  <a:lnTo>
                    <a:pt x="3051" y="1330"/>
                  </a:lnTo>
                  <a:lnTo>
                    <a:pt x="3057" y="1326"/>
                  </a:lnTo>
                  <a:lnTo>
                    <a:pt x="3064" y="1320"/>
                  </a:lnTo>
                  <a:lnTo>
                    <a:pt x="3071" y="1310"/>
                  </a:lnTo>
                  <a:lnTo>
                    <a:pt x="3081" y="1293"/>
                  </a:lnTo>
                  <a:lnTo>
                    <a:pt x="3089" y="1295"/>
                  </a:lnTo>
                  <a:lnTo>
                    <a:pt x="3098" y="1295"/>
                  </a:lnTo>
                  <a:close/>
                  <a:moveTo>
                    <a:pt x="2215" y="1218"/>
                  </a:moveTo>
                  <a:lnTo>
                    <a:pt x="2220" y="1229"/>
                  </a:lnTo>
                  <a:lnTo>
                    <a:pt x="2225" y="1243"/>
                  </a:lnTo>
                  <a:lnTo>
                    <a:pt x="2230" y="1256"/>
                  </a:lnTo>
                  <a:lnTo>
                    <a:pt x="2232" y="1270"/>
                  </a:lnTo>
                  <a:lnTo>
                    <a:pt x="2224" y="1283"/>
                  </a:lnTo>
                  <a:lnTo>
                    <a:pt x="2215" y="1296"/>
                  </a:lnTo>
                  <a:lnTo>
                    <a:pt x="2214" y="1311"/>
                  </a:lnTo>
                  <a:lnTo>
                    <a:pt x="2214" y="1326"/>
                  </a:lnTo>
                  <a:lnTo>
                    <a:pt x="2202" y="1345"/>
                  </a:lnTo>
                  <a:lnTo>
                    <a:pt x="2192" y="1363"/>
                  </a:lnTo>
                  <a:lnTo>
                    <a:pt x="2185" y="1383"/>
                  </a:lnTo>
                  <a:lnTo>
                    <a:pt x="2178" y="1403"/>
                  </a:lnTo>
                  <a:lnTo>
                    <a:pt x="2177" y="1407"/>
                  </a:lnTo>
                  <a:lnTo>
                    <a:pt x="2173" y="1410"/>
                  </a:lnTo>
                  <a:lnTo>
                    <a:pt x="2170" y="1412"/>
                  </a:lnTo>
                  <a:lnTo>
                    <a:pt x="2167" y="1414"/>
                  </a:lnTo>
                  <a:lnTo>
                    <a:pt x="2163" y="1414"/>
                  </a:lnTo>
                  <a:lnTo>
                    <a:pt x="2158" y="1412"/>
                  </a:lnTo>
                  <a:lnTo>
                    <a:pt x="2152" y="1410"/>
                  </a:lnTo>
                  <a:lnTo>
                    <a:pt x="2145" y="1407"/>
                  </a:lnTo>
                  <a:lnTo>
                    <a:pt x="2145" y="1392"/>
                  </a:lnTo>
                  <a:lnTo>
                    <a:pt x="2142" y="1380"/>
                  </a:lnTo>
                  <a:lnTo>
                    <a:pt x="2140" y="1368"/>
                  </a:lnTo>
                  <a:lnTo>
                    <a:pt x="2138" y="1353"/>
                  </a:lnTo>
                  <a:lnTo>
                    <a:pt x="2145" y="1347"/>
                  </a:lnTo>
                  <a:lnTo>
                    <a:pt x="2150" y="1338"/>
                  </a:lnTo>
                  <a:lnTo>
                    <a:pt x="2153" y="1330"/>
                  </a:lnTo>
                  <a:lnTo>
                    <a:pt x="2153" y="1320"/>
                  </a:lnTo>
                  <a:lnTo>
                    <a:pt x="2155" y="1310"/>
                  </a:lnTo>
                  <a:lnTo>
                    <a:pt x="2155" y="1300"/>
                  </a:lnTo>
                  <a:lnTo>
                    <a:pt x="2157" y="1290"/>
                  </a:lnTo>
                  <a:lnTo>
                    <a:pt x="2162" y="1281"/>
                  </a:lnTo>
                  <a:lnTo>
                    <a:pt x="2172" y="1278"/>
                  </a:lnTo>
                  <a:lnTo>
                    <a:pt x="2183" y="1273"/>
                  </a:lnTo>
                  <a:lnTo>
                    <a:pt x="2192" y="1268"/>
                  </a:lnTo>
                  <a:lnTo>
                    <a:pt x="2200" y="1259"/>
                  </a:lnTo>
                  <a:lnTo>
                    <a:pt x="2207" y="1253"/>
                  </a:lnTo>
                  <a:lnTo>
                    <a:pt x="2212" y="1243"/>
                  </a:lnTo>
                  <a:lnTo>
                    <a:pt x="2215" y="1231"/>
                  </a:lnTo>
                  <a:lnTo>
                    <a:pt x="2215" y="1218"/>
                  </a:lnTo>
                  <a:close/>
                  <a:moveTo>
                    <a:pt x="3591" y="1531"/>
                  </a:moveTo>
                  <a:lnTo>
                    <a:pt x="3600" y="1534"/>
                  </a:lnTo>
                  <a:lnTo>
                    <a:pt x="3607" y="1541"/>
                  </a:lnTo>
                  <a:lnTo>
                    <a:pt x="3607" y="1559"/>
                  </a:lnTo>
                  <a:lnTo>
                    <a:pt x="3607" y="1574"/>
                  </a:lnTo>
                  <a:lnTo>
                    <a:pt x="3608" y="1578"/>
                  </a:lnTo>
                  <a:lnTo>
                    <a:pt x="3610" y="1579"/>
                  </a:lnTo>
                  <a:lnTo>
                    <a:pt x="3622" y="1578"/>
                  </a:lnTo>
                  <a:lnTo>
                    <a:pt x="3632" y="1574"/>
                  </a:lnTo>
                  <a:lnTo>
                    <a:pt x="3632" y="1579"/>
                  </a:lnTo>
                  <a:lnTo>
                    <a:pt x="3632" y="1584"/>
                  </a:lnTo>
                  <a:lnTo>
                    <a:pt x="3618" y="1594"/>
                  </a:lnTo>
                  <a:lnTo>
                    <a:pt x="3601" y="1606"/>
                  </a:lnTo>
                  <a:lnTo>
                    <a:pt x="3586" y="1618"/>
                  </a:lnTo>
                  <a:lnTo>
                    <a:pt x="3573" y="1624"/>
                  </a:lnTo>
                  <a:lnTo>
                    <a:pt x="3561" y="1626"/>
                  </a:lnTo>
                  <a:lnTo>
                    <a:pt x="3551" y="1628"/>
                  </a:lnTo>
                  <a:lnTo>
                    <a:pt x="3548" y="1635"/>
                  </a:lnTo>
                  <a:lnTo>
                    <a:pt x="3546" y="1640"/>
                  </a:lnTo>
                  <a:lnTo>
                    <a:pt x="3536" y="1640"/>
                  </a:lnTo>
                  <a:lnTo>
                    <a:pt x="3528" y="1641"/>
                  </a:lnTo>
                  <a:lnTo>
                    <a:pt x="3508" y="1656"/>
                  </a:lnTo>
                  <a:lnTo>
                    <a:pt x="3488" y="1673"/>
                  </a:lnTo>
                  <a:lnTo>
                    <a:pt x="3476" y="1681"/>
                  </a:lnTo>
                  <a:lnTo>
                    <a:pt x="3463" y="1688"/>
                  </a:lnTo>
                  <a:lnTo>
                    <a:pt x="3451" y="1691"/>
                  </a:lnTo>
                  <a:lnTo>
                    <a:pt x="3436" y="1695"/>
                  </a:lnTo>
                  <a:lnTo>
                    <a:pt x="3432" y="1693"/>
                  </a:lnTo>
                  <a:lnTo>
                    <a:pt x="3429" y="1691"/>
                  </a:lnTo>
                  <a:lnTo>
                    <a:pt x="3427" y="1688"/>
                  </a:lnTo>
                  <a:lnTo>
                    <a:pt x="3426" y="1685"/>
                  </a:lnTo>
                  <a:lnTo>
                    <a:pt x="3456" y="1666"/>
                  </a:lnTo>
                  <a:lnTo>
                    <a:pt x="3486" y="1650"/>
                  </a:lnTo>
                  <a:lnTo>
                    <a:pt x="3516" y="1631"/>
                  </a:lnTo>
                  <a:lnTo>
                    <a:pt x="3545" y="1613"/>
                  </a:lnTo>
                  <a:lnTo>
                    <a:pt x="3546" y="1616"/>
                  </a:lnTo>
                  <a:lnTo>
                    <a:pt x="3550" y="1619"/>
                  </a:lnTo>
                  <a:lnTo>
                    <a:pt x="3553" y="1621"/>
                  </a:lnTo>
                  <a:lnTo>
                    <a:pt x="3558" y="1621"/>
                  </a:lnTo>
                  <a:lnTo>
                    <a:pt x="3566" y="1616"/>
                  </a:lnTo>
                  <a:lnTo>
                    <a:pt x="3575" y="1611"/>
                  </a:lnTo>
                  <a:lnTo>
                    <a:pt x="3570" y="1606"/>
                  </a:lnTo>
                  <a:lnTo>
                    <a:pt x="3568" y="1604"/>
                  </a:lnTo>
                  <a:lnTo>
                    <a:pt x="3568" y="1601"/>
                  </a:lnTo>
                  <a:lnTo>
                    <a:pt x="3568" y="1596"/>
                  </a:lnTo>
                  <a:lnTo>
                    <a:pt x="3576" y="1593"/>
                  </a:lnTo>
                  <a:lnTo>
                    <a:pt x="3581" y="1586"/>
                  </a:lnTo>
                  <a:lnTo>
                    <a:pt x="3586" y="1579"/>
                  </a:lnTo>
                  <a:lnTo>
                    <a:pt x="3593" y="1573"/>
                  </a:lnTo>
                  <a:lnTo>
                    <a:pt x="3593" y="1552"/>
                  </a:lnTo>
                  <a:lnTo>
                    <a:pt x="3591" y="1531"/>
                  </a:lnTo>
                  <a:close/>
                  <a:moveTo>
                    <a:pt x="3180" y="1547"/>
                  </a:moveTo>
                  <a:lnTo>
                    <a:pt x="3186" y="1549"/>
                  </a:lnTo>
                  <a:lnTo>
                    <a:pt x="3193" y="1551"/>
                  </a:lnTo>
                  <a:lnTo>
                    <a:pt x="3191" y="1552"/>
                  </a:lnTo>
                  <a:lnTo>
                    <a:pt x="3188" y="1554"/>
                  </a:lnTo>
                  <a:lnTo>
                    <a:pt x="3185" y="1556"/>
                  </a:lnTo>
                  <a:lnTo>
                    <a:pt x="3181" y="1556"/>
                  </a:lnTo>
                  <a:lnTo>
                    <a:pt x="3180" y="1554"/>
                  </a:lnTo>
                  <a:lnTo>
                    <a:pt x="3178" y="1549"/>
                  </a:lnTo>
                  <a:lnTo>
                    <a:pt x="3178" y="1549"/>
                  </a:lnTo>
                  <a:lnTo>
                    <a:pt x="3180" y="1547"/>
                  </a:lnTo>
                  <a:close/>
                  <a:moveTo>
                    <a:pt x="3220" y="1656"/>
                  </a:moveTo>
                  <a:lnTo>
                    <a:pt x="3223" y="1636"/>
                  </a:lnTo>
                  <a:lnTo>
                    <a:pt x="3230" y="1616"/>
                  </a:lnTo>
                  <a:lnTo>
                    <a:pt x="3232" y="1616"/>
                  </a:lnTo>
                  <a:lnTo>
                    <a:pt x="3232" y="1616"/>
                  </a:lnTo>
                  <a:lnTo>
                    <a:pt x="3252" y="1618"/>
                  </a:lnTo>
                  <a:lnTo>
                    <a:pt x="3268" y="1621"/>
                  </a:lnTo>
                  <a:lnTo>
                    <a:pt x="3268" y="1623"/>
                  </a:lnTo>
                  <a:lnTo>
                    <a:pt x="3268" y="1623"/>
                  </a:lnTo>
                  <a:lnTo>
                    <a:pt x="3267" y="1626"/>
                  </a:lnTo>
                  <a:lnTo>
                    <a:pt x="3267" y="1629"/>
                  </a:lnTo>
                  <a:lnTo>
                    <a:pt x="3260" y="1638"/>
                  </a:lnTo>
                  <a:lnTo>
                    <a:pt x="3252" y="1645"/>
                  </a:lnTo>
                  <a:lnTo>
                    <a:pt x="3243" y="1651"/>
                  </a:lnTo>
                  <a:lnTo>
                    <a:pt x="3235" y="1656"/>
                  </a:lnTo>
                  <a:lnTo>
                    <a:pt x="3228" y="1656"/>
                  </a:lnTo>
                  <a:lnTo>
                    <a:pt x="3220" y="16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17961" dir="2700000" algn="ctr" rotWithShape="0">
                <a:schemeClr val="bg2"/>
              </a:outerShdw>
            </a:effectLst>
          </p:spPr>
          <p:txBody>
            <a:bodyPr lIns="83425" tIns="41713" rIns="83425" bIns="41713"/>
            <a:lstStyle/>
            <a:p>
              <a:pPr defTabSz="914095">
                <a:buClr>
                  <a:srgbClr val="CC9900"/>
                </a:buClr>
                <a:buFont typeface="Wingdings" pitchFamily="2" charset="2"/>
                <a:buChar char="n"/>
                <a:defRPr/>
              </a:pPr>
              <a:endParaRPr lang="zh-CN" altLang="en-US" sz="2500" b="1" dirty="0">
                <a:solidFill>
                  <a:srgbClr val="C00000"/>
                </a:solidFill>
                <a:latin typeface="Arial" pitchFamily="34" charset="0"/>
                <a:ea typeface="宋体"/>
                <a:cs typeface="Arial" pitchFamily="34" charset="0"/>
              </a:endParaRPr>
            </a:p>
          </p:txBody>
        </p:sp>
        <p:sp>
          <p:nvSpPr>
            <p:cNvPr id="64547" name="TextBox 63"/>
            <p:cNvSpPr txBox="1">
              <a:spLocks noChangeArrowheads="1"/>
            </p:cNvSpPr>
            <p:nvPr/>
          </p:nvSpPr>
          <p:spPr bwMode="auto">
            <a:xfrm>
              <a:off x="2551330" y="3665530"/>
              <a:ext cx="1325563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South Afric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48" name="TextBox 45"/>
            <p:cNvSpPr txBox="1">
              <a:spLocks noChangeArrowheads="1"/>
            </p:cNvSpPr>
            <p:nvPr/>
          </p:nvSpPr>
          <p:spPr bwMode="auto">
            <a:xfrm>
              <a:off x="3575275" y="2628438"/>
              <a:ext cx="446087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UAE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49" name="TextBox 49"/>
            <p:cNvSpPr txBox="1">
              <a:spLocks noChangeArrowheads="1"/>
            </p:cNvSpPr>
            <p:nvPr/>
          </p:nvSpPr>
          <p:spPr bwMode="auto">
            <a:xfrm>
              <a:off x="4349975" y="2221811"/>
              <a:ext cx="555625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Chin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0" name="TextBox 51"/>
            <p:cNvSpPr txBox="1">
              <a:spLocks noChangeArrowheads="1"/>
            </p:cNvSpPr>
            <p:nvPr/>
          </p:nvSpPr>
          <p:spPr bwMode="auto">
            <a:xfrm>
              <a:off x="3360511" y="1680702"/>
              <a:ext cx="1006474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Norway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1" name="TextBox 50"/>
            <p:cNvSpPr txBox="1">
              <a:spLocks noChangeArrowheads="1"/>
            </p:cNvSpPr>
            <p:nvPr/>
          </p:nvSpPr>
          <p:spPr bwMode="auto">
            <a:xfrm>
              <a:off x="4011836" y="1802600"/>
              <a:ext cx="722313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Russian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2" name="TextBox 51"/>
            <p:cNvSpPr txBox="1">
              <a:spLocks noChangeArrowheads="1"/>
            </p:cNvSpPr>
            <p:nvPr/>
          </p:nvSpPr>
          <p:spPr bwMode="auto">
            <a:xfrm>
              <a:off x="2717457" y="2118331"/>
              <a:ext cx="766763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Spain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3" name="TextBox 51"/>
            <p:cNvSpPr txBox="1">
              <a:spLocks noChangeArrowheads="1"/>
            </p:cNvSpPr>
            <p:nvPr/>
          </p:nvSpPr>
          <p:spPr bwMode="auto">
            <a:xfrm>
              <a:off x="1900710" y="2752036"/>
              <a:ext cx="769938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Ghan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4" name="TextBox 51"/>
            <p:cNvSpPr txBox="1">
              <a:spLocks noChangeArrowheads="1"/>
            </p:cNvSpPr>
            <p:nvPr/>
          </p:nvSpPr>
          <p:spPr bwMode="auto">
            <a:xfrm>
              <a:off x="3285672" y="2081834"/>
              <a:ext cx="766762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Poland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5" name="TextBox 50"/>
            <p:cNvSpPr txBox="1">
              <a:spLocks noChangeArrowheads="1"/>
            </p:cNvSpPr>
            <p:nvPr/>
          </p:nvSpPr>
          <p:spPr bwMode="auto">
            <a:xfrm>
              <a:off x="1618797" y="3506327"/>
              <a:ext cx="566738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Bolivi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6" name="TextBox 63"/>
            <p:cNvSpPr txBox="1">
              <a:spLocks noChangeArrowheads="1"/>
            </p:cNvSpPr>
            <p:nvPr/>
          </p:nvSpPr>
          <p:spPr bwMode="auto">
            <a:xfrm>
              <a:off x="3495898" y="3471402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Madagascar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7" name="TextBox 63"/>
            <p:cNvSpPr txBox="1">
              <a:spLocks noChangeArrowheads="1"/>
            </p:cNvSpPr>
            <p:nvPr/>
          </p:nvSpPr>
          <p:spPr bwMode="auto">
            <a:xfrm>
              <a:off x="4105500" y="2687855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Laos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8" name="TextBox 63"/>
            <p:cNvSpPr txBox="1">
              <a:spLocks noChangeArrowheads="1"/>
            </p:cNvSpPr>
            <p:nvPr/>
          </p:nvSpPr>
          <p:spPr bwMode="auto">
            <a:xfrm>
              <a:off x="3697650" y="2359470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Pakistan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59" name="TextBox 63"/>
            <p:cNvSpPr txBox="1">
              <a:spLocks noChangeArrowheads="1"/>
            </p:cNvSpPr>
            <p:nvPr/>
          </p:nvSpPr>
          <p:spPr bwMode="auto">
            <a:xfrm>
              <a:off x="3070450" y="2944473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Ethiopi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60" name="TextBox 63"/>
            <p:cNvSpPr txBox="1">
              <a:spLocks noChangeArrowheads="1"/>
            </p:cNvSpPr>
            <p:nvPr/>
          </p:nvSpPr>
          <p:spPr bwMode="auto">
            <a:xfrm>
              <a:off x="2733900" y="2793539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Congo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sp>
          <p:nvSpPr>
            <p:cNvPr id="64561" name="TextBox 63"/>
            <p:cNvSpPr txBox="1">
              <a:spLocks noChangeArrowheads="1"/>
            </p:cNvSpPr>
            <p:nvPr/>
          </p:nvSpPr>
          <p:spPr bwMode="auto">
            <a:xfrm>
              <a:off x="2820986" y="2432042"/>
              <a:ext cx="800100" cy="217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68562" tIns="34281" rIns="68562" bIns="34281">
              <a:spAutoFit/>
            </a:bodyPr>
            <a:lstStyle/>
            <a:p>
              <a:pPr algn="ctr" defTabSz="912813">
                <a:buClr>
                  <a:srgbClr val="CC9900"/>
                </a:buClr>
              </a:pPr>
              <a:r>
                <a:rPr lang="en-US" altLang="zh-CN" sz="800" b="1">
                  <a:solidFill>
                    <a:srgbClr val="C00000"/>
                  </a:solidFill>
                  <a:latin typeface="Arial" pitchFamily="34" charset="0"/>
                  <a:ea typeface="Arial Unicode MS" pitchFamily="34" charset="-128"/>
                  <a:cs typeface="Arial" pitchFamily="34" charset="0"/>
                </a:rPr>
                <a:t>Libya</a:t>
              </a:r>
              <a:endParaRPr lang="zh-CN" altLang="en-US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endParaRPr>
            </a:p>
          </p:txBody>
        </p:sp>
        <p:pic>
          <p:nvPicPr>
            <p:cNvPr id="64562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695280" y="3374823"/>
              <a:ext cx="227202" cy="1597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3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128424" y="1708688"/>
              <a:ext cx="227202" cy="1597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4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478373" y="2127423"/>
              <a:ext cx="227202" cy="1597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5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959450" y="2272435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6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384107" y="2602158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7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468119" y="1582983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8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364137" y="1995027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69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818039" y="2016549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0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672112" y="2510083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1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100612" y="3506327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2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476055" y="3358481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3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110139" y="2359470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4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370487" y="2865804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5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051400" y="2714870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4576" name="Picture 329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636496" y="2793539"/>
              <a:ext cx="223836" cy="1573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1751" name="Rounded Rectangle 41"/>
          <p:cNvSpPr>
            <a:spLocks noChangeArrowheads="1"/>
          </p:cNvSpPr>
          <p:nvPr/>
        </p:nvSpPr>
        <p:spPr bwMode="auto">
          <a:xfrm>
            <a:off x="5543550" y="871538"/>
            <a:ext cx="3192463" cy="3738562"/>
          </a:xfrm>
          <a:prstGeom prst="roundRect">
            <a:avLst>
              <a:gd name="adj" fmla="val 2236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8" tIns="45714" rIns="91428" bIns="45714"/>
          <a:lstStyle/>
          <a:p>
            <a:pPr defTabSz="912813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84" name="矩形 83"/>
          <p:cNvSpPr/>
          <p:nvPr/>
        </p:nvSpPr>
        <p:spPr>
          <a:xfrm>
            <a:off x="5538788" y="1266825"/>
            <a:ext cx="3017837" cy="2030413"/>
          </a:xfrm>
          <a:prstGeom prst="rect">
            <a:avLst/>
          </a:prstGeom>
        </p:spPr>
        <p:txBody>
          <a:bodyPr lIns="91428" tIns="45714" rIns="91428" bIns="45714">
            <a:spAutoFit/>
          </a:bodyPr>
          <a:lstStyle/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en-US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Nan Jing Municiple in Government</a:t>
            </a: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en-US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Zhengzhou Metro in Metro</a:t>
            </a: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en-US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China Shuohuang Railway in railway</a:t>
            </a: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en-US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China Southern Power Grid in Grid </a:t>
            </a: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en-US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China </a:t>
            </a:r>
            <a:r>
              <a:rPr lang="en-US" altLang="zh-CN" sz="12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eijiamao Coal Mine</a:t>
            </a:r>
            <a:r>
              <a:rPr lang="de-DE" altLang="zh-CN" sz="120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in Mine</a:t>
            </a:r>
            <a:endParaRPr lang="de-DE" altLang="zh-CN" sz="1200" noProof="1">
              <a:solidFill>
                <a:srgbClr val="FFFFFF"/>
              </a:solidFill>
              <a:latin typeface="Arial" pitchFamily="34" charset="0"/>
              <a:ea typeface="Arial Unicode MS" pitchFamily="34" charset="-128"/>
              <a:cs typeface="Arial" pitchFamily="34" charset="0"/>
              <a:sym typeface="Wingdings" pitchFamily="2" charset="2"/>
            </a:endParaRP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de-DE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Norway Tampnet Oilfield  in Oil &amp; Gas</a:t>
            </a:r>
          </a:p>
          <a:p>
            <a:pPr marL="117475" indent="-117475" defTabSz="912813" eaLnBrk="0" hangingPunct="0">
              <a:lnSpc>
                <a:spcPct val="150000"/>
              </a:lnSpc>
              <a:buClr>
                <a:srgbClr val="7F7F7F"/>
              </a:buClr>
              <a:buSzPct val="75000"/>
              <a:buFontTx/>
              <a:buChar char="•"/>
            </a:pPr>
            <a:r>
              <a:rPr lang="de-DE" altLang="zh-CN" sz="1200" noProof="1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" pitchFamily="34" charset="0"/>
                <a:sym typeface="Wingdings" pitchFamily="2" charset="2"/>
              </a:rPr>
              <a:t>Kenya Police in Government</a:t>
            </a:r>
          </a:p>
        </p:txBody>
      </p:sp>
      <p:pic>
        <p:nvPicPr>
          <p:cNvPr id="64520" name="Picture 32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92450" y="2849563"/>
            <a:ext cx="227013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21" name="TextBox 50"/>
          <p:cNvSpPr txBox="1">
            <a:spLocks noChangeArrowheads="1"/>
          </p:cNvSpPr>
          <p:nvPr/>
        </p:nvSpPr>
        <p:spPr bwMode="auto">
          <a:xfrm>
            <a:off x="3009900" y="2919413"/>
            <a:ext cx="457200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53" tIns="34276" rIns="68553" bIns="34276">
            <a:spAutoFit/>
          </a:bodyPr>
          <a:lstStyle/>
          <a:p>
            <a:pPr defTabSz="912813">
              <a:buClr>
                <a:srgbClr val="CC9900"/>
              </a:buClr>
            </a:pPr>
            <a:r>
              <a:rPr lang="en-US" altLang="zh-CN" sz="800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Kenya</a:t>
            </a:r>
            <a:endParaRPr lang="zh-CN" altLang="en-US" sz="800">
              <a:solidFill>
                <a:srgbClr val="C0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89" name="圆角矩形 88"/>
          <p:cNvSpPr/>
          <p:nvPr>
            <p:custDataLst>
              <p:tags r:id="rId1"/>
            </p:custDataLst>
          </p:nvPr>
        </p:nvSpPr>
        <p:spPr>
          <a:xfrm>
            <a:off x="5543550" y="868363"/>
            <a:ext cx="3197225" cy="450850"/>
          </a:xfrm>
          <a:prstGeom prst="roundRect">
            <a:avLst/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5199" tIns="57599" rIns="115199" bIns="57599" anchor="ctr"/>
          <a:lstStyle/>
          <a:p>
            <a:pPr algn="ctr" defTabSz="822325">
              <a:lnSpc>
                <a:spcPts val="2000"/>
              </a:lnSpc>
              <a:buClr>
                <a:srgbClr val="C00000"/>
              </a:buClr>
              <a:buSzPct val="60000"/>
              <a:buFont typeface="Wingdings" pitchFamily="2" charset="2"/>
              <a:buChar char="n"/>
            </a:pPr>
            <a:endParaRPr kumimoji="1" lang="en-US" altLang="zh-CN" sz="1600">
              <a:effectLst>
                <a:outerShdw blurRad="38100" dist="38100" dir="2700000" algn="tl">
                  <a:srgbClr val="FFFFFF"/>
                </a:outerShdw>
              </a:effectLst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093686" y="934991"/>
            <a:ext cx="2088291" cy="369332"/>
          </a:xfrm>
          <a:prstGeom prst="rect">
            <a:avLst/>
          </a:prstGeom>
          <a:noFill/>
        </p:spPr>
        <p:txBody>
          <a:bodyPr lIns="91428" tIns="45714" rIns="91428" bIns="45714">
            <a:spAutoFit/>
          </a:bodyPr>
          <a:lstStyle/>
          <a:p>
            <a:pPr algn="ctr" defTabSz="914095">
              <a:buClr>
                <a:srgbClr val="CC9900"/>
              </a:buClr>
              <a:defRPr/>
            </a:pPr>
            <a:r>
              <a:rPr lang="en-US" altLang="zh-CN" b="1" dirty="0">
                <a:gradFill>
                  <a:gsLst>
                    <a:gs pos="49000">
                      <a:prstClr val="white"/>
                    </a:gs>
                    <a:gs pos="100000">
                      <a:prstClr val="white">
                        <a:lumMod val="65000"/>
                      </a:prstClr>
                    </a:gs>
                  </a:gsLst>
                  <a:lin ang="5400000" scaled="1"/>
                </a:gra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charset="0"/>
                <a:cs typeface="Arial" pitchFamily="34" charset="0"/>
              </a:rPr>
              <a:t>Applications</a:t>
            </a:r>
          </a:p>
        </p:txBody>
      </p:sp>
      <p:graphicFrame>
        <p:nvGraphicFramePr>
          <p:cNvPr id="98" name="图表 97"/>
          <p:cNvGraphicFramePr/>
          <p:nvPr/>
        </p:nvGraphicFramePr>
        <p:xfrm>
          <a:off x="6038847" y="3268980"/>
          <a:ext cx="2148840" cy="14363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64525" name="直接连接符 113"/>
          <p:cNvCxnSpPr>
            <a:cxnSpLocks noChangeShapeType="1"/>
          </p:cNvCxnSpPr>
          <p:nvPr/>
        </p:nvCxnSpPr>
        <p:spPr bwMode="auto">
          <a:xfrm>
            <a:off x="6324600" y="4276725"/>
            <a:ext cx="588963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 type="oval" w="med" len="med"/>
          </a:ln>
        </p:spPr>
      </p:cxnSp>
      <p:cxnSp>
        <p:nvCxnSpPr>
          <p:cNvPr id="64526" name="直接连接符 113"/>
          <p:cNvCxnSpPr>
            <a:cxnSpLocks noChangeShapeType="1"/>
          </p:cNvCxnSpPr>
          <p:nvPr/>
        </p:nvCxnSpPr>
        <p:spPr bwMode="auto">
          <a:xfrm>
            <a:off x="6343650" y="3968750"/>
            <a:ext cx="296863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 type="oval" w="med" len="med"/>
          </a:ln>
        </p:spPr>
      </p:cxnSp>
      <p:cxnSp>
        <p:nvCxnSpPr>
          <p:cNvPr id="64527" name="直接连接符 113"/>
          <p:cNvCxnSpPr>
            <a:cxnSpLocks noChangeShapeType="1"/>
          </p:cNvCxnSpPr>
          <p:nvPr/>
        </p:nvCxnSpPr>
        <p:spPr bwMode="auto">
          <a:xfrm>
            <a:off x="6338888" y="3681413"/>
            <a:ext cx="52705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 type="oval" w="med" len="med"/>
          </a:ln>
        </p:spPr>
      </p:cxnSp>
      <p:cxnSp>
        <p:nvCxnSpPr>
          <p:cNvPr id="64528" name="直接连接符 113"/>
          <p:cNvCxnSpPr>
            <a:cxnSpLocks noChangeShapeType="1"/>
          </p:cNvCxnSpPr>
          <p:nvPr/>
        </p:nvCxnSpPr>
        <p:spPr bwMode="auto">
          <a:xfrm>
            <a:off x="6324600" y="3473450"/>
            <a:ext cx="71278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 type="oval" w="med" len="med"/>
          </a:ln>
        </p:spPr>
      </p:cxnSp>
      <p:cxnSp>
        <p:nvCxnSpPr>
          <p:cNvPr id="64529" name="直接连接符 113"/>
          <p:cNvCxnSpPr>
            <a:cxnSpLocks noChangeShapeType="1"/>
          </p:cNvCxnSpPr>
          <p:nvPr/>
        </p:nvCxnSpPr>
        <p:spPr bwMode="auto">
          <a:xfrm>
            <a:off x="7407275" y="3940175"/>
            <a:ext cx="355600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 type="oval" w="med" len="med"/>
            <a:tailEnd/>
          </a:ln>
        </p:spPr>
      </p:cxnSp>
      <p:sp>
        <p:nvSpPr>
          <p:cNvPr id="114" name="矩形 113"/>
          <p:cNvSpPr/>
          <p:nvPr/>
        </p:nvSpPr>
        <p:spPr>
          <a:xfrm>
            <a:off x="7689850" y="3792538"/>
            <a:ext cx="1090613" cy="276225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overnment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矩形 114"/>
          <p:cNvSpPr/>
          <p:nvPr/>
        </p:nvSpPr>
        <p:spPr>
          <a:xfrm>
            <a:off x="7974013" y="3516313"/>
            <a:ext cx="441325" cy="369887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8</a:t>
            </a:r>
            <a:endParaRPr lang="zh-CN" altLang="zh-CN" sz="16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矩形 115"/>
          <p:cNvSpPr/>
          <p:nvPr/>
        </p:nvSpPr>
        <p:spPr>
          <a:xfrm>
            <a:off x="5697538" y="3278188"/>
            <a:ext cx="501650" cy="276225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Grid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6292850" y="3243263"/>
            <a:ext cx="269875" cy="277812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9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矩形 117"/>
          <p:cNvSpPr/>
          <p:nvPr/>
        </p:nvSpPr>
        <p:spPr>
          <a:xfrm>
            <a:off x="5508625" y="3521075"/>
            <a:ext cx="879475" cy="276225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il &amp; Gas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矩形 118"/>
          <p:cNvSpPr/>
          <p:nvPr/>
        </p:nvSpPr>
        <p:spPr>
          <a:xfrm>
            <a:off x="6245225" y="3467100"/>
            <a:ext cx="354013" cy="27781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0" name="矩形 119"/>
          <p:cNvSpPr/>
          <p:nvPr/>
        </p:nvSpPr>
        <p:spPr>
          <a:xfrm>
            <a:off x="5500688" y="3816350"/>
            <a:ext cx="895350" cy="276225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ransport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矩形 125"/>
          <p:cNvSpPr/>
          <p:nvPr/>
        </p:nvSpPr>
        <p:spPr>
          <a:xfrm>
            <a:off x="6254750" y="3733800"/>
            <a:ext cx="354013" cy="277813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1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矩形 127"/>
          <p:cNvSpPr/>
          <p:nvPr/>
        </p:nvSpPr>
        <p:spPr>
          <a:xfrm>
            <a:off x="5697538" y="4125913"/>
            <a:ext cx="577850" cy="276225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ISP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矩形 128"/>
          <p:cNvSpPr/>
          <p:nvPr/>
        </p:nvSpPr>
        <p:spPr>
          <a:xfrm>
            <a:off x="6259513" y="4052888"/>
            <a:ext cx="354012" cy="277812"/>
          </a:xfrm>
          <a:prstGeom prst="rect">
            <a:avLst/>
          </a:prstGeom>
        </p:spPr>
        <p:txBody>
          <a:bodyPr wrap="none" lIns="91428" tIns="45714" rIns="91428" bIns="45714">
            <a:spAutoFit/>
          </a:bodyPr>
          <a:lstStyle/>
          <a:p>
            <a:pPr algn="ctr" defTabSz="912813"/>
            <a:r>
              <a:rPr lang="en-US" altLang="zh-CN" sz="1200" b="1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3</a:t>
            </a:r>
            <a:endParaRPr lang="zh-CN" altLang="zh-CN" sz="12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540" name="TextBox 63"/>
          <p:cNvSpPr txBox="1">
            <a:spLocks noChangeArrowheads="1"/>
          </p:cNvSpPr>
          <p:nvPr/>
        </p:nvSpPr>
        <p:spPr bwMode="auto">
          <a:xfrm>
            <a:off x="962025" y="2457450"/>
            <a:ext cx="800100" cy="19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53" tIns="34276" rIns="68553" bIns="34276">
            <a:spAutoFit/>
          </a:bodyPr>
          <a:lstStyle/>
          <a:p>
            <a:pPr algn="ctr" defTabSz="912813">
              <a:buClr>
                <a:srgbClr val="CC9900"/>
              </a:buClr>
            </a:pPr>
            <a:r>
              <a:rPr lang="en-US" altLang="zh-CN" sz="800" b="1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USA</a:t>
            </a:r>
            <a:endParaRPr lang="zh-CN" altLang="en-US" sz="800" b="1">
              <a:solidFill>
                <a:srgbClr val="C0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64541" name="Picture 32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47775" y="2352675"/>
            <a:ext cx="227013" cy="14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542" name="Picture 32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51000" y="3278188"/>
            <a:ext cx="227013" cy="142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43" name="矩形 78"/>
          <p:cNvSpPr>
            <a:spLocks noChangeArrowheads="1"/>
          </p:cNvSpPr>
          <p:nvPr/>
        </p:nvSpPr>
        <p:spPr bwMode="auto">
          <a:xfrm>
            <a:off x="1549400" y="3340100"/>
            <a:ext cx="45085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8" tIns="45714" rIns="91428" bIns="45714">
            <a:spAutoFit/>
          </a:bodyPr>
          <a:lstStyle/>
          <a:p>
            <a:pPr defTabSz="912813"/>
            <a:r>
              <a:rPr lang="en-US" altLang="zh-CN" sz="800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Brazil</a:t>
            </a:r>
            <a:endParaRPr lang="zh-CN" altLang="en-US" sz="800">
              <a:solidFill>
                <a:srgbClr val="C0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pic>
        <p:nvPicPr>
          <p:cNvPr id="64544" name="Picture 329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859088" y="2381250"/>
            <a:ext cx="223837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545" name="TextBox 51"/>
          <p:cNvSpPr txBox="1">
            <a:spLocks noChangeArrowheads="1"/>
          </p:cNvSpPr>
          <p:nvPr/>
        </p:nvSpPr>
        <p:spPr bwMode="auto">
          <a:xfrm>
            <a:off x="2797175" y="2471738"/>
            <a:ext cx="766763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53" tIns="34276" rIns="68553" bIns="34276">
            <a:spAutoFit/>
          </a:bodyPr>
          <a:lstStyle/>
          <a:p>
            <a:pPr defTabSz="912813">
              <a:buClr>
                <a:srgbClr val="CC9900"/>
              </a:buClr>
            </a:pPr>
            <a:r>
              <a:rPr lang="en-US" altLang="zh-CN" sz="800">
                <a:solidFill>
                  <a:srgbClr val="C00000"/>
                </a:solidFill>
                <a:latin typeface="Arial" pitchFamily="34" charset="0"/>
                <a:ea typeface="Arial Unicode MS" pitchFamily="34" charset="-128"/>
                <a:cs typeface="Arial" pitchFamily="34" charset="0"/>
              </a:rPr>
              <a:t>Italy</a:t>
            </a:r>
            <a:endParaRPr lang="zh-CN" altLang="en-US" sz="800">
              <a:solidFill>
                <a:srgbClr val="C00000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00937" y="725557"/>
            <a:ext cx="4213184" cy="2688975"/>
          </a:xfrm>
          <a:prstGeom prst="rect">
            <a:avLst/>
          </a:prstGeom>
        </p:spPr>
      </p:pic>
      <p:sp>
        <p:nvSpPr>
          <p:cNvPr id="5" name="同侧圆角矩形 14"/>
          <p:cNvSpPr/>
          <p:nvPr/>
        </p:nvSpPr>
        <p:spPr bwMode="auto">
          <a:xfrm>
            <a:off x="4572001" y="1049578"/>
            <a:ext cx="4346638" cy="3765490"/>
          </a:xfrm>
          <a:prstGeom prst="round2SameRect">
            <a:avLst>
              <a:gd name="adj1" fmla="val 0"/>
              <a:gd name="adj2" fmla="val 0"/>
            </a:avLst>
          </a:prstGeom>
          <a:noFill/>
          <a:ln w="9525" algn="ctr">
            <a:noFill/>
            <a:round/>
            <a:headEnd/>
            <a:tailEnd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  <a:softEdge rad="12700"/>
          </a:effectLst>
        </p:spPr>
        <p:txBody>
          <a:bodyPr wrap="none" lIns="68562" tIns="34281" rIns="68562" bIns="34281" anchor="ctr"/>
          <a:lstStyle/>
          <a:p>
            <a:pPr algn="ctr" defTabSz="684213" eaLnBrk="0" hangingPunct="0">
              <a:buSzPct val="60000"/>
            </a:pPr>
            <a:endParaRPr lang="en-US" altLang="zh-CN" dirty="0">
              <a:solidFill>
                <a:srgbClr val="5F5F5F"/>
              </a:solidFill>
              <a:latin typeface="微软雅黑" pitchFamily="34" charset="-122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" name="AutoShape 44"/>
          <p:cNvSpPr>
            <a:spLocks noChangeArrowheads="1"/>
          </p:cNvSpPr>
          <p:nvPr/>
        </p:nvSpPr>
        <p:spPr bwMode="auto">
          <a:xfrm>
            <a:off x="4572000" y="739520"/>
            <a:ext cx="4358026" cy="31801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B90000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6846" tIns="8423" rIns="16846" bIns="8423" anchor="ctr" anchorCtr="1"/>
          <a:lstStyle/>
          <a:p>
            <a:pPr defTabSz="587375" eaLnBrk="0" hangingPunct="0">
              <a:buSzPct val="60000"/>
            </a:pPr>
            <a:endParaRPr lang="zh-CN" altLang="en-US" sz="1400" b="1">
              <a:solidFill>
                <a:srgbClr val="FFFFFF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" name="矩形 13"/>
          <p:cNvSpPr>
            <a:spLocks noChangeArrowheads="1"/>
          </p:cNvSpPr>
          <p:nvPr/>
        </p:nvSpPr>
        <p:spPr bwMode="auto">
          <a:xfrm>
            <a:off x="4202400" y="667145"/>
            <a:ext cx="3894138" cy="392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 anchor="ctr">
            <a:spAutoFit/>
          </a:bodyPr>
          <a:lstStyle/>
          <a:p>
            <a:pPr marL="174625" indent="-174625" algn="ctr">
              <a:lnSpc>
                <a:spcPct val="150000"/>
              </a:lnSpc>
              <a:tabLst>
                <a:tab pos="174625" algn="l"/>
              </a:tabLst>
            </a:pPr>
            <a:r>
              <a:rPr lang="en-US" altLang="zh-CN" sz="1600" b="1" dirty="0" smtClean="0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UK Broadband </a:t>
            </a:r>
            <a:r>
              <a:rPr lang="en-US" altLang="zh-CN" sz="1600" b="1" dirty="0" smtClean="0">
                <a:solidFill>
                  <a:srgbClr val="FFFFFF"/>
                </a:solidFill>
                <a:latin typeface="Arial" pitchFamily="34" charset="0"/>
              </a:rPr>
              <a:t>eLTE · UK</a:t>
            </a:r>
            <a:endParaRPr lang="en-US" altLang="zh-CN" sz="1600" b="1" dirty="0">
              <a:solidFill>
                <a:srgbClr val="FFFFFF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Title 2"/>
          <p:cNvSpPr txBox="1">
            <a:spLocks noGrp="1"/>
          </p:cNvSpPr>
          <p:nvPr>
            <p:ph type="title"/>
          </p:nvPr>
        </p:nvSpPr>
        <p:spPr bwMode="auto">
          <a:xfrm>
            <a:off x="314912" y="82061"/>
            <a:ext cx="7632700" cy="653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2800" b="1" dirty="0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</a:rPr>
              <a:t>Huawei eLTE </a:t>
            </a:r>
            <a:r>
              <a:rPr lang="en-US" altLang="zh-CN" sz="2800" dirty="0" smtClean="0">
                <a:solidFill>
                  <a:srgbClr val="FFC000"/>
                </a:solidFill>
                <a:latin typeface="+mj-lt"/>
                <a:ea typeface="黑体" pitchFamily="49" charset="-122"/>
              </a:rPr>
              <a:t>for</a:t>
            </a:r>
            <a:r>
              <a:rPr lang="en-US" altLang="zh-CN" sz="2800" b="1" dirty="0" smtClean="0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</a:rPr>
              <a:t> UK Broadband </a:t>
            </a:r>
            <a:endParaRPr lang="en-US" altLang="zh-CN" sz="2800" b="1" dirty="0">
              <a:solidFill>
                <a:srgbClr val="FFC000"/>
              </a:solidFill>
              <a:latin typeface="+mj-lt"/>
              <a:ea typeface="黑体" pitchFamily="49" charset="-122"/>
              <a:cs typeface="+mj-cs"/>
            </a:endParaRPr>
          </a:p>
        </p:txBody>
      </p:sp>
      <p:sp>
        <p:nvSpPr>
          <p:cNvPr id="11" name="Rectangle 40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41610" y="1062429"/>
            <a:ext cx="4463490" cy="3813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7475" indent="-117475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Requirements &amp; Challenges:</a:t>
            </a:r>
          </a:p>
          <a:p>
            <a:pPr eaLnBrk="1" hangingPunct="1">
              <a:lnSpc>
                <a:spcPct val="150000"/>
              </a:lnSpc>
              <a:buFontTx/>
              <a:buChar char="•"/>
            </a:pPr>
            <a:r>
              <a:rPr lang="en-US" altLang="zh-CN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To cover </a:t>
            </a:r>
            <a:r>
              <a:rPr lang="en-US" altLang="zh-CN" sz="1200" dirty="0" smtClean="0">
                <a:solidFill>
                  <a:srgbClr val="FFC000"/>
                </a:solidFill>
                <a:latin typeface="Arial" panose="020B0604020202020204" pitchFamily="34" charset="0"/>
              </a:rPr>
              <a:t>Central London  3 KM2 Economic zone </a:t>
            </a:r>
          </a:p>
          <a:p>
            <a:pPr eaLnBrk="1" hangingPunct="1">
              <a:lnSpc>
                <a:spcPct val="150000"/>
              </a:lnSpc>
              <a:buFontTx/>
              <a:buChar char="•"/>
            </a:pPr>
            <a:r>
              <a:rPr lang="en-US" altLang="ko-KR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en-US" altLang="ko-KR" sz="1200" dirty="0" smtClean="0">
                <a:solidFill>
                  <a:srgbClr val="FFC000"/>
                </a:solidFill>
                <a:latin typeface="Arial" panose="020B0604020202020204" pitchFamily="34" charset="0"/>
              </a:rPr>
              <a:t>Existing TETRA to be replaced by 2020 </a:t>
            </a:r>
          </a:p>
          <a:p>
            <a:pPr eaLnBrk="1" hangingPunct="1">
              <a:lnSpc>
                <a:spcPct val="150000"/>
              </a:lnSpc>
              <a:buFontTx/>
              <a:buChar char="•"/>
            </a:pPr>
            <a:r>
              <a:rPr lang="en-US" altLang="ko-KR" sz="1200" dirty="0" smtClean="0">
                <a:solidFill>
                  <a:schemeClr val="bg1"/>
                </a:solidFill>
                <a:latin typeface="Arial" panose="020B0604020202020204" pitchFamily="34" charset="0"/>
              </a:rPr>
              <a:t> Home Office need </a:t>
            </a:r>
            <a:r>
              <a:rPr lang="en-US" altLang="ko-KR" sz="1200" dirty="0" smtClean="0">
                <a:solidFill>
                  <a:srgbClr val="FFC000"/>
                </a:solidFill>
                <a:latin typeface="Arial" panose="020B0604020202020204" pitchFamily="34" charset="0"/>
              </a:rPr>
              <a:t>LTE Trunking Network </a:t>
            </a:r>
            <a:endParaRPr lang="en-US" altLang="ko-KR" sz="1200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olution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:</a:t>
            </a:r>
          </a:p>
          <a:p>
            <a:pPr marL="79981" indent="-79981">
              <a:lnSpc>
                <a:spcPct val="130000"/>
              </a:lnSpc>
              <a:buFont typeface="Arial" pitchFamily="34" charset="0"/>
              <a:buChar char="•"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Arial Unicode MS" pitchFamily="34" charset="-122"/>
              </a:rPr>
              <a:t>3.5GHz , LTE TDD E2E 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Network</a:t>
            </a:r>
          </a:p>
          <a:p>
            <a:pPr marL="79981" indent="-79981">
              <a:lnSpc>
                <a:spcPct val="130000"/>
              </a:lnSpc>
              <a:buFont typeface="Arial" pitchFamily="34" charset="0"/>
              <a:buChar char="•"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Arial Unicode MS" pitchFamily="34" charset="-122"/>
              </a:rPr>
              <a:t>Full security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and functionality as TETRA.</a:t>
            </a:r>
          </a:p>
          <a:p>
            <a:pPr marL="79981" indent="-79981">
              <a:lnSpc>
                <a:spcPct val="130000"/>
              </a:lnSpc>
              <a:buFont typeface="Arial" pitchFamily="34" charset="0"/>
              <a:buChar char="•"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Arial Unicode MS" pitchFamily="34" charset="-122"/>
              </a:rPr>
              <a:t>eLTE  solution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supports video surveillance, visual dispatching , and other high speed data services.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Benefits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:</a:t>
            </a:r>
          </a:p>
          <a:p>
            <a:pPr marL="79981" lvl="0" indent="-79981">
              <a:lnSpc>
                <a:spcPct val="130000"/>
              </a:lnSpc>
              <a:buFont typeface="Arial" pitchFamily="34" charset="0"/>
              <a:buChar char="•"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Arial Unicode MS" pitchFamily="34" charset="-122"/>
              </a:rPr>
              <a:t>One Network for  all service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, improves  efficiency and customer experience </a:t>
            </a:r>
          </a:p>
          <a:p>
            <a:pPr marL="79981" lvl="0" indent="-79981">
              <a:lnSpc>
                <a:spcPct val="130000"/>
              </a:lnSpc>
              <a:buFont typeface="Arial" pitchFamily="34" charset="0"/>
              <a:buChar char="•"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Arial Unicode MS" pitchFamily="34" charset="-122"/>
              </a:rPr>
              <a:t>Professional eLTE terminal and service satisfies customer’s critical requirements</a:t>
            </a:r>
          </a:p>
        </p:txBody>
      </p:sp>
      <p:sp>
        <p:nvSpPr>
          <p:cNvPr id="12" name="AutoShape 53"/>
          <p:cNvSpPr>
            <a:spLocks noChangeArrowheads="1"/>
          </p:cNvSpPr>
          <p:nvPr/>
        </p:nvSpPr>
        <p:spPr bwMode="auto">
          <a:xfrm>
            <a:off x="331800" y="672050"/>
            <a:ext cx="1506538" cy="6858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 lIns="91417" tIns="45708" rIns="91417" bIns="45708" anchor="ctr"/>
          <a:lstStyle/>
          <a:p>
            <a:pPr defTabSz="685800"/>
            <a:endParaRPr lang="zh-CN" altLang="zh-CN" sz="1400">
              <a:solidFill>
                <a:srgbClr val="000000"/>
              </a:solidFill>
              <a:ea typeface="宋体" pitchFamily="2" charset="-122"/>
            </a:endParaRPr>
          </a:p>
        </p:txBody>
      </p:sp>
      <p:sp>
        <p:nvSpPr>
          <p:cNvPr id="13" name="AutoShape 55"/>
          <p:cNvSpPr>
            <a:spLocks noChangeArrowheads="1"/>
          </p:cNvSpPr>
          <p:nvPr/>
        </p:nvSpPr>
        <p:spPr bwMode="auto">
          <a:xfrm>
            <a:off x="401650" y="748250"/>
            <a:ext cx="1360488" cy="53340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wrap="none" lIns="91417" tIns="45708" rIns="91417" bIns="45708" anchor="ctr"/>
          <a:lstStyle/>
          <a:p>
            <a:pPr defTabSz="685800"/>
            <a:endParaRPr lang="zh-CN" altLang="zh-CN" sz="1400">
              <a:solidFill>
                <a:srgbClr val="000000"/>
              </a:solidFill>
              <a:ea typeface="宋体" pitchFamily="2" charset="-122"/>
            </a:endParaRPr>
          </a:p>
        </p:txBody>
      </p:sp>
      <p:pic>
        <p:nvPicPr>
          <p:cNvPr id="14" name="Picture 3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1018" y="717850"/>
            <a:ext cx="1371600" cy="553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/>
          <a:srcRect l="16344" t="22243" r="16993" b="18366"/>
          <a:stretch>
            <a:fillRect/>
          </a:stretch>
        </p:blipFill>
        <p:spPr bwMode="auto">
          <a:xfrm>
            <a:off x="2997844" y="3551696"/>
            <a:ext cx="1486073" cy="1224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7" cstate="print"/>
          <a:srcRect l="6244" t="19853" r="6373" b="13235"/>
          <a:stretch>
            <a:fillRect/>
          </a:stretch>
        </p:blipFill>
        <p:spPr bwMode="auto">
          <a:xfrm>
            <a:off x="312945" y="3534060"/>
            <a:ext cx="2592299" cy="1266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矩形 18"/>
          <p:cNvSpPr>
            <a:spLocks noChangeArrowheads="1"/>
          </p:cNvSpPr>
          <p:nvPr/>
        </p:nvSpPr>
        <p:spPr bwMode="auto">
          <a:xfrm>
            <a:off x="265316" y="4552933"/>
            <a:ext cx="1669321" cy="22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7" tIns="34279" rIns="68557" bIns="3427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AV Video Surveillance 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18"/>
          <p:cNvSpPr>
            <a:spLocks noChangeArrowheads="1"/>
          </p:cNvSpPr>
          <p:nvPr/>
        </p:nvSpPr>
        <p:spPr bwMode="auto">
          <a:xfrm>
            <a:off x="2952641" y="3513108"/>
            <a:ext cx="723550" cy="223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7" tIns="34279" rIns="68557" bIns="34279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LTE  PTT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6619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331" y="589140"/>
            <a:ext cx="4020609" cy="4141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2"/>
          <p:cNvSpPr txBox="1">
            <a:spLocks noGrp="1"/>
          </p:cNvSpPr>
          <p:nvPr>
            <p:ph type="title"/>
          </p:nvPr>
        </p:nvSpPr>
        <p:spPr bwMode="auto">
          <a:xfrm>
            <a:off x="314912" y="82061"/>
            <a:ext cx="7632700" cy="653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r>
              <a:rPr lang="en-US" altLang="zh-CN" sz="2800" b="1" dirty="0" err="1" smtClean="0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</a:rPr>
              <a:t>MoI</a:t>
            </a:r>
            <a:r>
              <a:rPr lang="en-US" altLang="zh-CN" sz="2800" b="1" dirty="0" smtClean="0">
                <a:solidFill>
                  <a:srgbClr val="FFC000"/>
                </a:solidFill>
                <a:latin typeface="+mj-lt"/>
                <a:ea typeface="黑体" pitchFamily="49" charset="-122"/>
                <a:cs typeface="+mj-cs"/>
              </a:rPr>
              <a:t> 911 – Saudi Arabia</a:t>
            </a:r>
            <a:endParaRPr lang="en-US" altLang="zh-CN" sz="2800" b="1" dirty="0">
              <a:solidFill>
                <a:srgbClr val="FFC000"/>
              </a:solidFill>
              <a:latin typeface="+mj-lt"/>
              <a:ea typeface="黑体" pitchFamily="49" charset="-122"/>
              <a:cs typeface="+mj-cs"/>
            </a:endParaRPr>
          </a:p>
        </p:txBody>
      </p:sp>
      <p:sp>
        <p:nvSpPr>
          <p:cNvPr id="8" name="AutoShape 44"/>
          <p:cNvSpPr>
            <a:spLocks noChangeArrowheads="1"/>
          </p:cNvSpPr>
          <p:nvPr/>
        </p:nvSpPr>
        <p:spPr bwMode="auto">
          <a:xfrm>
            <a:off x="4224134" y="481106"/>
            <a:ext cx="4691265" cy="318010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B90000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6846" tIns="8423" rIns="16846" bIns="8423" anchor="ctr" anchorCtr="1"/>
          <a:lstStyle/>
          <a:p>
            <a:pPr defTabSz="587375" eaLnBrk="0" hangingPunct="0">
              <a:buSzPct val="60000"/>
            </a:pPr>
            <a:endParaRPr lang="zh-CN" altLang="en-US" sz="1400" b="1">
              <a:solidFill>
                <a:srgbClr val="FFFFFF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" name="矩形 13"/>
          <p:cNvSpPr>
            <a:spLocks noChangeArrowheads="1"/>
          </p:cNvSpPr>
          <p:nvPr/>
        </p:nvSpPr>
        <p:spPr bwMode="auto">
          <a:xfrm>
            <a:off x="4003620" y="398792"/>
            <a:ext cx="3894138" cy="392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 anchor="ctr">
            <a:spAutoFit/>
          </a:bodyPr>
          <a:lstStyle/>
          <a:p>
            <a:pPr marL="174625" indent="-174625" algn="ctr">
              <a:lnSpc>
                <a:spcPct val="150000"/>
              </a:lnSpc>
              <a:tabLst>
                <a:tab pos="174625" algn="l"/>
              </a:tabLst>
            </a:pPr>
            <a:r>
              <a:rPr lang="en-US" altLang="zh-CN" sz="1600" b="1" dirty="0" smtClean="0">
                <a:solidFill>
                  <a:srgbClr val="FFFFFF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rPr>
              <a:t>KSA Emergency Command Center</a:t>
            </a:r>
            <a:endParaRPr lang="en-US" altLang="zh-CN" sz="1600" b="1" dirty="0">
              <a:solidFill>
                <a:srgbClr val="FFFFFF"/>
              </a:solidFill>
              <a:latin typeface="Aria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Rectangle 40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93744" y="695744"/>
            <a:ext cx="4791229" cy="394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17475" indent="-117475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684213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Requirements &amp; Challenges: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14 sites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Unified Command Centers in 13 cities 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Each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300+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call Takers &amp; Dispatchers 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Unified Emergency No.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911 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Multi Agency dispatching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including Traffic , police patrol, highway security and civil defense   </a:t>
            </a:r>
            <a:endParaRPr lang="en-US" altLang="zh-CN" sz="1200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Solution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: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Build up unified call-taking &amp; dispatching platform 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Deployment of advanced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CAD/GIS , eLTE , IVS , VCM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systems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eLTE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 system for Multimedia dispatching system.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Command system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integrated with existing TETRA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system and additional system (eLTE, IVS, IPCC, VC, TP) </a:t>
            </a:r>
          </a:p>
          <a:p>
            <a:pPr eaLnBrk="1" hangingPunct="1">
              <a:lnSpc>
                <a:spcPct val="150000"/>
              </a:lnSpc>
            </a:pPr>
            <a:r>
              <a:rPr lang="en-US" altLang="zh-CN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Benefits</a:t>
            </a:r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: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Unified call-taking &amp; dispatching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Command Center  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Real time monitoring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of policeman and police vehicle</a:t>
            </a:r>
          </a:p>
          <a:p>
            <a:pPr marL="174613" indent="-174613" defTabSz="914280">
              <a:lnSpc>
                <a:spcPct val="120000"/>
              </a:lnSpc>
              <a:buClr>
                <a:srgbClr val="990000"/>
              </a:buClr>
              <a:buSzPct val="50000"/>
              <a:buFont typeface="Wingdings" pitchFamily="2" charset="2"/>
              <a:buChar char="n"/>
              <a:defRPr/>
            </a:pP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Multi-Resources and Unites displayed on </a:t>
            </a:r>
            <a:r>
              <a:rPr lang="en-US" altLang="zh-CN" sz="1200" dirty="0" smtClean="0">
                <a:solidFill>
                  <a:srgbClr val="FFC000"/>
                </a:solidFill>
                <a:latin typeface="Arial" pitchFamily="34" charset="0"/>
                <a:ea typeface="华文细黑" pitchFamily="2" charset="-122"/>
                <a:cs typeface="Arial" pitchFamily="34" charset="0"/>
              </a:rPr>
              <a:t>one GIS Map </a:t>
            </a:r>
            <a:endParaRPr lang="zh-CN" altLang="en-US" sz="1200" dirty="0" smtClean="0">
              <a:solidFill>
                <a:srgbClr val="FFC000"/>
              </a:solidFill>
              <a:latin typeface="Arial" pitchFamily="34" charset="0"/>
              <a:ea typeface="华文细黑" pitchFamily="2" charset="-122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2</a:t>
            </a:fld>
            <a:endParaRPr lang="zh-CN" altLang="en-US"/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500034" y="642924"/>
            <a:ext cx="3143272" cy="8572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Arial Unicode MS" pitchFamily="34" charset="-122"/>
                <a:cs typeface="Arial" pitchFamily="34" charset="0"/>
              </a:rPr>
              <a:t>CONTENTS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Arial Unicode MS" pitchFamily="34" charset="-122"/>
              <a:cs typeface="Arial" pitchFamily="34" charset="0"/>
            </a:endParaRPr>
          </a:p>
        </p:txBody>
      </p:sp>
      <p:sp>
        <p:nvSpPr>
          <p:cNvPr id="6" name="文本占位符 4"/>
          <p:cNvSpPr txBox="1">
            <a:spLocks/>
          </p:cNvSpPr>
          <p:nvPr/>
        </p:nvSpPr>
        <p:spPr>
          <a:xfrm>
            <a:off x="1214414" y="1785932"/>
            <a:ext cx="7014755" cy="23852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>
              <a:spcBef>
                <a:spcPts val="1800"/>
              </a:spcBef>
            </a:pPr>
            <a:r>
              <a:rPr lang="en-US" altLang="zh-CN" sz="26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mergency Challenges 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roadband LTE Trunking Standard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Solution Highlights</a:t>
            </a: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uccessful Deployments</a:t>
            </a:r>
          </a:p>
        </p:txBody>
      </p:sp>
      <p:sp>
        <p:nvSpPr>
          <p:cNvPr id="7" name="Freeform 57"/>
          <p:cNvSpPr>
            <a:spLocks noChangeAspect="1" noEditPoints="1"/>
          </p:cNvSpPr>
          <p:nvPr/>
        </p:nvSpPr>
        <p:spPr bwMode="auto">
          <a:xfrm>
            <a:off x="615129" y="3132111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8" name="Freeform 57"/>
          <p:cNvSpPr>
            <a:spLocks noChangeAspect="1" noEditPoints="1"/>
          </p:cNvSpPr>
          <p:nvPr/>
        </p:nvSpPr>
        <p:spPr bwMode="auto">
          <a:xfrm>
            <a:off x="642910" y="182187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9" name="Freeform 57"/>
          <p:cNvSpPr>
            <a:spLocks noChangeAspect="1" noEditPoints="1"/>
          </p:cNvSpPr>
          <p:nvPr/>
        </p:nvSpPr>
        <p:spPr bwMode="auto">
          <a:xfrm>
            <a:off x="615129" y="248916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10" name="Freeform 57"/>
          <p:cNvSpPr>
            <a:spLocks noChangeAspect="1" noEditPoints="1"/>
          </p:cNvSpPr>
          <p:nvPr/>
        </p:nvSpPr>
        <p:spPr bwMode="auto">
          <a:xfrm>
            <a:off x="611560" y="3715585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:\华为项目\2015\12月\D-201512234-郑俊超\文件\PPT模版\D-201512234-PPT模版-20160106-08.png"/>
          <p:cNvPicPr>
            <a:picLocks noChangeAspect="1" noChangeArrowheads="1"/>
          </p:cNvPicPr>
          <p:nvPr/>
        </p:nvPicPr>
        <p:blipFill>
          <a:blip r:embed="rId2" cstate="print"/>
          <a:srcRect l="11744" t="20594" r="6040" b="22770"/>
          <a:stretch>
            <a:fillRect/>
          </a:stretch>
        </p:blipFill>
        <p:spPr bwMode="auto">
          <a:xfrm>
            <a:off x="285720" y="285734"/>
            <a:ext cx="3500462" cy="78581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35ee038a-3e4c-417d-b313-a9e3c465796f"/>
          <p:cNvSpPr/>
          <p:nvPr/>
        </p:nvSpPr>
        <p:spPr bwMode="auto">
          <a:xfrm>
            <a:off x="6781799" y="1266824"/>
            <a:ext cx="2047875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9" name="35ee038a-3e4c-417d-b313-a9e3c465796f"/>
          <p:cNvSpPr/>
          <p:nvPr/>
        </p:nvSpPr>
        <p:spPr bwMode="auto">
          <a:xfrm>
            <a:off x="2447925" y="1276349"/>
            <a:ext cx="4229100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6" name="35ee038a-3e4c-417d-b313-a9e3c465796f"/>
          <p:cNvSpPr/>
          <p:nvPr/>
        </p:nvSpPr>
        <p:spPr bwMode="auto">
          <a:xfrm>
            <a:off x="295275" y="1238249"/>
            <a:ext cx="2066926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AutoShape 44"/>
          <p:cNvSpPr>
            <a:spLocks noChangeArrowheads="1"/>
          </p:cNvSpPr>
          <p:nvPr/>
        </p:nvSpPr>
        <p:spPr bwMode="auto">
          <a:xfrm>
            <a:off x="6772275" y="819150"/>
            <a:ext cx="2060575" cy="4826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endParaRPr kumimoji="1" lang="zh-CN" altLang="en-US" sz="1500" b="1" dirty="0">
              <a:gradFill flip="none" rotWithShape="1">
                <a:gsLst>
                  <a:gs pos="49000">
                    <a:srgbClr val="FFFFFF"/>
                  </a:gs>
                  <a:gs pos="100000">
                    <a:srgbClr val="FFFFFF">
                      <a:lumMod val="65000"/>
                    </a:srgbClr>
                  </a:gs>
                </a:gsLst>
                <a:lin ang="5400000" scaled="1"/>
                <a:tileRect/>
              </a:gradFill>
              <a:cs typeface="Arial" pitchFamily="34" charset="0"/>
            </a:endParaRPr>
          </a:p>
        </p:txBody>
      </p:sp>
      <p:sp>
        <p:nvSpPr>
          <p:cNvPr id="17" name="AutoShape 44"/>
          <p:cNvSpPr>
            <a:spLocks noChangeArrowheads="1"/>
          </p:cNvSpPr>
          <p:nvPr/>
        </p:nvSpPr>
        <p:spPr bwMode="auto">
          <a:xfrm>
            <a:off x="301625" y="822325"/>
            <a:ext cx="2058988" cy="461963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endParaRPr kumimoji="1" lang="zh-CN" altLang="en-US" sz="1500" b="1" dirty="0">
              <a:gradFill flip="none" rotWithShape="1">
                <a:gsLst>
                  <a:gs pos="49000">
                    <a:srgbClr val="FFFFFF"/>
                  </a:gs>
                  <a:gs pos="100000">
                    <a:srgbClr val="FFFFFF">
                      <a:lumMod val="65000"/>
                    </a:srgbClr>
                  </a:gs>
                </a:gsLst>
                <a:lin ang="5400000" scaled="1"/>
                <a:tileRect/>
              </a:gradFill>
              <a:cs typeface="Arial" pitchFamily="34" charset="0"/>
            </a:endParaRPr>
          </a:p>
        </p:txBody>
      </p:sp>
      <p:sp>
        <p:nvSpPr>
          <p:cNvPr id="51213" name="矩形 19"/>
          <p:cNvSpPr>
            <a:spLocks noChangeArrowheads="1"/>
          </p:cNvSpPr>
          <p:nvPr/>
        </p:nvSpPr>
        <p:spPr bwMode="auto">
          <a:xfrm>
            <a:off x="307975" y="911225"/>
            <a:ext cx="20208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39738" eaLnBrk="0" hangingPunct="0">
              <a:buSzPct val="60000"/>
            </a:pPr>
            <a:r>
              <a:rPr lang="en-US" altLang="zh-CN" sz="14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Lack of Warning</a:t>
            </a:r>
            <a:endParaRPr lang="zh-CN" altLang="en-US" sz="1400" b="1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1214" name="矩形 21"/>
          <p:cNvSpPr>
            <a:spLocks noChangeArrowheads="1"/>
          </p:cNvSpPr>
          <p:nvPr/>
        </p:nvSpPr>
        <p:spPr bwMode="auto">
          <a:xfrm>
            <a:off x="223838" y="3344863"/>
            <a:ext cx="22113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</a:pPr>
            <a:r>
              <a:rPr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5 Shanghai New Year's Eve stampede</a:t>
            </a:r>
            <a:endParaRPr kumimoji="1" lang="en-US" altLang="zh-CN" sz="1200" b="1" noProof="1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  <a:sym typeface="Wingdings" pitchFamily="2" charset="2"/>
            </a:endParaRPr>
          </a:p>
        </p:txBody>
      </p:sp>
      <p:sp>
        <p:nvSpPr>
          <p:cNvPr id="51215" name="矩形 30"/>
          <p:cNvSpPr>
            <a:spLocks noChangeArrowheads="1"/>
          </p:cNvSpPr>
          <p:nvPr/>
        </p:nvSpPr>
        <p:spPr bwMode="auto">
          <a:xfrm>
            <a:off x="6756400" y="808038"/>
            <a:ext cx="206216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2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Difficulty in Cross-department Collaboration</a:t>
            </a:r>
          </a:p>
        </p:txBody>
      </p:sp>
      <p:sp>
        <p:nvSpPr>
          <p:cNvPr id="51216" name="矩形 32"/>
          <p:cNvSpPr>
            <a:spLocks noChangeArrowheads="1"/>
          </p:cNvSpPr>
          <p:nvPr/>
        </p:nvSpPr>
        <p:spPr bwMode="auto">
          <a:xfrm>
            <a:off x="6731000" y="3344863"/>
            <a:ext cx="2157413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>
            <a:spAutoFit/>
          </a:bodyPr>
          <a:lstStyle/>
          <a:p>
            <a:pPr>
              <a:buClr>
                <a:srgbClr val="CC9900"/>
              </a:buClr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2015.1 Charlie hebdo Attack</a:t>
            </a:r>
            <a:endParaRPr lang="en-US" altLang="en-US" sz="1200" noProof="1">
              <a:solidFill>
                <a:schemeClr val="bg1"/>
              </a:solidFill>
              <a:latin typeface="Arial" pitchFamily="34" charset="0"/>
              <a:cs typeface="Arial" pitchFamily="34" charset="0"/>
              <a:sym typeface="Wingdings" pitchFamily="2" charset="2"/>
            </a:endParaRPr>
          </a:p>
        </p:txBody>
      </p:sp>
      <p:sp>
        <p:nvSpPr>
          <p:cNvPr id="51217" name="矩形 26"/>
          <p:cNvSpPr>
            <a:spLocks noChangeArrowheads="1"/>
          </p:cNvSpPr>
          <p:nvPr/>
        </p:nvSpPr>
        <p:spPr bwMode="auto">
          <a:xfrm>
            <a:off x="4625975" y="3344863"/>
            <a:ext cx="20510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62" tIns="34281" rIns="68562" bIns="34281">
            <a:spAutoFit/>
          </a:bodyPr>
          <a:lstStyle/>
          <a:p>
            <a:pPr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Wingdings" pitchFamily="2" charset="2"/>
              </a:rPr>
              <a:t>2013.11 Fire in Bao’an, Shenzhen</a:t>
            </a:r>
          </a:p>
        </p:txBody>
      </p:sp>
      <p:pic>
        <p:nvPicPr>
          <p:cNvPr id="33809" name="Picture 22"/>
          <p:cNvPicPr>
            <a:picLocks noChangeAspect="1" noChangeArrowheads="1"/>
          </p:cNvPicPr>
          <p:nvPr/>
        </p:nvPicPr>
        <p:blipFill>
          <a:blip r:embed="rId3" cstate="print"/>
          <a:srcRect b="1017"/>
          <a:stretch>
            <a:fillRect/>
          </a:stretch>
        </p:blipFill>
        <p:spPr bwMode="auto">
          <a:xfrm>
            <a:off x="360991" y="1327149"/>
            <a:ext cx="1935642" cy="1854200"/>
          </a:xfrm>
          <a:prstGeom prst="roundRect">
            <a:avLst>
              <a:gd name="adj" fmla="val 4754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图片 24" descr="396-131105143005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635801" y="1327148"/>
            <a:ext cx="1979836" cy="1854201"/>
          </a:xfrm>
          <a:prstGeom prst="roundRect">
            <a:avLst>
              <a:gd name="adj" fmla="val 4754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811" name="Picture 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94209" y="1327149"/>
            <a:ext cx="1998922" cy="1863726"/>
          </a:xfrm>
          <a:prstGeom prst="roundRect">
            <a:avLst>
              <a:gd name="adj" fmla="val 4754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AutoShape 44"/>
          <p:cNvSpPr>
            <a:spLocks noChangeArrowheads="1"/>
          </p:cNvSpPr>
          <p:nvPr/>
        </p:nvSpPr>
        <p:spPr bwMode="auto">
          <a:xfrm>
            <a:off x="2455863" y="822325"/>
            <a:ext cx="4221162" cy="461963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endParaRPr kumimoji="1" lang="zh-CN" altLang="en-US" sz="1500" b="1" dirty="0">
              <a:gradFill flip="none" rotWithShape="1">
                <a:gsLst>
                  <a:gs pos="49000">
                    <a:srgbClr val="FFFFFF"/>
                  </a:gs>
                  <a:gs pos="100000">
                    <a:srgbClr val="FFFFFF">
                      <a:lumMod val="65000"/>
                    </a:srgbClr>
                  </a:gs>
                </a:gsLst>
                <a:lin ang="5400000" scaled="1"/>
                <a:tileRect/>
              </a:gradFill>
              <a:cs typeface="Arial" pitchFamily="34" charset="0"/>
            </a:endParaRPr>
          </a:p>
        </p:txBody>
      </p:sp>
      <p:sp>
        <p:nvSpPr>
          <p:cNvPr id="51222" name="矩形 19"/>
          <p:cNvSpPr>
            <a:spLocks noChangeArrowheads="1"/>
          </p:cNvSpPr>
          <p:nvPr/>
        </p:nvSpPr>
        <p:spPr bwMode="auto">
          <a:xfrm>
            <a:off x="2803525" y="911225"/>
            <a:ext cx="35718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39738" eaLnBrk="0" hangingPunct="0">
              <a:buSzPct val="60000"/>
            </a:pP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low Response</a:t>
            </a:r>
            <a:endParaRPr lang="zh-CN" altLang="en-US" sz="1400" b="1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1223" name="矩形 21"/>
          <p:cNvSpPr>
            <a:spLocks noChangeArrowheads="1"/>
          </p:cNvSpPr>
          <p:nvPr/>
        </p:nvSpPr>
        <p:spPr bwMode="auto">
          <a:xfrm>
            <a:off x="2398713" y="3344863"/>
            <a:ext cx="206851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  <a:buFont typeface="Wingdings" pitchFamily="2" charset="2"/>
              <a:buNone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2014</a:t>
            </a:r>
            <a:r>
              <a:rPr lang="en-US" altLang="en-US" sz="1200" noProof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 </a:t>
            </a: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  <a:sym typeface="Wingdings" pitchFamily="2" charset="2"/>
              </a:rPr>
              <a:t>New Year’s Eve Seoul, South Korea</a:t>
            </a:r>
          </a:p>
        </p:txBody>
      </p:sp>
      <p:pic>
        <p:nvPicPr>
          <p:cNvPr id="35" name="图片 29" descr="20140101115835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06255" y="1327149"/>
            <a:ext cx="1959419" cy="1851172"/>
          </a:xfrm>
          <a:prstGeom prst="roundRect">
            <a:avLst>
              <a:gd name="adj" fmla="val 4754"/>
            </a:avLst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Rectangle 33"/>
          <p:cNvSpPr txBox="1">
            <a:spLocks noChangeArrowheads="1"/>
          </p:cNvSpPr>
          <p:nvPr/>
        </p:nvSpPr>
        <p:spPr>
          <a:xfrm>
            <a:off x="215900" y="317500"/>
            <a:ext cx="8753475" cy="552450"/>
          </a:xfrm>
          <a:prstGeom prst="rect">
            <a:avLst/>
          </a:prstGeom>
        </p:spPr>
        <p:txBody>
          <a:bodyPr/>
          <a:lstStyle/>
          <a:p>
            <a:pPr defTabSz="912813" eaLnBrk="0" hangingPunct="0"/>
            <a:r>
              <a:rPr lang="en-US" altLang="zh-CN" sz="20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he Challenge of Public Safety</a:t>
            </a:r>
            <a:endParaRPr lang="zh-CN" altLang="en-US" sz="2000" b="1" dirty="0">
              <a:solidFill>
                <a:srgbClr val="FFC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35ee038a-3e4c-417d-b313-a9e3c465796f"/>
          <p:cNvSpPr/>
          <p:nvPr/>
        </p:nvSpPr>
        <p:spPr bwMode="auto">
          <a:xfrm>
            <a:off x="4695825" y="1495424"/>
            <a:ext cx="2114550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8" name="35ee038a-3e4c-417d-b313-a9e3c465796f"/>
          <p:cNvSpPr/>
          <p:nvPr/>
        </p:nvSpPr>
        <p:spPr bwMode="auto">
          <a:xfrm>
            <a:off x="6943725" y="1495424"/>
            <a:ext cx="2114550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7" name="35ee038a-3e4c-417d-b313-a9e3c465796f"/>
          <p:cNvSpPr/>
          <p:nvPr/>
        </p:nvSpPr>
        <p:spPr bwMode="auto">
          <a:xfrm>
            <a:off x="2447925" y="1495424"/>
            <a:ext cx="2114550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6" name="35ee038a-3e4c-417d-b313-a9e3c465796f"/>
          <p:cNvSpPr/>
          <p:nvPr/>
        </p:nvSpPr>
        <p:spPr bwMode="auto">
          <a:xfrm>
            <a:off x="209550" y="1495424"/>
            <a:ext cx="2114550" cy="2867025"/>
          </a:xfrm>
          <a:prstGeom prst="roundRect">
            <a:avLst>
              <a:gd name="adj" fmla="val 1569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22466" tIns="11233" rIns="22466" bIns="11233" anchor="ctr" anchorCtr="1"/>
          <a:lstStyle/>
          <a:p>
            <a:pPr defTabSz="782638" eaLnBrk="0" hangingPunct="0">
              <a:buSzPct val="60000"/>
            </a:pPr>
            <a:endParaRPr lang="en-US" altLang="en-US" sz="190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3262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6538" y="1539875"/>
            <a:ext cx="2047875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44"/>
          <p:cNvSpPr>
            <a:spLocks noChangeArrowheads="1"/>
          </p:cNvSpPr>
          <p:nvPr/>
        </p:nvSpPr>
        <p:spPr bwMode="auto">
          <a:xfrm>
            <a:off x="208963" y="1001214"/>
            <a:ext cx="2108935" cy="491378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r>
              <a:rPr kumimoji="1" lang="en-US" altLang="zh-CN" sz="1400" b="1" noProof="1">
                <a:gradFill flip="none" rotWithShape="1">
                  <a:gsLst>
                    <a:gs pos="49000">
                      <a:srgbClr val="FFFFFF"/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5400000" scaled="1"/>
                  <a:tileRect/>
                </a:gradFill>
                <a:latin typeface="Arial" pitchFamily="34" charset="0"/>
                <a:ea typeface="微软雅黑" panose="020B0503020204020204" pitchFamily="34" charset="-122"/>
                <a:cs typeface="Arial" pitchFamily="34" charset="0"/>
                <a:sym typeface="微软雅黑" pitchFamily="34" charset="-122"/>
              </a:rPr>
              <a:t>Ubiquity</a:t>
            </a:r>
          </a:p>
        </p:txBody>
      </p:sp>
      <p:sp>
        <p:nvSpPr>
          <p:cNvPr id="8" name="AutoShape 44"/>
          <p:cNvSpPr>
            <a:spLocks noChangeArrowheads="1"/>
          </p:cNvSpPr>
          <p:nvPr/>
        </p:nvSpPr>
        <p:spPr bwMode="auto">
          <a:xfrm>
            <a:off x="2449299" y="1011231"/>
            <a:ext cx="2126683" cy="484904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r>
              <a:rPr kumimoji="1" lang="en-US" altLang="zh-CN" sz="1400" b="1" noProof="1">
                <a:gradFill flip="none" rotWithShape="1">
                  <a:gsLst>
                    <a:gs pos="49000">
                      <a:srgbClr val="FFFFFF"/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5400000" scaled="1"/>
                  <a:tileRect/>
                </a:gradFill>
                <a:latin typeface="Arial" pitchFamily="34" charset="0"/>
                <a:ea typeface="微软雅黑" panose="020B0503020204020204" pitchFamily="34" charset="-122"/>
                <a:cs typeface="Arial" pitchFamily="34" charset="0"/>
                <a:sym typeface="微软雅黑" pitchFamily="34" charset="-122"/>
              </a:rPr>
              <a:t>Broadband</a:t>
            </a:r>
          </a:p>
        </p:txBody>
      </p:sp>
      <p:sp>
        <p:nvSpPr>
          <p:cNvPr id="9" name="AutoShape 44"/>
          <p:cNvSpPr>
            <a:spLocks noChangeArrowheads="1"/>
          </p:cNvSpPr>
          <p:nvPr/>
        </p:nvSpPr>
        <p:spPr bwMode="auto">
          <a:xfrm>
            <a:off x="6953693" y="1011231"/>
            <a:ext cx="2091292" cy="477699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r>
              <a:rPr kumimoji="1" lang="en-US" altLang="zh-CN" sz="1400" b="1" noProof="1">
                <a:gradFill flip="none" rotWithShape="1">
                  <a:gsLst>
                    <a:gs pos="49000">
                      <a:srgbClr val="FFFFFF"/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5400000" scaled="1"/>
                  <a:tileRect/>
                </a:gradFill>
                <a:latin typeface="Arial" pitchFamily="34" charset="0"/>
                <a:ea typeface="微软雅黑" panose="020B0503020204020204" pitchFamily="34" charset="-122"/>
                <a:cs typeface="Arial" pitchFamily="34" charset="0"/>
                <a:sym typeface="微软雅黑" pitchFamily="34" charset="-122"/>
              </a:rPr>
              <a:t>Interconnected</a:t>
            </a:r>
          </a:p>
        </p:txBody>
      </p:sp>
      <p:sp>
        <p:nvSpPr>
          <p:cNvPr id="10" name="AutoShape 44"/>
          <p:cNvSpPr>
            <a:spLocks noChangeArrowheads="1"/>
          </p:cNvSpPr>
          <p:nvPr/>
        </p:nvSpPr>
        <p:spPr bwMode="auto">
          <a:xfrm>
            <a:off x="6407150" y="2944813"/>
            <a:ext cx="2657475" cy="349250"/>
          </a:xfrm>
          <a:prstGeom prst="round2SameRect">
            <a:avLst>
              <a:gd name="adj1" fmla="val 0"/>
              <a:gd name="adj2" fmla="val 0"/>
            </a:avLst>
          </a:prstGeom>
          <a:noFill/>
          <a:ln>
            <a:noFill/>
          </a:ln>
          <a:effectLst>
            <a:outerShdw blurRad="63500" sx="102000" sy="102000" algn="ctr" rotWithShape="0">
              <a:schemeClr val="accent3">
                <a:lumMod val="50000"/>
                <a:alpha val="40000"/>
              </a:schemeClr>
            </a:outerShdw>
          </a:effectLst>
          <a:extLst/>
        </p:spPr>
        <p:txBody>
          <a:bodyPr/>
          <a:lstStyle/>
          <a:p>
            <a:pPr algn="ctr">
              <a:buClr>
                <a:srgbClr val="CC9900"/>
              </a:buClr>
              <a:defRPr/>
            </a:pPr>
            <a:endParaRPr lang="en-US" altLang="zh-CN" sz="1400" noProof="1">
              <a:solidFill>
                <a:schemeClr val="bg1"/>
              </a:solidFill>
              <a:latin typeface="Arial" pitchFamily="34" charset="0"/>
              <a:ea typeface="宋体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53267" name="文本框 5"/>
          <p:cNvSpPr txBox="1">
            <a:spLocks noChangeArrowheads="1"/>
          </p:cNvSpPr>
          <p:nvPr/>
        </p:nvSpPr>
        <p:spPr bwMode="auto">
          <a:xfrm>
            <a:off x="239713" y="212725"/>
            <a:ext cx="8297862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5452" tIns="37726" rIns="75452" bIns="37726">
            <a:spAutoFit/>
          </a:bodyPr>
          <a:lstStyle/>
          <a:p>
            <a:pPr marL="0" lvl="1" defTabSz="912813" eaLnBrk="0" hangingPunct="0">
              <a:lnSpc>
                <a:spcPct val="120000"/>
              </a:lnSpc>
              <a:buClr>
                <a:srgbClr val="5F5F5F"/>
              </a:buClr>
              <a:buSzPct val="80000"/>
            </a:pPr>
            <a:r>
              <a:rPr lang="en-US" altLang="zh-CN" sz="2000" b="1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sym typeface="Lucida Grande"/>
              </a:rPr>
              <a:t>Disaster Response Requires </a:t>
            </a:r>
            <a:r>
              <a:rPr lang="en-US" altLang="zh-CN" sz="20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sym typeface="Lucida Grande"/>
              </a:rPr>
              <a:t>a Better ICT Network</a:t>
            </a:r>
            <a:endParaRPr lang="zh-CN" altLang="en-US" sz="2000" b="1" dirty="0">
              <a:solidFill>
                <a:srgbClr val="FFC000"/>
              </a:solidFill>
              <a:latin typeface="Arial" pitchFamily="34" charset="0"/>
              <a:ea typeface="微软雅黑" pitchFamily="34" charset="-122"/>
              <a:sym typeface="Lucida Grande"/>
            </a:endParaRPr>
          </a:p>
        </p:txBody>
      </p:sp>
      <p:sp>
        <p:nvSpPr>
          <p:cNvPr id="12" name="AutoShape 44"/>
          <p:cNvSpPr>
            <a:spLocks noChangeArrowheads="1"/>
          </p:cNvSpPr>
          <p:nvPr/>
        </p:nvSpPr>
        <p:spPr bwMode="auto">
          <a:xfrm>
            <a:off x="4688158" y="1014976"/>
            <a:ext cx="2136386" cy="484904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rgbClr val="C00000">
                  <a:alpha val="50000"/>
                </a:srgbClr>
              </a:gs>
              <a:gs pos="50000">
                <a:srgbClr val="C00000"/>
              </a:gs>
              <a:gs pos="100000">
                <a:srgbClr val="C00000">
                  <a:alpha val="50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115172" tIns="57586" rIns="115172" bIns="57586" anchor="ctr"/>
          <a:lstStyle/>
          <a:p>
            <a:pPr algn="ctr" defTabSz="822895">
              <a:lnSpc>
                <a:spcPts val="1999"/>
              </a:lnSpc>
              <a:buClr>
                <a:srgbClr val="C00000"/>
              </a:buClr>
              <a:buSzPct val="60000"/>
              <a:defRPr/>
            </a:pPr>
            <a:r>
              <a:rPr kumimoji="1" lang="en-US" altLang="zh-CN" sz="1400" b="1" noProof="1">
                <a:gradFill flip="none" rotWithShape="1">
                  <a:gsLst>
                    <a:gs pos="49000">
                      <a:srgbClr val="FFFFFF"/>
                    </a:gs>
                    <a:gs pos="100000">
                      <a:srgbClr val="FFFFFF">
                        <a:lumMod val="65000"/>
                      </a:srgbClr>
                    </a:gs>
                  </a:gsLst>
                  <a:lin ang="5400000" scaled="1"/>
                  <a:tileRect/>
                </a:gradFill>
                <a:latin typeface="Arial" pitchFamily="34" charset="0"/>
                <a:ea typeface="微软雅黑" panose="020B0503020204020204" pitchFamily="34" charset="-122"/>
                <a:cs typeface="Arial" pitchFamily="34" charset="0"/>
                <a:sym typeface="微软雅黑" pitchFamily="34" charset="-122"/>
              </a:rPr>
              <a:t>Private </a:t>
            </a:r>
          </a:p>
        </p:txBody>
      </p:sp>
      <p:sp>
        <p:nvSpPr>
          <p:cNvPr id="13" name="矩形 12"/>
          <p:cNvSpPr/>
          <p:nvPr>
            <p:custDataLst>
              <p:tags r:id="rId1"/>
            </p:custDataLst>
          </p:nvPr>
        </p:nvSpPr>
        <p:spPr>
          <a:xfrm>
            <a:off x="4762500" y="3054350"/>
            <a:ext cx="1668463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High Security</a:t>
            </a:r>
          </a:p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High Reliablity</a:t>
            </a:r>
          </a:p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>
                <a:solidFill>
                  <a:schemeClr val="bg1"/>
                </a:solidFill>
                <a:latin typeface="Arial" pitchFamily="34" charset="0"/>
              </a:rPr>
              <a:t>High Resilience</a:t>
            </a:r>
            <a:endParaRPr lang="en-US" altLang="zh-CN" sz="1200" noProof="1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  <a:sym typeface="微软雅黑" pitchFamily="34" charset="-122"/>
            </a:endParaRPr>
          </a:p>
        </p:txBody>
      </p:sp>
      <p:sp>
        <p:nvSpPr>
          <p:cNvPr id="14" name="矩形 13"/>
          <p:cNvSpPr/>
          <p:nvPr>
            <p:custDataLst>
              <p:tags r:id="rId2"/>
            </p:custDataLst>
          </p:nvPr>
        </p:nvSpPr>
        <p:spPr>
          <a:xfrm>
            <a:off x="2479675" y="3054350"/>
            <a:ext cx="1546225" cy="800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  <a:defRPr/>
            </a:pPr>
            <a:r>
              <a:rPr lang="en-US" altLang="zh-CN" sz="1200" kern="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Voice</a:t>
            </a:r>
          </a:p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  <a:defRPr/>
            </a:pPr>
            <a:r>
              <a:rPr lang="en-US" altLang="zh-CN" sz="1200" kern="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Video</a:t>
            </a:r>
          </a:p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  <a:defRPr/>
            </a:pPr>
            <a:r>
              <a:rPr lang="en-US" altLang="zh-CN" sz="1200" kern="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Data</a:t>
            </a:r>
          </a:p>
        </p:txBody>
      </p:sp>
      <p:sp>
        <p:nvSpPr>
          <p:cNvPr id="15" name="矩形 14"/>
          <p:cNvSpPr/>
          <p:nvPr/>
        </p:nvSpPr>
        <p:spPr>
          <a:xfrm>
            <a:off x="250825" y="3054350"/>
            <a:ext cx="1822450" cy="744538"/>
          </a:xfrm>
          <a:prstGeom prst="rect">
            <a:avLst/>
          </a:prstGeom>
        </p:spPr>
        <p:txBody>
          <a:bodyPr>
            <a:spAutoFit/>
          </a:bodyPr>
          <a:lstStyle/>
          <a:p>
            <a:pPr marL="85725" indent="-85725" defTabSz="442913" fontAlgn="ctr">
              <a:lnSpc>
                <a:spcPct val="9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Aerial </a:t>
            </a:r>
            <a:r>
              <a:rPr lang="en-US" altLang="zh-CN" sz="1200" noProof="1" smtClean="0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&amp; Ground</a:t>
            </a:r>
            <a:endParaRPr lang="en-US" altLang="zh-CN" sz="1200" noProof="1">
              <a:solidFill>
                <a:schemeClr val="bg1"/>
              </a:solidFill>
              <a:latin typeface="Arial" pitchFamily="34" charset="0"/>
              <a:sym typeface="微软雅黑" pitchFamily="34" charset="-122"/>
            </a:endParaRPr>
          </a:p>
          <a:p>
            <a:pPr marL="85725" indent="-85725" defTabSz="442913" fontAlgn="ctr">
              <a:lnSpc>
                <a:spcPct val="90000"/>
              </a:lnSpc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Fixed &amp; Mobile</a:t>
            </a:r>
          </a:p>
          <a:p>
            <a:pPr marL="85725" indent="-85725" defTabSz="442913">
              <a:lnSpc>
                <a:spcPct val="90000"/>
              </a:lnSpc>
              <a:spcAft>
                <a:spcPct val="35000"/>
              </a:spcAft>
              <a:buClr>
                <a:srgbClr val="C00000"/>
              </a:buClr>
              <a:buFont typeface="Arial" pitchFamily="34" charset="0"/>
              <a:buChar char="•"/>
            </a:pPr>
            <a:endParaRPr lang="zh-CN" altLang="en-US" sz="12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6" name="AutoShape 44"/>
          <p:cNvSpPr>
            <a:spLocks noChangeArrowheads="1"/>
          </p:cNvSpPr>
          <p:nvPr/>
        </p:nvSpPr>
        <p:spPr bwMode="auto">
          <a:xfrm>
            <a:off x="836613" y="2143125"/>
            <a:ext cx="1106487" cy="182563"/>
          </a:xfrm>
          <a:prstGeom prst="round2SameRect">
            <a:avLst>
              <a:gd name="adj1" fmla="val 0"/>
              <a:gd name="adj2" fmla="val 0"/>
            </a:avLst>
          </a:prstGeom>
          <a:noFill/>
          <a:ln>
            <a:noFill/>
          </a:ln>
          <a:effectLst>
            <a:outerShdw blurRad="63500" sx="102000" sy="102000" algn="ctr" rotWithShape="0">
              <a:schemeClr val="accent3">
                <a:lumMod val="50000"/>
                <a:alpha val="40000"/>
              </a:schemeClr>
            </a:outerShdw>
          </a:effectLst>
          <a:extLst/>
        </p:spPr>
        <p:txBody>
          <a:bodyPr/>
          <a:lstStyle/>
          <a:p>
            <a:pPr algn="ctr">
              <a:buClr>
                <a:srgbClr val="CC9900"/>
              </a:buClr>
              <a:defRPr/>
            </a:pPr>
            <a:endParaRPr lang="en-US" altLang="zh-CN" sz="1400" noProof="1">
              <a:solidFill>
                <a:schemeClr val="bg1"/>
              </a:solidFill>
              <a:latin typeface="Arial" pitchFamily="34" charset="0"/>
              <a:ea typeface="宋体" charset="-122"/>
              <a:cs typeface="Arial" pitchFamily="34" charset="0"/>
              <a:sym typeface="微软雅黑" pitchFamily="34" charset="-122"/>
            </a:endParaRPr>
          </a:p>
        </p:txBody>
      </p:sp>
      <p:pic>
        <p:nvPicPr>
          <p:cNvPr id="53273" name="Picture 10" descr="http://e.hiphotos.bdimg.com/album/w%3D2048/sign=656422aa54fbb2fb342b5f127b7221a4/37d3d539b6003af3060df697342ac65c1138b69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9713" y="1563688"/>
            <a:ext cx="2060575" cy="137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74" name="Picture 10" descr="http://ztu68.com/uploads/Png/c101215/12923Y62IZ-13E8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90550" y="2154238"/>
            <a:ext cx="165100" cy="204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75" name="图片 193" descr="警察（卡通）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2113" y="1900238"/>
            <a:ext cx="17145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76" name="Picture 14" descr="C:\Users\z043832\AppData\Local\Microsoft\Windows\Temporary Internet Files\Content.Outlook\RMGFGWVL\helicoptermedical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7563" y="2224088"/>
            <a:ext cx="514350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组合 60"/>
          <p:cNvGrpSpPr>
            <a:grpSpLocks/>
          </p:cNvGrpSpPr>
          <p:nvPr/>
        </p:nvGrpSpPr>
        <p:grpSpPr bwMode="auto">
          <a:xfrm>
            <a:off x="2466975" y="1584325"/>
            <a:ext cx="2068513" cy="1392238"/>
            <a:chOff x="2006193" y="2551815"/>
            <a:chExt cx="2916668" cy="1754371"/>
          </a:xfrm>
        </p:grpSpPr>
        <p:pic>
          <p:nvPicPr>
            <p:cNvPr id="22" name="图片 223" descr="tri_crop.jpg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006193" y="2554424"/>
              <a:ext cx="1486578" cy="8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84" name="Picture 17"/>
            <p:cNvPicPr>
              <a:picLocks noChangeAspect="1" noChangeArrowheads="1"/>
            </p:cNvPicPr>
            <p:nvPr/>
          </p:nvPicPr>
          <p:blipFill>
            <a:blip r:embed="rId11" cstate="print"/>
            <a:srcRect l="16000" r="11317"/>
            <a:stretch>
              <a:fillRect/>
            </a:stretch>
          </p:blipFill>
          <p:spPr bwMode="auto">
            <a:xfrm>
              <a:off x="3487466" y="2551815"/>
              <a:ext cx="1435395" cy="17543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3285" name="Picture 18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009222" y="3444949"/>
              <a:ext cx="1478257" cy="853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53278" name="Picture 19"/>
          <p:cNvPicPr>
            <a:picLocks noChangeAspect="1" noChangeArrowheads="1"/>
          </p:cNvPicPr>
          <p:nvPr/>
        </p:nvPicPr>
        <p:blipFill>
          <a:blip r:embed="rId13" cstate="print"/>
          <a:srcRect t="3191" b="7559"/>
          <a:stretch>
            <a:fillRect/>
          </a:stretch>
        </p:blipFill>
        <p:spPr bwMode="auto">
          <a:xfrm>
            <a:off x="6961188" y="1563688"/>
            <a:ext cx="2044700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矩形 25"/>
          <p:cNvSpPr/>
          <p:nvPr/>
        </p:nvSpPr>
        <p:spPr bwMode="auto">
          <a:xfrm>
            <a:off x="4729163" y="1563688"/>
            <a:ext cx="2063750" cy="140335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>
              <a:buClr>
                <a:srgbClr val="CC9900"/>
              </a:buClr>
              <a:buFont typeface="Wingdings" pitchFamily="2" charset="2"/>
              <a:buChar char="n"/>
            </a:pPr>
            <a:endParaRPr lang="zh-CN" altLang="en-US">
              <a:latin typeface="Arial" pitchFamily="34" charset="0"/>
            </a:endParaRPr>
          </a:p>
        </p:txBody>
      </p:sp>
      <p:grpSp>
        <p:nvGrpSpPr>
          <p:cNvPr id="3" name="组合 245"/>
          <p:cNvGrpSpPr/>
          <p:nvPr/>
        </p:nvGrpSpPr>
        <p:grpSpPr>
          <a:xfrm>
            <a:off x="5319576" y="1642688"/>
            <a:ext cx="765175" cy="1123950"/>
            <a:chOff x="15730538" y="3268663"/>
            <a:chExt cx="765175" cy="112395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28" name="Freeform 57"/>
            <p:cNvSpPr>
              <a:spLocks/>
            </p:cNvSpPr>
            <p:nvPr/>
          </p:nvSpPr>
          <p:spPr bwMode="auto">
            <a:xfrm>
              <a:off x="15786100" y="3268663"/>
              <a:ext cx="252413" cy="261938"/>
            </a:xfrm>
            <a:custGeom>
              <a:avLst/>
              <a:gdLst/>
              <a:ahLst/>
              <a:cxnLst>
                <a:cxn ang="0">
                  <a:pos x="74" y="105"/>
                </a:cxn>
                <a:cxn ang="0">
                  <a:pos x="42" y="152"/>
                </a:cxn>
                <a:cxn ang="0">
                  <a:pos x="19" y="202"/>
                </a:cxn>
                <a:cxn ang="0">
                  <a:pos x="4" y="256"/>
                </a:cxn>
                <a:cxn ang="0">
                  <a:pos x="0" y="312"/>
                </a:cxn>
                <a:cxn ang="0">
                  <a:pos x="2" y="319"/>
                </a:cxn>
                <a:cxn ang="0">
                  <a:pos x="10" y="327"/>
                </a:cxn>
                <a:cxn ang="0">
                  <a:pos x="57" y="327"/>
                </a:cxn>
                <a:cxn ang="0">
                  <a:pos x="64" y="326"/>
                </a:cxn>
                <a:cxn ang="0">
                  <a:pos x="69" y="322"/>
                </a:cxn>
                <a:cxn ang="0">
                  <a:pos x="73" y="312"/>
                </a:cxn>
                <a:cxn ang="0">
                  <a:pos x="74" y="290"/>
                </a:cxn>
                <a:cxn ang="0">
                  <a:pos x="81" y="248"/>
                </a:cxn>
                <a:cxn ang="0">
                  <a:pos x="95" y="208"/>
                </a:cxn>
                <a:cxn ang="0">
                  <a:pos x="117" y="170"/>
                </a:cxn>
                <a:cxn ang="0">
                  <a:pos x="130" y="154"/>
                </a:cxn>
                <a:cxn ang="0">
                  <a:pos x="140" y="143"/>
                </a:cxn>
                <a:cxn ang="0">
                  <a:pos x="174" y="113"/>
                </a:cxn>
                <a:cxn ang="0">
                  <a:pos x="214" y="91"/>
                </a:cxn>
                <a:cxn ang="0">
                  <a:pos x="258" y="78"/>
                </a:cxn>
                <a:cxn ang="0">
                  <a:pos x="304" y="73"/>
                </a:cxn>
                <a:cxn ang="0">
                  <a:pos x="311" y="73"/>
                </a:cxn>
                <a:cxn ang="0">
                  <a:pos x="316" y="68"/>
                </a:cxn>
                <a:cxn ang="0">
                  <a:pos x="319" y="57"/>
                </a:cxn>
                <a:cxn ang="0">
                  <a:pos x="319" y="17"/>
                </a:cxn>
                <a:cxn ang="0">
                  <a:pos x="314" y="5"/>
                </a:cxn>
                <a:cxn ang="0">
                  <a:pos x="309" y="2"/>
                </a:cxn>
                <a:cxn ang="0">
                  <a:pos x="304" y="0"/>
                </a:cxn>
                <a:cxn ang="0">
                  <a:pos x="243" y="7"/>
                </a:cxn>
                <a:cxn ang="0">
                  <a:pos x="186" y="25"/>
                </a:cxn>
                <a:cxn ang="0">
                  <a:pos x="133" y="54"/>
                </a:cxn>
                <a:cxn ang="0">
                  <a:pos x="88" y="91"/>
                </a:cxn>
                <a:cxn ang="0">
                  <a:pos x="74" y="105"/>
                </a:cxn>
              </a:cxnLst>
              <a:rect l="0" t="0" r="r" b="b"/>
              <a:pathLst>
                <a:path w="319" h="329">
                  <a:moveTo>
                    <a:pt x="74" y="105"/>
                  </a:moveTo>
                  <a:lnTo>
                    <a:pt x="74" y="105"/>
                  </a:lnTo>
                  <a:lnTo>
                    <a:pt x="57" y="128"/>
                  </a:lnTo>
                  <a:lnTo>
                    <a:pt x="42" y="152"/>
                  </a:lnTo>
                  <a:lnTo>
                    <a:pt x="29" y="175"/>
                  </a:lnTo>
                  <a:lnTo>
                    <a:pt x="19" y="202"/>
                  </a:lnTo>
                  <a:lnTo>
                    <a:pt x="10" y="229"/>
                  </a:lnTo>
                  <a:lnTo>
                    <a:pt x="4" y="256"/>
                  </a:lnTo>
                  <a:lnTo>
                    <a:pt x="2" y="285"/>
                  </a:lnTo>
                  <a:lnTo>
                    <a:pt x="0" y="312"/>
                  </a:lnTo>
                  <a:lnTo>
                    <a:pt x="0" y="312"/>
                  </a:lnTo>
                  <a:lnTo>
                    <a:pt x="2" y="319"/>
                  </a:lnTo>
                  <a:lnTo>
                    <a:pt x="5" y="324"/>
                  </a:lnTo>
                  <a:lnTo>
                    <a:pt x="10" y="327"/>
                  </a:lnTo>
                  <a:lnTo>
                    <a:pt x="17" y="329"/>
                  </a:lnTo>
                  <a:lnTo>
                    <a:pt x="57" y="327"/>
                  </a:lnTo>
                  <a:lnTo>
                    <a:pt x="57" y="327"/>
                  </a:lnTo>
                  <a:lnTo>
                    <a:pt x="64" y="326"/>
                  </a:lnTo>
                  <a:lnTo>
                    <a:pt x="69" y="322"/>
                  </a:lnTo>
                  <a:lnTo>
                    <a:pt x="69" y="322"/>
                  </a:lnTo>
                  <a:lnTo>
                    <a:pt x="73" y="317"/>
                  </a:lnTo>
                  <a:lnTo>
                    <a:pt x="73" y="312"/>
                  </a:lnTo>
                  <a:lnTo>
                    <a:pt x="73" y="312"/>
                  </a:lnTo>
                  <a:lnTo>
                    <a:pt x="74" y="290"/>
                  </a:lnTo>
                  <a:lnTo>
                    <a:pt x="76" y="268"/>
                  </a:lnTo>
                  <a:lnTo>
                    <a:pt x="81" y="248"/>
                  </a:lnTo>
                  <a:lnTo>
                    <a:pt x="86" y="226"/>
                  </a:lnTo>
                  <a:lnTo>
                    <a:pt x="95" y="208"/>
                  </a:lnTo>
                  <a:lnTo>
                    <a:pt x="105" y="189"/>
                  </a:lnTo>
                  <a:lnTo>
                    <a:pt x="117" y="170"/>
                  </a:lnTo>
                  <a:lnTo>
                    <a:pt x="130" y="154"/>
                  </a:lnTo>
                  <a:lnTo>
                    <a:pt x="130" y="154"/>
                  </a:lnTo>
                  <a:lnTo>
                    <a:pt x="140" y="143"/>
                  </a:lnTo>
                  <a:lnTo>
                    <a:pt x="140" y="143"/>
                  </a:lnTo>
                  <a:lnTo>
                    <a:pt x="157" y="127"/>
                  </a:lnTo>
                  <a:lnTo>
                    <a:pt x="174" y="113"/>
                  </a:lnTo>
                  <a:lnTo>
                    <a:pt x="194" y="101"/>
                  </a:lnTo>
                  <a:lnTo>
                    <a:pt x="214" y="91"/>
                  </a:lnTo>
                  <a:lnTo>
                    <a:pt x="236" y="84"/>
                  </a:lnTo>
                  <a:lnTo>
                    <a:pt x="258" y="78"/>
                  </a:lnTo>
                  <a:lnTo>
                    <a:pt x="280" y="74"/>
                  </a:lnTo>
                  <a:lnTo>
                    <a:pt x="304" y="73"/>
                  </a:lnTo>
                  <a:lnTo>
                    <a:pt x="304" y="73"/>
                  </a:lnTo>
                  <a:lnTo>
                    <a:pt x="311" y="73"/>
                  </a:lnTo>
                  <a:lnTo>
                    <a:pt x="316" y="68"/>
                  </a:lnTo>
                  <a:lnTo>
                    <a:pt x="316" y="68"/>
                  </a:lnTo>
                  <a:lnTo>
                    <a:pt x="317" y="62"/>
                  </a:lnTo>
                  <a:lnTo>
                    <a:pt x="319" y="57"/>
                  </a:lnTo>
                  <a:lnTo>
                    <a:pt x="319" y="17"/>
                  </a:lnTo>
                  <a:lnTo>
                    <a:pt x="319" y="17"/>
                  </a:lnTo>
                  <a:lnTo>
                    <a:pt x="317" y="10"/>
                  </a:lnTo>
                  <a:lnTo>
                    <a:pt x="314" y="5"/>
                  </a:lnTo>
                  <a:lnTo>
                    <a:pt x="314" y="5"/>
                  </a:lnTo>
                  <a:lnTo>
                    <a:pt x="309" y="2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273" y="2"/>
                  </a:lnTo>
                  <a:lnTo>
                    <a:pt x="243" y="7"/>
                  </a:lnTo>
                  <a:lnTo>
                    <a:pt x="214" y="15"/>
                  </a:lnTo>
                  <a:lnTo>
                    <a:pt x="186" y="25"/>
                  </a:lnTo>
                  <a:lnTo>
                    <a:pt x="159" y="37"/>
                  </a:lnTo>
                  <a:lnTo>
                    <a:pt x="133" y="54"/>
                  </a:lnTo>
                  <a:lnTo>
                    <a:pt x="110" y="71"/>
                  </a:lnTo>
                  <a:lnTo>
                    <a:pt x="88" y="91"/>
                  </a:lnTo>
                  <a:lnTo>
                    <a:pt x="88" y="91"/>
                  </a:lnTo>
                  <a:lnTo>
                    <a:pt x="74" y="105"/>
                  </a:lnTo>
                  <a:lnTo>
                    <a:pt x="74" y="10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29" name="Freeform 58"/>
            <p:cNvSpPr>
              <a:spLocks/>
            </p:cNvSpPr>
            <p:nvPr/>
          </p:nvSpPr>
          <p:spPr bwMode="auto">
            <a:xfrm>
              <a:off x="15886113" y="3368675"/>
              <a:ext cx="144463" cy="15081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7" y="50"/>
                </a:cxn>
                <a:cxn ang="0">
                  <a:pos x="40" y="57"/>
                </a:cxn>
                <a:cxn ang="0">
                  <a:pos x="40" y="57"/>
                </a:cxn>
                <a:cxn ang="0">
                  <a:pos x="30" y="69"/>
                </a:cxn>
                <a:cxn ang="0">
                  <a:pos x="22" y="82"/>
                </a:cxn>
                <a:cxn ang="0">
                  <a:pos x="15" y="96"/>
                </a:cxn>
                <a:cxn ang="0">
                  <a:pos x="8" y="111"/>
                </a:cxn>
                <a:cxn ang="0">
                  <a:pos x="5" y="126"/>
                </a:cxn>
                <a:cxn ang="0">
                  <a:pos x="1" y="141"/>
                </a:cxn>
                <a:cxn ang="0">
                  <a:pos x="0" y="156"/>
                </a:cxn>
                <a:cxn ang="0">
                  <a:pos x="0" y="173"/>
                </a:cxn>
                <a:cxn ang="0">
                  <a:pos x="0" y="173"/>
                </a:cxn>
                <a:cxn ang="0">
                  <a:pos x="0" y="178"/>
                </a:cxn>
                <a:cxn ang="0">
                  <a:pos x="3" y="183"/>
                </a:cxn>
                <a:cxn ang="0">
                  <a:pos x="8" y="187"/>
                </a:cxn>
                <a:cxn ang="0">
                  <a:pos x="15" y="189"/>
                </a:cxn>
                <a:cxn ang="0">
                  <a:pos x="57" y="187"/>
                </a:cxn>
                <a:cxn ang="0">
                  <a:pos x="57" y="187"/>
                </a:cxn>
                <a:cxn ang="0">
                  <a:pos x="62" y="185"/>
                </a:cxn>
                <a:cxn ang="0">
                  <a:pos x="67" y="182"/>
                </a:cxn>
                <a:cxn ang="0">
                  <a:pos x="67" y="182"/>
                </a:cxn>
                <a:cxn ang="0">
                  <a:pos x="71" y="177"/>
                </a:cxn>
                <a:cxn ang="0">
                  <a:pos x="72" y="170"/>
                </a:cxn>
                <a:cxn ang="0">
                  <a:pos x="72" y="170"/>
                </a:cxn>
                <a:cxn ang="0">
                  <a:pos x="72" y="153"/>
                </a:cxn>
                <a:cxn ang="0">
                  <a:pos x="77" y="136"/>
                </a:cxn>
                <a:cxn ang="0">
                  <a:pos x="86" y="119"/>
                </a:cxn>
                <a:cxn ang="0">
                  <a:pos x="96" y="104"/>
                </a:cxn>
                <a:cxn ang="0">
                  <a:pos x="96" y="104"/>
                </a:cxn>
                <a:cxn ang="0">
                  <a:pos x="99" y="101"/>
                </a:cxn>
                <a:cxn ang="0">
                  <a:pos x="99" y="101"/>
                </a:cxn>
                <a:cxn ang="0">
                  <a:pos x="113" y="89"/>
                </a:cxn>
                <a:cxn ang="0">
                  <a:pos x="130" y="81"/>
                </a:cxn>
                <a:cxn ang="0">
                  <a:pos x="146" y="74"/>
                </a:cxn>
                <a:cxn ang="0">
                  <a:pos x="165" y="72"/>
                </a:cxn>
                <a:cxn ang="0">
                  <a:pos x="165" y="72"/>
                </a:cxn>
                <a:cxn ang="0">
                  <a:pos x="172" y="70"/>
                </a:cxn>
                <a:cxn ang="0">
                  <a:pos x="177" y="67"/>
                </a:cxn>
                <a:cxn ang="0">
                  <a:pos x="177" y="67"/>
                </a:cxn>
                <a:cxn ang="0">
                  <a:pos x="180" y="62"/>
                </a:cxn>
                <a:cxn ang="0">
                  <a:pos x="182" y="55"/>
                </a:cxn>
                <a:cxn ang="0">
                  <a:pos x="182" y="15"/>
                </a:cxn>
                <a:cxn ang="0">
                  <a:pos x="182" y="15"/>
                </a:cxn>
                <a:cxn ang="0">
                  <a:pos x="180" y="8"/>
                </a:cxn>
                <a:cxn ang="0">
                  <a:pos x="177" y="3"/>
                </a:cxn>
                <a:cxn ang="0">
                  <a:pos x="177" y="3"/>
                </a:cxn>
                <a:cxn ang="0">
                  <a:pos x="172" y="0"/>
                </a:cxn>
                <a:cxn ang="0">
                  <a:pos x="165" y="0"/>
                </a:cxn>
                <a:cxn ang="0">
                  <a:pos x="165" y="0"/>
                </a:cxn>
                <a:cxn ang="0">
                  <a:pos x="148" y="0"/>
                </a:cxn>
                <a:cxn ang="0">
                  <a:pos x="133" y="3"/>
                </a:cxn>
                <a:cxn ang="0">
                  <a:pos x="116" y="6"/>
                </a:cxn>
                <a:cxn ang="0">
                  <a:pos x="101" y="13"/>
                </a:cxn>
                <a:cxn ang="0">
                  <a:pos x="87" y="20"/>
                </a:cxn>
                <a:cxn ang="0">
                  <a:pos x="72" y="28"/>
                </a:cxn>
                <a:cxn ang="0">
                  <a:pos x="59" y="38"/>
                </a:cxn>
                <a:cxn ang="0">
                  <a:pos x="47" y="50"/>
                </a:cxn>
                <a:cxn ang="0">
                  <a:pos x="47" y="50"/>
                </a:cxn>
              </a:cxnLst>
              <a:rect l="0" t="0" r="r" b="b"/>
              <a:pathLst>
                <a:path w="182" h="189">
                  <a:moveTo>
                    <a:pt x="47" y="50"/>
                  </a:moveTo>
                  <a:lnTo>
                    <a:pt x="47" y="50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0" y="69"/>
                  </a:lnTo>
                  <a:lnTo>
                    <a:pt x="22" y="82"/>
                  </a:lnTo>
                  <a:lnTo>
                    <a:pt x="15" y="96"/>
                  </a:lnTo>
                  <a:lnTo>
                    <a:pt x="8" y="111"/>
                  </a:lnTo>
                  <a:lnTo>
                    <a:pt x="5" y="126"/>
                  </a:lnTo>
                  <a:lnTo>
                    <a:pt x="1" y="141"/>
                  </a:lnTo>
                  <a:lnTo>
                    <a:pt x="0" y="156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8"/>
                  </a:lnTo>
                  <a:lnTo>
                    <a:pt x="3" y="183"/>
                  </a:lnTo>
                  <a:lnTo>
                    <a:pt x="8" y="187"/>
                  </a:lnTo>
                  <a:lnTo>
                    <a:pt x="15" y="189"/>
                  </a:lnTo>
                  <a:lnTo>
                    <a:pt x="57" y="187"/>
                  </a:lnTo>
                  <a:lnTo>
                    <a:pt x="57" y="187"/>
                  </a:lnTo>
                  <a:lnTo>
                    <a:pt x="62" y="185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71" y="177"/>
                  </a:lnTo>
                  <a:lnTo>
                    <a:pt x="72" y="170"/>
                  </a:lnTo>
                  <a:lnTo>
                    <a:pt x="72" y="170"/>
                  </a:lnTo>
                  <a:lnTo>
                    <a:pt x="72" y="153"/>
                  </a:lnTo>
                  <a:lnTo>
                    <a:pt x="77" y="136"/>
                  </a:lnTo>
                  <a:lnTo>
                    <a:pt x="86" y="119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113" y="89"/>
                  </a:lnTo>
                  <a:lnTo>
                    <a:pt x="130" y="81"/>
                  </a:lnTo>
                  <a:lnTo>
                    <a:pt x="146" y="74"/>
                  </a:lnTo>
                  <a:lnTo>
                    <a:pt x="165" y="72"/>
                  </a:lnTo>
                  <a:lnTo>
                    <a:pt x="165" y="72"/>
                  </a:lnTo>
                  <a:lnTo>
                    <a:pt x="172" y="70"/>
                  </a:lnTo>
                  <a:lnTo>
                    <a:pt x="177" y="67"/>
                  </a:lnTo>
                  <a:lnTo>
                    <a:pt x="177" y="67"/>
                  </a:lnTo>
                  <a:lnTo>
                    <a:pt x="180" y="62"/>
                  </a:lnTo>
                  <a:lnTo>
                    <a:pt x="182" y="55"/>
                  </a:lnTo>
                  <a:lnTo>
                    <a:pt x="182" y="15"/>
                  </a:lnTo>
                  <a:lnTo>
                    <a:pt x="182" y="15"/>
                  </a:lnTo>
                  <a:lnTo>
                    <a:pt x="180" y="8"/>
                  </a:lnTo>
                  <a:lnTo>
                    <a:pt x="177" y="3"/>
                  </a:lnTo>
                  <a:lnTo>
                    <a:pt x="177" y="3"/>
                  </a:lnTo>
                  <a:lnTo>
                    <a:pt x="172" y="0"/>
                  </a:lnTo>
                  <a:lnTo>
                    <a:pt x="165" y="0"/>
                  </a:lnTo>
                  <a:lnTo>
                    <a:pt x="165" y="0"/>
                  </a:lnTo>
                  <a:lnTo>
                    <a:pt x="148" y="0"/>
                  </a:lnTo>
                  <a:lnTo>
                    <a:pt x="133" y="3"/>
                  </a:lnTo>
                  <a:lnTo>
                    <a:pt x="116" y="6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2" y="28"/>
                  </a:lnTo>
                  <a:lnTo>
                    <a:pt x="59" y="38"/>
                  </a:lnTo>
                  <a:lnTo>
                    <a:pt x="47" y="50"/>
                  </a:lnTo>
                  <a:lnTo>
                    <a:pt x="47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30" name="Freeform 59"/>
            <p:cNvSpPr>
              <a:spLocks/>
            </p:cNvSpPr>
            <p:nvPr/>
          </p:nvSpPr>
          <p:spPr bwMode="auto">
            <a:xfrm>
              <a:off x="16213138" y="3268663"/>
              <a:ext cx="252413" cy="261938"/>
            </a:xfrm>
            <a:custGeom>
              <a:avLst/>
              <a:gdLst/>
              <a:ahLst/>
              <a:cxnLst>
                <a:cxn ang="0">
                  <a:pos x="302" y="329"/>
                </a:cxn>
                <a:cxn ang="0">
                  <a:pos x="309" y="327"/>
                </a:cxn>
                <a:cxn ang="0">
                  <a:pos x="317" y="319"/>
                </a:cxn>
                <a:cxn ang="0">
                  <a:pos x="319" y="312"/>
                </a:cxn>
                <a:cxn ang="0">
                  <a:pos x="314" y="256"/>
                </a:cxn>
                <a:cxn ang="0">
                  <a:pos x="300" y="202"/>
                </a:cxn>
                <a:cxn ang="0">
                  <a:pos x="277" y="152"/>
                </a:cxn>
                <a:cxn ang="0">
                  <a:pos x="243" y="105"/>
                </a:cxn>
                <a:cxn ang="0">
                  <a:pos x="231" y="91"/>
                </a:cxn>
                <a:cxn ang="0">
                  <a:pos x="209" y="71"/>
                </a:cxn>
                <a:cxn ang="0">
                  <a:pos x="159" y="37"/>
                </a:cxn>
                <a:cxn ang="0">
                  <a:pos x="105" y="15"/>
                </a:cxn>
                <a:cxn ang="0">
                  <a:pos x="46" y="2"/>
                </a:cxn>
                <a:cxn ang="0">
                  <a:pos x="15" y="0"/>
                </a:cxn>
                <a:cxn ang="0">
                  <a:pos x="4" y="5"/>
                </a:cxn>
                <a:cxn ang="0">
                  <a:pos x="0" y="10"/>
                </a:cxn>
                <a:cxn ang="0">
                  <a:pos x="0" y="57"/>
                </a:cxn>
                <a:cxn ang="0">
                  <a:pos x="0" y="62"/>
                </a:cxn>
                <a:cxn ang="0">
                  <a:pos x="4" y="68"/>
                </a:cxn>
                <a:cxn ang="0">
                  <a:pos x="15" y="73"/>
                </a:cxn>
                <a:cxn ang="0">
                  <a:pos x="39" y="74"/>
                </a:cxn>
                <a:cxn ang="0">
                  <a:pos x="83" y="84"/>
                </a:cxn>
                <a:cxn ang="0">
                  <a:pos x="125" y="101"/>
                </a:cxn>
                <a:cxn ang="0">
                  <a:pos x="162" y="127"/>
                </a:cxn>
                <a:cxn ang="0">
                  <a:pos x="179" y="143"/>
                </a:cxn>
                <a:cxn ang="0">
                  <a:pos x="189" y="154"/>
                </a:cxn>
                <a:cxn ang="0">
                  <a:pos x="214" y="189"/>
                </a:cxn>
                <a:cxn ang="0">
                  <a:pos x="231" y="226"/>
                </a:cxn>
                <a:cxn ang="0">
                  <a:pos x="243" y="268"/>
                </a:cxn>
                <a:cxn ang="0">
                  <a:pos x="245" y="312"/>
                </a:cxn>
                <a:cxn ang="0">
                  <a:pos x="247" y="317"/>
                </a:cxn>
                <a:cxn ang="0">
                  <a:pos x="250" y="322"/>
                </a:cxn>
                <a:cxn ang="0">
                  <a:pos x="262" y="327"/>
                </a:cxn>
              </a:cxnLst>
              <a:rect l="0" t="0" r="r" b="b"/>
              <a:pathLst>
                <a:path w="319" h="329">
                  <a:moveTo>
                    <a:pt x="262" y="327"/>
                  </a:moveTo>
                  <a:lnTo>
                    <a:pt x="302" y="329"/>
                  </a:lnTo>
                  <a:lnTo>
                    <a:pt x="302" y="329"/>
                  </a:lnTo>
                  <a:lnTo>
                    <a:pt x="309" y="327"/>
                  </a:lnTo>
                  <a:lnTo>
                    <a:pt x="314" y="324"/>
                  </a:lnTo>
                  <a:lnTo>
                    <a:pt x="317" y="319"/>
                  </a:lnTo>
                  <a:lnTo>
                    <a:pt x="319" y="312"/>
                  </a:lnTo>
                  <a:lnTo>
                    <a:pt x="319" y="312"/>
                  </a:lnTo>
                  <a:lnTo>
                    <a:pt x="317" y="285"/>
                  </a:lnTo>
                  <a:lnTo>
                    <a:pt x="314" y="256"/>
                  </a:lnTo>
                  <a:lnTo>
                    <a:pt x="309" y="229"/>
                  </a:lnTo>
                  <a:lnTo>
                    <a:pt x="300" y="202"/>
                  </a:lnTo>
                  <a:lnTo>
                    <a:pt x="290" y="175"/>
                  </a:lnTo>
                  <a:lnTo>
                    <a:pt x="277" y="152"/>
                  </a:lnTo>
                  <a:lnTo>
                    <a:pt x="262" y="128"/>
                  </a:lnTo>
                  <a:lnTo>
                    <a:pt x="243" y="105"/>
                  </a:lnTo>
                  <a:lnTo>
                    <a:pt x="243" y="105"/>
                  </a:lnTo>
                  <a:lnTo>
                    <a:pt x="231" y="91"/>
                  </a:lnTo>
                  <a:lnTo>
                    <a:pt x="231" y="91"/>
                  </a:lnTo>
                  <a:lnTo>
                    <a:pt x="209" y="71"/>
                  </a:lnTo>
                  <a:lnTo>
                    <a:pt x="186" y="54"/>
                  </a:lnTo>
                  <a:lnTo>
                    <a:pt x="159" y="37"/>
                  </a:lnTo>
                  <a:lnTo>
                    <a:pt x="133" y="25"/>
                  </a:lnTo>
                  <a:lnTo>
                    <a:pt x="105" y="15"/>
                  </a:lnTo>
                  <a:lnTo>
                    <a:pt x="76" y="7"/>
                  </a:lnTo>
                  <a:lnTo>
                    <a:pt x="46" y="2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0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6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39" y="74"/>
                  </a:lnTo>
                  <a:lnTo>
                    <a:pt x="61" y="78"/>
                  </a:lnTo>
                  <a:lnTo>
                    <a:pt x="83" y="84"/>
                  </a:lnTo>
                  <a:lnTo>
                    <a:pt x="105" y="91"/>
                  </a:lnTo>
                  <a:lnTo>
                    <a:pt x="125" y="101"/>
                  </a:lnTo>
                  <a:lnTo>
                    <a:pt x="144" y="113"/>
                  </a:lnTo>
                  <a:lnTo>
                    <a:pt x="162" y="127"/>
                  </a:lnTo>
                  <a:lnTo>
                    <a:pt x="179" y="143"/>
                  </a:lnTo>
                  <a:lnTo>
                    <a:pt x="179" y="143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203" y="170"/>
                  </a:lnTo>
                  <a:lnTo>
                    <a:pt x="214" y="189"/>
                  </a:lnTo>
                  <a:lnTo>
                    <a:pt x="225" y="208"/>
                  </a:lnTo>
                  <a:lnTo>
                    <a:pt x="231" y="226"/>
                  </a:lnTo>
                  <a:lnTo>
                    <a:pt x="238" y="248"/>
                  </a:lnTo>
                  <a:lnTo>
                    <a:pt x="243" y="268"/>
                  </a:lnTo>
                  <a:lnTo>
                    <a:pt x="245" y="290"/>
                  </a:lnTo>
                  <a:lnTo>
                    <a:pt x="245" y="312"/>
                  </a:lnTo>
                  <a:lnTo>
                    <a:pt x="245" y="312"/>
                  </a:lnTo>
                  <a:lnTo>
                    <a:pt x="247" y="317"/>
                  </a:lnTo>
                  <a:lnTo>
                    <a:pt x="250" y="322"/>
                  </a:lnTo>
                  <a:lnTo>
                    <a:pt x="250" y="322"/>
                  </a:lnTo>
                  <a:lnTo>
                    <a:pt x="255" y="326"/>
                  </a:lnTo>
                  <a:lnTo>
                    <a:pt x="262" y="327"/>
                  </a:lnTo>
                  <a:lnTo>
                    <a:pt x="262" y="32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31" name="Freeform 60"/>
            <p:cNvSpPr>
              <a:spLocks/>
            </p:cNvSpPr>
            <p:nvPr/>
          </p:nvSpPr>
          <p:spPr bwMode="auto">
            <a:xfrm>
              <a:off x="16221075" y="3368675"/>
              <a:ext cx="144463" cy="150813"/>
            </a:xfrm>
            <a:custGeom>
              <a:avLst/>
              <a:gdLst/>
              <a:ahLst/>
              <a:cxnLst>
                <a:cxn ang="0">
                  <a:pos x="135" y="50"/>
                </a:cxn>
                <a:cxn ang="0">
                  <a:pos x="135" y="50"/>
                </a:cxn>
                <a:cxn ang="0">
                  <a:pos x="122" y="38"/>
                </a:cxn>
                <a:cxn ang="0">
                  <a:pos x="110" y="28"/>
                </a:cxn>
                <a:cxn ang="0">
                  <a:pos x="95" y="20"/>
                </a:cxn>
                <a:cxn ang="0">
                  <a:pos x="81" y="13"/>
                </a:cxn>
                <a:cxn ang="0">
                  <a:pos x="64" y="6"/>
                </a:cxn>
                <a:cxn ang="0">
                  <a:pos x="49" y="3"/>
                </a:cxn>
                <a:cxn ang="0">
                  <a:pos x="3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3"/>
                </a:cxn>
                <a:cxn ang="0">
                  <a:pos x="5" y="3"/>
                </a:cxn>
                <a:cxn ang="0">
                  <a:pos x="2" y="8"/>
                </a:cxn>
                <a:cxn ang="0">
                  <a:pos x="0" y="15"/>
                </a:cxn>
                <a:cxn ang="0">
                  <a:pos x="0" y="55"/>
                </a:cxn>
                <a:cxn ang="0">
                  <a:pos x="0" y="55"/>
                </a:cxn>
                <a:cxn ang="0">
                  <a:pos x="2" y="62"/>
                </a:cxn>
                <a:cxn ang="0">
                  <a:pos x="5" y="67"/>
                </a:cxn>
                <a:cxn ang="0">
                  <a:pos x="5" y="67"/>
                </a:cxn>
                <a:cxn ang="0">
                  <a:pos x="10" y="70"/>
                </a:cxn>
                <a:cxn ang="0">
                  <a:pos x="16" y="72"/>
                </a:cxn>
                <a:cxn ang="0">
                  <a:pos x="16" y="72"/>
                </a:cxn>
                <a:cxn ang="0">
                  <a:pos x="34" y="74"/>
                </a:cxn>
                <a:cxn ang="0">
                  <a:pos x="53" y="81"/>
                </a:cxn>
                <a:cxn ang="0">
                  <a:pos x="68" y="89"/>
                </a:cxn>
                <a:cxn ang="0">
                  <a:pos x="83" y="101"/>
                </a:cxn>
                <a:cxn ang="0">
                  <a:pos x="83" y="101"/>
                </a:cxn>
                <a:cxn ang="0">
                  <a:pos x="86" y="104"/>
                </a:cxn>
                <a:cxn ang="0">
                  <a:pos x="86" y="104"/>
                </a:cxn>
                <a:cxn ang="0">
                  <a:pos x="97" y="119"/>
                </a:cxn>
                <a:cxn ang="0">
                  <a:pos x="105" y="136"/>
                </a:cxn>
                <a:cxn ang="0">
                  <a:pos x="108" y="153"/>
                </a:cxn>
                <a:cxn ang="0">
                  <a:pos x="110" y="170"/>
                </a:cxn>
                <a:cxn ang="0">
                  <a:pos x="110" y="170"/>
                </a:cxn>
                <a:cxn ang="0">
                  <a:pos x="112" y="177"/>
                </a:cxn>
                <a:cxn ang="0">
                  <a:pos x="113" y="182"/>
                </a:cxn>
                <a:cxn ang="0">
                  <a:pos x="113" y="182"/>
                </a:cxn>
                <a:cxn ang="0">
                  <a:pos x="118" y="185"/>
                </a:cxn>
                <a:cxn ang="0">
                  <a:pos x="125" y="187"/>
                </a:cxn>
                <a:cxn ang="0">
                  <a:pos x="167" y="189"/>
                </a:cxn>
                <a:cxn ang="0">
                  <a:pos x="167" y="189"/>
                </a:cxn>
                <a:cxn ang="0">
                  <a:pos x="172" y="187"/>
                </a:cxn>
                <a:cxn ang="0">
                  <a:pos x="177" y="183"/>
                </a:cxn>
                <a:cxn ang="0">
                  <a:pos x="181" y="178"/>
                </a:cxn>
                <a:cxn ang="0">
                  <a:pos x="183" y="173"/>
                </a:cxn>
                <a:cxn ang="0">
                  <a:pos x="183" y="173"/>
                </a:cxn>
                <a:cxn ang="0">
                  <a:pos x="183" y="156"/>
                </a:cxn>
                <a:cxn ang="0">
                  <a:pos x="181" y="141"/>
                </a:cxn>
                <a:cxn ang="0">
                  <a:pos x="177" y="126"/>
                </a:cxn>
                <a:cxn ang="0">
                  <a:pos x="172" y="111"/>
                </a:cxn>
                <a:cxn ang="0">
                  <a:pos x="167" y="96"/>
                </a:cxn>
                <a:cxn ang="0">
                  <a:pos x="161" y="82"/>
                </a:cxn>
                <a:cxn ang="0">
                  <a:pos x="152" y="69"/>
                </a:cxn>
                <a:cxn ang="0">
                  <a:pos x="142" y="57"/>
                </a:cxn>
                <a:cxn ang="0">
                  <a:pos x="142" y="57"/>
                </a:cxn>
                <a:cxn ang="0">
                  <a:pos x="135" y="50"/>
                </a:cxn>
                <a:cxn ang="0">
                  <a:pos x="135" y="50"/>
                </a:cxn>
              </a:cxnLst>
              <a:rect l="0" t="0" r="r" b="b"/>
              <a:pathLst>
                <a:path w="183" h="189">
                  <a:moveTo>
                    <a:pt x="135" y="50"/>
                  </a:moveTo>
                  <a:lnTo>
                    <a:pt x="135" y="50"/>
                  </a:lnTo>
                  <a:lnTo>
                    <a:pt x="122" y="38"/>
                  </a:lnTo>
                  <a:lnTo>
                    <a:pt x="110" y="28"/>
                  </a:lnTo>
                  <a:lnTo>
                    <a:pt x="95" y="20"/>
                  </a:lnTo>
                  <a:lnTo>
                    <a:pt x="81" y="13"/>
                  </a:lnTo>
                  <a:lnTo>
                    <a:pt x="64" y="6"/>
                  </a:lnTo>
                  <a:lnTo>
                    <a:pt x="49" y="3"/>
                  </a:lnTo>
                  <a:lnTo>
                    <a:pt x="3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0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8"/>
                  </a:lnTo>
                  <a:lnTo>
                    <a:pt x="0" y="1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62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10" y="70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34" y="74"/>
                  </a:lnTo>
                  <a:lnTo>
                    <a:pt x="53" y="81"/>
                  </a:lnTo>
                  <a:lnTo>
                    <a:pt x="68" y="8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97" y="119"/>
                  </a:lnTo>
                  <a:lnTo>
                    <a:pt x="105" y="136"/>
                  </a:lnTo>
                  <a:lnTo>
                    <a:pt x="108" y="153"/>
                  </a:lnTo>
                  <a:lnTo>
                    <a:pt x="110" y="170"/>
                  </a:lnTo>
                  <a:lnTo>
                    <a:pt x="110" y="170"/>
                  </a:lnTo>
                  <a:lnTo>
                    <a:pt x="112" y="177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8" y="185"/>
                  </a:lnTo>
                  <a:lnTo>
                    <a:pt x="125" y="187"/>
                  </a:lnTo>
                  <a:lnTo>
                    <a:pt x="167" y="189"/>
                  </a:lnTo>
                  <a:lnTo>
                    <a:pt x="167" y="189"/>
                  </a:lnTo>
                  <a:lnTo>
                    <a:pt x="172" y="187"/>
                  </a:lnTo>
                  <a:lnTo>
                    <a:pt x="177" y="183"/>
                  </a:lnTo>
                  <a:lnTo>
                    <a:pt x="181" y="178"/>
                  </a:lnTo>
                  <a:lnTo>
                    <a:pt x="183" y="173"/>
                  </a:lnTo>
                  <a:lnTo>
                    <a:pt x="183" y="173"/>
                  </a:lnTo>
                  <a:lnTo>
                    <a:pt x="183" y="156"/>
                  </a:lnTo>
                  <a:lnTo>
                    <a:pt x="181" y="141"/>
                  </a:lnTo>
                  <a:lnTo>
                    <a:pt x="177" y="126"/>
                  </a:lnTo>
                  <a:lnTo>
                    <a:pt x="172" y="111"/>
                  </a:lnTo>
                  <a:lnTo>
                    <a:pt x="167" y="96"/>
                  </a:lnTo>
                  <a:lnTo>
                    <a:pt x="161" y="82"/>
                  </a:lnTo>
                  <a:lnTo>
                    <a:pt x="152" y="6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35" y="50"/>
                  </a:lnTo>
                  <a:lnTo>
                    <a:pt x="135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32" name="Freeform 61"/>
            <p:cNvSpPr>
              <a:spLocks noEditPoints="1"/>
            </p:cNvSpPr>
            <p:nvPr/>
          </p:nvSpPr>
          <p:spPr bwMode="auto">
            <a:xfrm>
              <a:off x="15730538" y="3460750"/>
              <a:ext cx="765175" cy="931863"/>
            </a:xfrm>
            <a:custGeom>
              <a:avLst/>
              <a:gdLst/>
              <a:ahLst/>
              <a:cxnLst>
                <a:cxn ang="0">
                  <a:pos x="157" y="1174"/>
                </a:cxn>
                <a:cxn ang="0">
                  <a:pos x="963" y="1174"/>
                </a:cxn>
                <a:cxn ang="0">
                  <a:pos x="842" y="1026"/>
                </a:cxn>
                <a:cxn ang="0">
                  <a:pos x="579" y="248"/>
                </a:cxn>
                <a:cxn ang="0">
                  <a:pos x="590" y="238"/>
                </a:cxn>
                <a:cxn ang="0">
                  <a:pos x="611" y="215"/>
                </a:cxn>
                <a:cxn ang="0">
                  <a:pos x="626" y="186"/>
                </a:cxn>
                <a:cxn ang="0">
                  <a:pos x="634" y="154"/>
                </a:cxn>
                <a:cxn ang="0">
                  <a:pos x="634" y="137"/>
                </a:cxn>
                <a:cxn ang="0">
                  <a:pos x="633" y="110"/>
                </a:cxn>
                <a:cxn ang="0">
                  <a:pos x="624" y="85"/>
                </a:cxn>
                <a:cxn ang="0">
                  <a:pos x="611" y="61"/>
                </a:cxn>
                <a:cxn ang="0">
                  <a:pos x="594" y="41"/>
                </a:cxn>
                <a:cxn ang="0">
                  <a:pos x="573" y="24"/>
                </a:cxn>
                <a:cxn ang="0">
                  <a:pos x="552" y="10"/>
                </a:cxn>
                <a:cxn ang="0">
                  <a:pos x="525" y="4"/>
                </a:cxn>
                <a:cxn ang="0">
                  <a:pos x="498" y="0"/>
                </a:cxn>
                <a:cxn ang="0">
                  <a:pos x="484" y="0"/>
                </a:cxn>
                <a:cxn ang="0">
                  <a:pos x="457" y="7"/>
                </a:cxn>
                <a:cxn ang="0">
                  <a:pos x="432" y="17"/>
                </a:cxn>
                <a:cxn ang="0">
                  <a:pos x="410" y="31"/>
                </a:cxn>
                <a:cxn ang="0">
                  <a:pos x="391" y="49"/>
                </a:cxn>
                <a:cxn ang="0">
                  <a:pos x="376" y="71"/>
                </a:cxn>
                <a:cxn ang="0">
                  <a:pos x="366" y="96"/>
                </a:cxn>
                <a:cxn ang="0">
                  <a:pos x="361" y="123"/>
                </a:cxn>
                <a:cxn ang="0">
                  <a:pos x="359" y="137"/>
                </a:cxn>
                <a:cxn ang="0">
                  <a:pos x="364" y="169"/>
                </a:cxn>
                <a:cxn ang="0">
                  <a:pos x="374" y="198"/>
                </a:cxn>
                <a:cxn ang="0">
                  <a:pos x="391" y="223"/>
                </a:cxn>
                <a:cxn ang="0">
                  <a:pos x="412" y="245"/>
                </a:cxn>
                <a:cxn ang="0">
                  <a:pos x="121" y="1026"/>
                </a:cxn>
                <a:cxn ang="0">
                  <a:pos x="0" y="1174"/>
                </a:cxn>
                <a:cxn ang="0">
                  <a:pos x="415" y="977"/>
                </a:cxn>
                <a:cxn ang="0">
                  <a:pos x="698" y="1026"/>
                </a:cxn>
                <a:cxn ang="0">
                  <a:pos x="442" y="478"/>
                </a:cxn>
                <a:cxn ang="0">
                  <a:pos x="410" y="597"/>
                </a:cxn>
                <a:cxn ang="0">
                  <a:pos x="467" y="387"/>
                </a:cxn>
                <a:cxn ang="0">
                  <a:pos x="533" y="429"/>
                </a:cxn>
                <a:cxn ang="0">
                  <a:pos x="582" y="604"/>
                </a:cxn>
                <a:cxn ang="0">
                  <a:pos x="450" y="678"/>
                </a:cxn>
                <a:cxn ang="0">
                  <a:pos x="369" y="743"/>
                </a:cxn>
                <a:cxn ang="0">
                  <a:pos x="324" y="910"/>
                </a:cxn>
              </a:cxnLst>
              <a:rect l="0" t="0" r="r" b="b"/>
              <a:pathLst>
                <a:path w="963" h="1174">
                  <a:moveTo>
                    <a:pt x="0" y="1174"/>
                  </a:moveTo>
                  <a:lnTo>
                    <a:pt x="157" y="1174"/>
                  </a:lnTo>
                  <a:lnTo>
                    <a:pt x="833" y="1174"/>
                  </a:lnTo>
                  <a:lnTo>
                    <a:pt x="963" y="1174"/>
                  </a:lnTo>
                  <a:lnTo>
                    <a:pt x="918" y="1120"/>
                  </a:lnTo>
                  <a:lnTo>
                    <a:pt x="842" y="1026"/>
                  </a:lnTo>
                  <a:lnTo>
                    <a:pt x="793" y="1026"/>
                  </a:lnTo>
                  <a:lnTo>
                    <a:pt x="579" y="248"/>
                  </a:lnTo>
                  <a:lnTo>
                    <a:pt x="579" y="248"/>
                  </a:lnTo>
                  <a:lnTo>
                    <a:pt x="590" y="238"/>
                  </a:lnTo>
                  <a:lnTo>
                    <a:pt x="602" y="226"/>
                  </a:lnTo>
                  <a:lnTo>
                    <a:pt x="611" y="215"/>
                  </a:lnTo>
                  <a:lnTo>
                    <a:pt x="619" y="201"/>
                  </a:lnTo>
                  <a:lnTo>
                    <a:pt x="626" y="186"/>
                  </a:lnTo>
                  <a:lnTo>
                    <a:pt x="631" y="171"/>
                  </a:lnTo>
                  <a:lnTo>
                    <a:pt x="634" y="154"/>
                  </a:lnTo>
                  <a:lnTo>
                    <a:pt x="634" y="137"/>
                  </a:lnTo>
                  <a:lnTo>
                    <a:pt x="634" y="137"/>
                  </a:lnTo>
                  <a:lnTo>
                    <a:pt x="634" y="123"/>
                  </a:lnTo>
                  <a:lnTo>
                    <a:pt x="633" y="110"/>
                  </a:lnTo>
                  <a:lnTo>
                    <a:pt x="629" y="96"/>
                  </a:lnTo>
                  <a:lnTo>
                    <a:pt x="624" y="85"/>
                  </a:lnTo>
                  <a:lnTo>
                    <a:pt x="617" y="71"/>
                  </a:lnTo>
                  <a:lnTo>
                    <a:pt x="611" y="61"/>
                  </a:lnTo>
                  <a:lnTo>
                    <a:pt x="604" y="49"/>
                  </a:lnTo>
                  <a:lnTo>
                    <a:pt x="594" y="41"/>
                  </a:lnTo>
                  <a:lnTo>
                    <a:pt x="585" y="31"/>
                  </a:lnTo>
                  <a:lnTo>
                    <a:pt x="573" y="24"/>
                  </a:lnTo>
                  <a:lnTo>
                    <a:pt x="563" y="17"/>
                  </a:lnTo>
                  <a:lnTo>
                    <a:pt x="552" y="10"/>
                  </a:lnTo>
                  <a:lnTo>
                    <a:pt x="538" y="7"/>
                  </a:lnTo>
                  <a:lnTo>
                    <a:pt x="525" y="4"/>
                  </a:lnTo>
                  <a:lnTo>
                    <a:pt x="511" y="0"/>
                  </a:lnTo>
                  <a:lnTo>
                    <a:pt x="498" y="0"/>
                  </a:lnTo>
                  <a:lnTo>
                    <a:pt x="498" y="0"/>
                  </a:lnTo>
                  <a:lnTo>
                    <a:pt x="484" y="0"/>
                  </a:lnTo>
                  <a:lnTo>
                    <a:pt x="469" y="4"/>
                  </a:lnTo>
                  <a:lnTo>
                    <a:pt x="457" y="7"/>
                  </a:lnTo>
                  <a:lnTo>
                    <a:pt x="444" y="10"/>
                  </a:lnTo>
                  <a:lnTo>
                    <a:pt x="432" y="17"/>
                  </a:lnTo>
                  <a:lnTo>
                    <a:pt x="420" y="24"/>
                  </a:lnTo>
                  <a:lnTo>
                    <a:pt x="410" y="31"/>
                  </a:lnTo>
                  <a:lnTo>
                    <a:pt x="400" y="41"/>
                  </a:lnTo>
                  <a:lnTo>
                    <a:pt x="391" y="49"/>
                  </a:lnTo>
                  <a:lnTo>
                    <a:pt x="383" y="61"/>
                  </a:lnTo>
                  <a:lnTo>
                    <a:pt x="376" y="71"/>
                  </a:lnTo>
                  <a:lnTo>
                    <a:pt x="371" y="85"/>
                  </a:lnTo>
                  <a:lnTo>
                    <a:pt x="366" y="96"/>
                  </a:lnTo>
                  <a:lnTo>
                    <a:pt x="363" y="110"/>
                  </a:lnTo>
                  <a:lnTo>
                    <a:pt x="361" y="123"/>
                  </a:lnTo>
                  <a:lnTo>
                    <a:pt x="359" y="137"/>
                  </a:lnTo>
                  <a:lnTo>
                    <a:pt x="359" y="137"/>
                  </a:lnTo>
                  <a:lnTo>
                    <a:pt x="361" y="154"/>
                  </a:lnTo>
                  <a:lnTo>
                    <a:pt x="364" y="169"/>
                  </a:lnTo>
                  <a:lnTo>
                    <a:pt x="368" y="184"/>
                  </a:lnTo>
                  <a:lnTo>
                    <a:pt x="374" y="198"/>
                  </a:lnTo>
                  <a:lnTo>
                    <a:pt x="381" y="211"/>
                  </a:lnTo>
                  <a:lnTo>
                    <a:pt x="391" y="223"/>
                  </a:lnTo>
                  <a:lnTo>
                    <a:pt x="400" y="235"/>
                  </a:lnTo>
                  <a:lnTo>
                    <a:pt x="412" y="245"/>
                  </a:lnTo>
                  <a:lnTo>
                    <a:pt x="197" y="1026"/>
                  </a:lnTo>
                  <a:lnTo>
                    <a:pt x="121" y="1026"/>
                  </a:lnTo>
                  <a:lnTo>
                    <a:pt x="46" y="1120"/>
                  </a:lnTo>
                  <a:lnTo>
                    <a:pt x="0" y="1174"/>
                  </a:lnTo>
                  <a:close/>
                  <a:moveTo>
                    <a:pt x="577" y="1026"/>
                  </a:moveTo>
                  <a:lnTo>
                    <a:pt x="415" y="977"/>
                  </a:lnTo>
                  <a:lnTo>
                    <a:pt x="663" y="898"/>
                  </a:lnTo>
                  <a:lnTo>
                    <a:pt x="698" y="1026"/>
                  </a:lnTo>
                  <a:lnTo>
                    <a:pt x="577" y="1026"/>
                  </a:lnTo>
                  <a:close/>
                  <a:moveTo>
                    <a:pt x="442" y="478"/>
                  </a:moveTo>
                  <a:lnTo>
                    <a:pt x="526" y="532"/>
                  </a:lnTo>
                  <a:lnTo>
                    <a:pt x="410" y="597"/>
                  </a:lnTo>
                  <a:lnTo>
                    <a:pt x="442" y="478"/>
                  </a:lnTo>
                  <a:close/>
                  <a:moveTo>
                    <a:pt x="467" y="387"/>
                  </a:moveTo>
                  <a:lnTo>
                    <a:pt x="494" y="287"/>
                  </a:lnTo>
                  <a:lnTo>
                    <a:pt x="533" y="429"/>
                  </a:lnTo>
                  <a:lnTo>
                    <a:pt x="467" y="387"/>
                  </a:lnTo>
                  <a:close/>
                  <a:moveTo>
                    <a:pt x="582" y="604"/>
                  </a:moveTo>
                  <a:lnTo>
                    <a:pt x="622" y="753"/>
                  </a:lnTo>
                  <a:lnTo>
                    <a:pt x="450" y="678"/>
                  </a:lnTo>
                  <a:lnTo>
                    <a:pt x="582" y="604"/>
                  </a:lnTo>
                  <a:close/>
                  <a:moveTo>
                    <a:pt x="369" y="743"/>
                  </a:moveTo>
                  <a:lnTo>
                    <a:pt x="573" y="830"/>
                  </a:lnTo>
                  <a:lnTo>
                    <a:pt x="324" y="910"/>
                  </a:lnTo>
                  <a:lnTo>
                    <a:pt x="369" y="7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</p:grpSp>
      <p:grpSp>
        <p:nvGrpSpPr>
          <p:cNvPr id="4" name="组合 76"/>
          <p:cNvGrpSpPr/>
          <p:nvPr/>
        </p:nvGrpSpPr>
        <p:grpSpPr>
          <a:xfrm>
            <a:off x="5670079" y="2374645"/>
            <a:ext cx="324623" cy="417952"/>
            <a:chOff x="5618466" y="2438441"/>
            <a:chExt cx="324623" cy="417952"/>
          </a:xfrm>
          <a:solidFill>
            <a:srgbClr val="002060"/>
          </a:solidFill>
        </p:grpSpPr>
        <p:sp>
          <p:nvSpPr>
            <p:cNvPr id="34" name="Freeform 49"/>
            <p:cNvSpPr>
              <a:spLocks noEditPoints="1"/>
            </p:cNvSpPr>
            <p:nvPr/>
          </p:nvSpPr>
          <p:spPr bwMode="auto">
            <a:xfrm>
              <a:off x="5618466" y="2621041"/>
              <a:ext cx="324623" cy="235352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4" y="2"/>
                </a:cxn>
                <a:cxn ang="0">
                  <a:pos x="2" y="14"/>
                </a:cxn>
                <a:cxn ang="0">
                  <a:pos x="0" y="94"/>
                </a:cxn>
                <a:cxn ang="0">
                  <a:pos x="2" y="102"/>
                </a:cxn>
                <a:cxn ang="0">
                  <a:pos x="14" y="114"/>
                </a:cxn>
                <a:cxn ang="0">
                  <a:pos x="136" y="116"/>
                </a:cxn>
                <a:cxn ang="0">
                  <a:pos x="146" y="114"/>
                </a:cxn>
                <a:cxn ang="0">
                  <a:pos x="158" y="102"/>
                </a:cxn>
                <a:cxn ang="0">
                  <a:pos x="160" y="22"/>
                </a:cxn>
                <a:cxn ang="0">
                  <a:pos x="158" y="14"/>
                </a:cxn>
                <a:cxn ang="0">
                  <a:pos x="146" y="2"/>
                </a:cxn>
                <a:cxn ang="0">
                  <a:pos x="136" y="0"/>
                </a:cxn>
                <a:cxn ang="0">
                  <a:pos x="28" y="26"/>
                </a:cxn>
                <a:cxn ang="0">
                  <a:pos x="26" y="92"/>
                </a:cxn>
                <a:cxn ang="0">
                  <a:pos x="24" y="96"/>
                </a:cxn>
                <a:cxn ang="0">
                  <a:pos x="20" y="96"/>
                </a:cxn>
                <a:cxn ang="0">
                  <a:pos x="14" y="92"/>
                </a:cxn>
                <a:cxn ang="0">
                  <a:pos x="14" y="28"/>
                </a:cxn>
                <a:cxn ang="0">
                  <a:pos x="18" y="18"/>
                </a:cxn>
                <a:cxn ang="0">
                  <a:pos x="28" y="16"/>
                </a:cxn>
                <a:cxn ang="0">
                  <a:pos x="30" y="16"/>
                </a:cxn>
                <a:cxn ang="0">
                  <a:pos x="32" y="20"/>
                </a:cxn>
                <a:cxn ang="0">
                  <a:pos x="28" y="26"/>
                </a:cxn>
                <a:cxn ang="0">
                  <a:pos x="88" y="58"/>
                </a:cxn>
                <a:cxn ang="0">
                  <a:pos x="88" y="78"/>
                </a:cxn>
                <a:cxn ang="0">
                  <a:pos x="86" y="84"/>
                </a:cxn>
                <a:cxn ang="0">
                  <a:pos x="80" y="88"/>
                </a:cxn>
                <a:cxn ang="0">
                  <a:pos x="76" y="86"/>
                </a:cxn>
                <a:cxn ang="0">
                  <a:pos x="70" y="82"/>
                </a:cxn>
                <a:cxn ang="0">
                  <a:pos x="70" y="58"/>
                </a:cxn>
                <a:cxn ang="0">
                  <a:pos x="66" y="54"/>
                </a:cxn>
                <a:cxn ang="0">
                  <a:pos x="64" y="46"/>
                </a:cxn>
                <a:cxn ang="0">
                  <a:pos x="68" y="34"/>
                </a:cxn>
                <a:cxn ang="0">
                  <a:pos x="80" y="30"/>
                </a:cxn>
                <a:cxn ang="0">
                  <a:pos x="86" y="32"/>
                </a:cxn>
                <a:cxn ang="0">
                  <a:pos x="94" y="40"/>
                </a:cxn>
                <a:cxn ang="0">
                  <a:pos x="96" y="46"/>
                </a:cxn>
                <a:cxn ang="0">
                  <a:pos x="88" y="58"/>
                </a:cxn>
              </a:cxnLst>
              <a:rect l="0" t="0" r="r" b="b"/>
              <a:pathLst>
                <a:path w="160" h="116">
                  <a:moveTo>
                    <a:pt x="136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6" y="8"/>
                  </a:lnTo>
                  <a:lnTo>
                    <a:pt x="2" y="14"/>
                  </a:lnTo>
                  <a:lnTo>
                    <a:pt x="0" y="22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2" y="102"/>
                  </a:lnTo>
                  <a:lnTo>
                    <a:pt x="6" y="110"/>
                  </a:lnTo>
                  <a:lnTo>
                    <a:pt x="14" y="114"/>
                  </a:lnTo>
                  <a:lnTo>
                    <a:pt x="22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46" y="114"/>
                  </a:lnTo>
                  <a:lnTo>
                    <a:pt x="152" y="110"/>
                  </a:lnTo>
                  <a:lnTo>
                    <a:pt x="158" y="102"/>
                  </a:lnTo>
                  <a:lnTo>
                    <a:pt x="160" y="94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58" y="14"/>
                  </a:lnTo>
                  <a:lnTo>
                    <a:pt x="152" y="8"/>
                  </a:lnTo>
                  <a:lnTo>
                    <a:pt x="146" y="2"/>
                  </a:lnTo>
                  <a:lnTo>
                    <a:pt x="136" y="0"/>
                  </a:lnTo>
                  <a:lnTo>
                    <a:pt x="136" y="0"/>
                  </a:lnTo>
                  <a:close/>
                  <a:moveTo>
                    <a:pt x="28" y="26"/>
                  </a:moveTo>
                  <a:lnTo>
                    <a:pt x="28" y="26"/>
                  </a:lnTo>
                  <a:lnTo>
                    <a:pt x="26" y="28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4" y="92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2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0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0" y="24"/>
                  </a:lnTo>
                  <a:lnTo>
                    <a:pt x="28" y="26"/>
                  </a:lnTo>
                  <a:lnTo>
                    <a:pt x="28" y="26"/>
                  </a:lnTo>
                  <a:close/>
                  <a:moveTo>
                    <a:pt x="88" y="58"/>
                  </a:moveTo>
                  <a:lnTo>
                    <a:pt x="88" y="78"/>
                  </a:lnTo>
                  <a:lnTo>
                    <a:pt x="88" y="78"/>
                  </a:lnTo>
                  <a:lnTo>
                    <a:pt x="88" y="82"/>
                  </a:lnTo>
                  <a:lnTo>
                    <a:pt x="86" y="84"/>
                  </a:lnTo>
                  <a:lnTo>
                    <a:pt x="84" y="86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6"/>
                  </a:lnTo>
                  <a:lnTo>
                    <a:pt x="72" y="84"/>
                  </a:lnTo>
                  <a:lnTo>
                    <a:pt x="70" y="82"/>
                  </a:lnTo>
                  <a:lnTo>
                    <a:pt x="70" y="7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6" y="54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4" y="40"/>
                  </a:lnTo>
                  <a:lnTo>
                    <a:pt x="68" y="34"/>
                  </a:lnTo>
                  <a:lnTo>
                    <a:pt x="74" y="32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6" y="32"/>
                  </a:lnTo>
                  <a:lnTo>
                    <a:pt x="90" y="34"/>
                  </a:lnTo>
                  <a:lnTo>
                    <a:pt x="94" y="40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4" y="54"/>
                  </a:lnTo>
                  <a:lnTo>
                    <a:pt x="88" y="58"/>
                  </a:lnTo>
                  <a:lnTo>
                    <a:pt x="88" y="5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  <p:sp>
          <p:nvSpPr>
            <p:cNvPr id="35" name="Freeform 50"/>
            <p:cNvSpPr>
              <a:spLocks/>
            </p:cNvSpPr>
            <p:nvPr/>
          </p:nvSpPr>
          <p:spPr bwMode="auto">
            <a:xfrm>
              <a:off x="5663102" y="2438441"/>
              <a:ext cx="231294" cy="166369"/>
            </a:xfrm>
            <a:custGeom>
              <a:avLst/>
              <a:gdLst/>
              <a:ahLst/>
              <a:cxnLst>
                <a:cxn ang="0">
                  <a:pos x="26" y="56"/>
                </a:cxn>
                <a:cxn ang="0">
                  <a:pos x="26" y="56"/>
                </a:cxn>
                <a:cxn ang="0">
                  <a:pos x="26" y="50"/>
                </a:cxn>
                <a:cxn ang="0">
                  <a:pos x="28" y="44"/>
                </a:cxn>
                <a:cxn ang="0">
                  <a:pos x="36" y="34"/>
                </a:cxn>
                <a:cxn ang="0">
                  <a:pos x="46" y="28"/>
                </a:cxn>
                <a:cxn ang="0">
                  <a:pos x="52" y="26"/>
                </a:cxn>
                <a:cxn ang="0">
                  <a:pos x="58" y="26"/>
                </a:cxn>
                <a:cxn ang="0">
                  <a:pos x="58" y="26"/>
                </a:cxn>
                <a:cxn ang="0">
                  <a:pos x="64" y="26"/>
                </a:cxn>
                <a:cxn ang="0">
                  <a:pos x="70" y="28"/>
                </a:cxn>
                <a:cxn ang="0">
                  <a:pos x="80" y="34"/>
                </a:cxn>
                <a:cxn ang="0">
                  <a:pos x="86" y="44"/>
                </a:cxn>
                <a:cxn ang="0">
                  <a:pos x="88" y="50"/>
                </a:cxn>
                <a:cxn ang="0">
                  <a:pos x="88" y="56"/>
                </a:cxn>
                <a:cxn ang="0">
                  <a:pos x="88" y="82"/>
                </a:cxn>
                <a:cxn ang="0">
                  <a:pos x="114" y="82"/>
                </a:cxn>
                <a:cxn ang="0">
                  <a:pos x="114" y="56"/>
                </a:cxn>
                <a:cxn ang="0">
                  <a:pos x="114" y="56"/>
                </a:cxn>
                <a:cxn ang="0">
                  <a:pos x="112" y="46"/>
                </a:cxn>
                <a:cxn ang="0">
                  <a:pos x="110" y="34"/>
                </a:cxn>
                <a:cxn ang="0">
                  <a:pos x="104" y="26"/>
                </a:cxn>
                <a:cxn ang="0">
                  <a:pos x="98" y="16"/>
                </a:cxn>
                <a:cxn ang="0">
                  <a:pos x="90" y="10"/>
                </a:cxn>
                <a:cxn ang="0">
                  <a:pos x="80" y="4"/>
                </a:cxn>
                <a:cxn ang="0">
                  <a:pos x="68" y="2"/>
                </a:cxn>
                <a:cxn ang="0">
                  <a:pos x="58" y="0"/>
                </a:cxn>
                <a:cxn ang="0">
                  <a:pos x="58" y="0"/>
                </a:cxn>
                <a:cxn ang="0">
                  <a:pos x="46" y="2"/>
                </a:cxn>
                <a:cxn ang="0">
                  <a:pos x="36" y="4"/>
                </a:cxn>
                <a:cxn ang="0">
                  <a:pos x="26" y="10"/>
                </a:cxn>
                <a:cxn ang="0">
                  <a:pos x="18" y="16"/>
                </a:cxn>
                <a:cxn ang="0">
                  <a:pos x="10" y="26"/>
                </a:cxn>
                <a:cxn ang="0">
                  <a:pos x="6" y="34"/>
                </a:cxn>
                <a:cxn ang="0">
                  <a:pos x="2" y="46"/>
                </a:cxn>
                <a:cxn ang="0">
                  <a:pos x="0" y="56"/>
                </a:cxn>
                <a:cxn ang="0">
                  <a:pos x="0" y="82"/>
                </a:cxn>
                <a:cxn ang="0">
                  <a:pos x="26" y="82"/>
                </a:cxn>
                <a:cxn ang="0">
                  <a:pos x="26" y="56"/>
                </a:cxn>
              </a:cxnLst>
              <a:rect l="0" t="0" r="r" b="b"/>
              <a:pathLst>
                <a:path w="114" h="82">
                  <a:moveTo>
                    <a:pt x="26" y="56"/>
                  </a:moveTo>
                  <a:lnTo>
                    <a:pt x="26" y="56"/>
                  </a:lnTo>
                  <a:lnTo>
                    <a:pt x="26" y="50"/>
                  </a:lnTo>
                  <a:lnTo>
                    <a:pt x="28" y="44"/>
                  </a:lnTo>
                  <a:lnTo>
                    <a:pt x="36" y="34"/>
                  </a:lnTo>
                  <a:lnTo>
                    <a:pt x="46" y="28"/>
                  </a:lnTo>
                  <a:lnTo>
                    <a:pt x="52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64" y="26"/>
                  </a:lnTo>
                  <a:lnTo>
                    <a:pt x="70" y="28"/>
                  </a:lnTo>
                  <a:lnTo>
                    <a:pt x="80" y="34"/>
                  </a:lnTo>
                  <a:lnTo>
                    <a:pt x="86" y="44"/>
                  </a:lnTo>
                  <a:lnTo>
                    <a:pt x="88" y="50"/>
                  </a:lnTo>
                  <a:lnTo>
                    <a:pt x="88" y="56"/>
                  </a:lnTo>
                  <a:lnTo>
                    <a:pt x="88" y="82"/>
                  </a:lnTo>
                  <a:lnTo>
                    <a:pt x="114" y="82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2" y="46"/>
                  </a:lnTo>
                  <a:lnTo>
                    <a:pt x="110" y="34"/>
                  </a:lnTo>
                  <a:lnTo>
                    <a:pt x="104" y="26"/>
                  </a:lnTo>
                  <a:lnTo>
                    <a:pt x="98" y="16"/>
                  </a:lnTo>
                  <a:lnTo>
                    <a:pt x="90" y="10"/>
                  </a:lnTo>
                  <a:lnTo>
                    <a:pt x="80" y="4"/>
                  </a:lnTo>
                  <a:lnTo>
                    <a:pt x="68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46" y="2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8" y="16"/>
                  </a:lnTo>
                  <a:lnTo>
                    <a:pt x="10" y="26"/>
                  </a:lnTo>
                  <a:lnTo>
                    <a:pt x="6" y="34"/>
                  </a:lnTo>
                  <a:lnTo>
                    <a:pt x="2" y="46"/>
                  </a:lnTo>
                  <a:lnTo>
                    <a:pt x="0" y="56"/>
                  </a:lnTo>
                  <a:lnTo>
                    <a:pt x="0" y="82"/>
                  </a:lnTo>
                  <a:lnTo>
                    <a:pt x="26" y="82"/>
                  </a:lnTo>
                  <a:lnTo>
                    <a:pt x="26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zh-CN" altLang="en-US"/>
            </a:p>
          </p:txBody>
        </p:sp>
      </p:grpSp>
      <p:sp>
        <p:nvSpPr>
          <p:cNvPr id="40" name="矩形 39"/>
          <p:cNvSpPr/>
          <p:nvPr>
            <p:custDataLst>
              <p:tags r:id="rId3"/>
            </p:custDataLst>
          </p:nvPr>
        </p:nvSpPr>
        <p:spPr>
          <a:xfrm>
            <a:off x="6932613" y="3054350"/>
            <a:ext cx="2211387" cy="90794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US" altLang="zh-CN" sz="1200" noProof="1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Cross-department Information </a:t>
            </a:r>
            <a:r>
              <a:rPr lang="en-US" altLang="zh-CN" sz="1200" noProof="1" smtClean="0">
                <a:solidFill>
                  <a:schemeClr val="bg1"/>
                </a:solidFill>
                <a:latin typeface="Arial" pitchFamily="34" charset="0"/>
                <a:sym typeface="微软雅黑" pitchFamily="34" charset="-122"/>
              </a:rPr>
              <a:t>Sharing, </a:t>
            </a:r>
            <a:r>
              <a:rPr lang="en-US" altLang="zh-CN" sz="1200" dirty="0" smtClean="0">
                <a:solidFill>
                  <a:schemeClr val="bg1"/>
                </a:solidFill>
                <a:latin typeface="Arial" pitchFamily="34" charset="0"/>
              </a:rPr>
              <a:t> dispatching, Collaboration</a:t>
            </a:r>
            <a:endParaRPr lang="en-US" altLang="zh-CN" sz="1200" dirty="0">
              <a:solidFill>
                <a:schemeClr val="bg1"/>
              </a:solidFill>
              <a:latin typeface="Arial" pitchFamily="34" charset="0"/>
            </a:endParaRPr>
          </a:p>
          <a:p>
            <a:pPr marL="85725" indent="-85725" fontAlgn="ctr">
              <a:spcAft>
                <a:spcPts val="600"/>
              </a:spcAft>
              <a:buClr>
                <a:srgbClr val="C00000"/>
              </a:buClr>
              <a:buFont typeface="Arial" pitchFamily="34" charset="0"/>
              <a:buChar char="•"/>
            </a:pPr>
            <a:endParaRPr lang="en-US" altLang="zh-CN" sz="1200" noProof="1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Arial" pitchFamily="34" charset="0"/>
              <a:sym typeface="微软雅黑" pitchFamily="34" charset="-122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Picture 32" descr="图片79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6368149" y="3466789"/>
            <a:ext cx="1262743" cy="668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Picture 32" descr="图片796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 bwMode="auto">
          <a:xfrm>
            <a:off x="1273627" y="3466789"/>
            <a:ext cx="1262743" cy="66842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1266" name="Object 4" hidden="1"/>
          <p:cNvGraphicFramePr>
            <a:graphicFrameLocks noChangeAspect="1"/>
          </p:cNvGraphicFramePr>
          <p:nvPr/>
        </p:nvGraphicFramePr>
        <p:xfrm>
          <a:off x="1588" y="1588"/>
          <a:ext cx="0" cy="1587"/>
        </p:xfrm>
        <a:graphic>
          <a:graphicData uri="http://schemas.openxmlformats.org/presentationml/2006/ole">
            <p:oleObj spid="_x0000_s145410" name="think-cell Slide" r:id="rId10" imgW="360" imgH="360" progId="">
              <p:embed/>
            </p:oleObj>
          </a:graphicData>
        </a:graphic>
      </p:graphicFrame>
      <p:pic>
        <p:nvPicPr>
          <p:cNvPr id="11269" name="Picture 3" descr="D:\My Documents\My Pictures\监控中心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563" y="701675"/>
            <a:ext cx="7412037" cy="130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0" name="TextBox 41"/>
          <p:cNvSpPr txBox="1">
            <a:spLocks noChangeArrowheads="1"/>
          </p:cNvSpPr>
          <p:nvPr/>
        </p:nvSpPr>
        <p:spPr bwMode="auto">
          <a:xfrm>
            <a:off x="3519488" y="811213"/>
            <a:ext cx="17795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400" b="1">
                <a:solidFill>
                  <a:srgbClr val="C00000"/>
                </a:solidFill>
                <a:latin typeface="Arial" pitchFamily="34" charset="0"/>
                <a:ea typeface="微软雅黑" pitchFamily="34" charset="-122"/>
              </a:rPr>
              <a:t>Command Center</a:t>
            </a:r>
            <a:endParaRPr lang="zh-CN" altLang="en-US" sz="1400" b="1">
              <a:solidFill>
                <a:srgbClr val="C00000"/>
              </a:solidFill>
              <a:latin typeface="Arial" pitchFamily="34" charset="0"/>
              <a:ea typeface="微软雅黑" pitchFamily="34" charset="-122"/>
            </a:endParaRPr>
          </a:p>
        </p:txBody>
      </p:sp>
      <p:sp>
        <p:nvSpPr>
          <p:cNvPr id="68" name="任意多边形 5"/>
          <p:cNvSpPr/>
          <p:nvPr/>
        </p:nvSpPr>
        <p:spPr bwMode="auto">
          <a:xfrm>
            <a:off x="1431547" y="3193935"/>
            <a:ext cx="5875794" cy="625298"/>
          </a:xfrm>
          <a:custGeom>
            <a:avLst/>
            <a:gdLst>
              <a:gd name="connsiteX0" fmla="*/ 27741 w 2666285"/>
              <a:gd name="connsiteY0" fmla="*/ 1319514 h 1443255"/>
              <a:gd name="connsiteX1" fmla="*/ 1081038 w 2666285"/>
              <a:gd name="connsiteY1" fmla="*/ 520861 h 1443255"/>
              <a:gd name="connsiteX2" fmla="*/ 733797 w 2666285"/>
              <a:gd name="connsiteY2" fmla="*/ 381965 h 1443255"/>
              <a:gd name="connsiteX3" fmla="*/ 1266233 w 2666285"/>
              <a:gd name="connsiteY3" fmla="*/ 0 h 1443255"/>
              <a:gd name="connsiteX4" fmla="*/ 1856541 w 2666285"/>
              <a:gd name="connsiteY4" fmla="*/ 381965 h 1443255"/>
              <a:gd name="connsiteX5" fmla="*/ 1358830 w 2666285"/>
              <a:gd name="connsiteY5" fmla="*/ 416689 h 1443255"/>
              <a:gd name="connsiteX6" fmla="*/ 2655195 w 2666285"/>
              <a:gd name="connsiteY6" fmla="*/ 1261641 h 1443255"/>
              <a:gd name="connsiteX7" fmla="*/ 1949139 w 2666285"/>
              <a:gd name="connsiteY7" fmla="*/ 1296365 h 1443255"/>
              <a:gd name="connsiteX8" fmla="*/ 1324106 w 2666285"/>
              <a:gd name="connsiteY8" fmla="*/ 613459 h 1443255"/>
              <a:gd name="connsiteX9" fmla="*/ 1578749 w 2666285"/>
              <a:gd name="connsiteY9" fmla="*/ 1354238 h 1443255"/>
              <a:gd name="connsiteX10" fmla="*/ 988440 w 2666285"/>
              <a:gd name="connsiteY10" fmla="*/ 1354238 h 1443255"/>
              <a:gd name="connsiteX11" fmla="*/ 1138911 w 2666285"/>
              <a:gd name="connsiteY11" fmla="*/ 671332 h 1443255"/>
              <a:gd name="connsiteX12" fmla="*/ 374982 w 2666285"/>
              <a:gd name="connsiteY12" fmla="*/ 1365813 h 1443255"/>
              <a:gd name="connsiteX13" fmla="*/ 27741 w 2666285"/>
              <a:gd name="connsiteY13" fmla="*/ 1319514 h 1443255"/>
              <a:gd name="connsiteX0" fmla="*/ 27741 w 2666285"/>
              <a:gd name="connsiteY0" fmla="*/ 1319514 h 1443255"/>
              <a:gd name="connsiteX1" fmla="*/ 1081038 w 2666285"/>
              <a:gd name="connsiteY1" fmla="*/ 520861 h 1443255"/>
              <a:gd name="connsiteX2" fmla="*/ 733797 w 2666285"/>
              <a:gd name="connsiteY2" fmla="*/ 381965 h 1443255"/>
              <a:gd name="connsiteX3" fmla="*/ 1266233 w 2666285"/>
              <a:gd name="connsiteY3" fmla="*/ 0 h 1443255"/>
              <a:gd name="connsiteX4" fmla="*/ 1856541 w 2666285"/>
              <a:gd name="connsiteY4" fmla="*/ 381965 h 1443255"/>
              <a:gd name="connsiteX5" fmla="*/ 1358830 w 2666285"/>
              <a:gd name="connsiteY5" fmla="*/ 416689 h 1443255"/>
              <a:gd name="connsiteX6" fmla="*/ 2655195 w 2666285"/>
              <a:gd name="connsiteY6" fmla="*/ 1261641 h 1443255"/>
              <a:gd name="connsiteX7" fmla="*/ 1949139 w 2666285"/>
              <a:gd name="connsiteY7" fmla="*/ 1296365 h 1443255"/>
              <a:gd name="connsiteX8" fmla="*/ 1324106 w 2666285"/>
              <a:gd name="connsiteY8" fmla="*/ 613459 h 1443255"/>
              <a:gd name="connsiteX9" fmla="*/ 1578749 w 2666285"/>
              <a:gd name="connsiteY9" fmla="*/ 1354238 h 1443255"/>
              <a:gd name="connsiteX10" fmla="*/ 988440 w 2666285"/>
              <a:gd name="connsiteY10" fmla="*/ 1354238 h 1443255"/>
              <a:gd name="connsiteX11" fmla="*/ 1138911 w 2666285"/>
              <a:gd name="connsiteY11" fmla="*/ 671332 h 1443255"/>
              <a:gd name="connsiteX12" fmla="*/ 374982 w 2666285"/>
              <a:gd name="connsiteY12" fmla="*/ 1365813 h 1443255"/>
              <a:gd name="connsiteX13" fmla="*/ 27741 w 2666285"/>
              <a:gd name="connsiteY13" fmla="*/ 1319514 h 1443255"/>
              <a:gd name="connsiteX0" fmla="*/ 27741 w 2666285"/>
              <a:gd name="connsiteY0" fmla="*/ 1319514 h 1443255"/>
              <a:gd name="connsiteX1" fmla="*/ 1081038 w 2666285"/>
              <a:gd name="connsiteY1" fmla="*/ 520861 h 1443255"/>
              <a:gd name="connsiteX2" fmla="*/ 733797 w 2666285"/>
              <a:gd name="connsiteY2" fmla="*/ 381965 h 1443255"/>
              <a:gd name="connsiteX3" fmla="*/ 1266233 w 2666285"/>
              <a:gd name="connsiteY3" fmla="*/ 0 h 1443255"/>
              <a:gd name="connsiteX4" fmla="*/ 1856541 w 2666285"/>
              <a:gd name="connsiteY4" fmla="*/ 381965 h 1443255"/>
              <a:gd name="connsiteX5" fmla="*/ 1358830 w 2666285"/>
              <a:gd name="connsiteY5" fmla="*/ 416689 h 1443255"/>
              <a:gd name="connsiteX6" fmla="*/ 2655195 w 2666285"/>
              <a:gd name="connsiteY6" fmla="*/ 1261641 h 1443255"/>
              <a:gd name="connsiteX7" fmla="*/ 1949139 w 2666285"/>
              <a:gd name="connsiteY7" fmla="*/ 1296365 h 1443255"/>
              <a:gd name="connsiteX8" fmla="*/ 1324106 w 2666285"/>
              <a:gd name="connsiteY8" fmla="*/ 613459 h 1443255"/>
              <a:gd name="connsiteX9" fmla="*/ 1578749 w 2666285"/>
              <a:gd name="connsiteY9" fmla="*/ 1354238 h 1443255"/>
              <a:gd name="connsiteX10" fmla="*/ 988440 w 2666285"/>
              <a:gd name="connsiteY10" fmla="*/ 1354238 h 1443255"/>
              <a:gd name="connsiteX11" fmla="*/ 1138911 w 2666285"/>
              <a:gd name="connsiteY11" fmla="*/ 671332 h 1443255"/>
              <a:gd name="connsiteX12" fmla="*/ 374982 w 2666285"/>
              <a:gd name="connsiteY12" fmla="*/ 1365813 h 1443255"/>
              <a:gd name="connsiteX13" fmla="*/ 27741 w 2666285"/>
              <a:gd name="connsiteY13" fmla="*/ 1319514 h 1443255"/>
              <a:gd name="connsiteX0" fmla="*/ 27741 w 2666285"/>
              <a:gd name="connsiteY0" fmla="*/ 1319514 h 1443255"/>
              <a:gd name="connsiteX1" fmla="*/ 1081038 w 2666285"/>
              <a:gd name="connsiteY1" fmla="*/ 520861 h 1443255"/>
              <a:gd name="connsiteX2" fmla="*/ 733797 w 2666285"/>
              <a:gd name="connsiteY2" fmla="*/ 381965 h 1443255"/>
              <a:gd name="connsiteX3" fmla="*/ 1266233 w 2666285"/>
              <a:gd name="connsiteY3" fmla="*/ 0 h 1443255"/>
              <a:gd name="connsiteX4" fmla="*/ 1856541 w 2666285"/>
              <a:gd name="connsiteY4" fmla="*/ 381965 h 1443255"/>
              <a:gd name="connsiteX5" fmla="*/ 1358830 w 2666285"/>
              <a:gd name="connsiteY5" fmla="*/ 416689 h 1443255"/>
              <a:gd name="connsiteX6" fmla="*/ 2655195 w 2666285"/>
              <a:gd name="connsiteY6" fmla="*/ 1261641 h 1443255"/>
              <a:gd name="connsiteX7" fmla="*/ 1949139 w 2666285"/>
              <a:gd name="connsiteY7" fmla="*/ 1296365 h 1443255"/>
              <a:gd name="connsiteX8" fmla="*/ 1324106 w 2666285"/>
              <a:gd name="connsiteY8" fmla="*/ 613459 h 1443255"/>
              <a:gd name="connsiteX9" fmla="*/ 1578749 w 2666285"/>
              <a:gd name="connsiteY9" fmla="*/ 1354238 h 1443255"/>
              <a:gd name="connsiteX10" fmla="*/ 988440 w 2666285"/>
              <a:gd name="connsiteY10" fmla="*/ 1354238 h 1443255"/>
              <a:gd name="connsiteX11" fmla="*/ 1138911 w 2666285"/>
              <a:gd name="connsiteY11" fmla="*/ 671332 h 1443255"/>
              <a:gd name="connsiteX12" fmla="*/ 374982 w 2666285"/>
              <a:gd name="connsiteY12" fmla="*/ 1365813 h 1443255"/>
              <a:gd name="connsiteX13" fmla="*/ 27741 w 2666285"/>
              <a:gd name="connsiteY13" fmla="*/ 1319514 h 1443255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416689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7093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8998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89989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61414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61414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2447 w 2670991"/>
              <a:gd name="connsiteY0" fmla="*/ 1319514 h 1445131"/>
              <a:gd name="connsiteX1" fmla="*/ 1166767 w 2670991"/>
              <a:gd name="connsiteY1" fmla="*/ 381965 h 1445131"/>
              <a:gd name="connsiteX2" fmla="*/ 738503 w 2670991"/>
              <a:gd name="connsiteY2" fmla="*/ 381965 h 1445131"/>
              <a:gd name="connsiteX3" fmla="*/ 1261414 w 2670991"/>
              <a:gd name="connsiteY3" fmla="*/ 0 h 1445131"/>
              <a:gd name="connsiteX4" fmla="*/ 1861247 w 2670991"/>
              <a:gd name="connsiteY4" fmla="*/ 381965 h 1445131"/>
              <a:gd name="connsiteX5" fmla="*/ 1363536 w 2670991"/>
              <a:gd name="connsiteY5" fmla="*/ 358816 h 1445131"/>
              <a:gd name="connsiteX6" fmla="*/ 2659901 w 2670991"/>
              <a:gd name="connsiteY6" fmla="*/ 1261641 h 1445131"/>
              <a:gd name="connsiteX7" fmla="*/ 1953845 w 2670991"/>
              <a:gd name="connsiteY7" fmla="*/ 1296365 h 1445131"/>
              <a:gd name="connsiteX8" fmla="*/ 1328812 w 2670991"/>
              <a:gd name="connsiteY8" fmla="*/ 613459 h 1445131"/>
              <a:gd name="connsiteX9" fmla="*/ 1583455 w 2670991"/>
              <a:gd name="connsiteY9" fmla="*/ 1354238 h 1445131"/>
              <a:gd name="connsiteX10" fmla="*/ 993146 w 2670991"/>
              <a:gd name="connsiteY10" fmla="*/ 1354238 h 1445131"/>
              <a:gd name="connsiteX11" fmla="*/ 1143617 w 2670991"/>
              <a:gd name="connsiteY11" fmla="*/ 671332 h 1445131"/>
              <a:gd name="connsiteX12" fmla="*/ 379688 w 2670991"/>
              <a:gd name="connsiteY12" fmla="*/ 1365813 h 1445131"/>
              <a:gd name="connsiteX13" fmla="*/ 32447 w 2670991"/>
              <a:gd name="connsiteY13" fmla="*/ 1319514 h 1445131"/>
              <a:gd name="connsiteX0" fmla="*/ 33212 w 2671756"/>
              <a:gd name="connsiteY0" fmla="*/ 1319514 h 1455729"/>
              <a:gd name="connsiteX1" fmla="*/ 1167532 w 2671756"/>
              <a:gd name="connsiteY1" fmla="*/ 381965 h 1455729"/>
              <a:gd name="connsiteX2" fmla="*/ 739268 w 2671756"/>
              <a:gd name="connsiteY2" fmla="*/ 381965 h 1455729"/>
              <a:gd name="connsiteX3" fmla="*/ 1262179 w 2671756"/>
              <a:gd name="connsiteY3" fmla="*/ 0 h 1455729"/>
              <a:gd name="connsiteX4" fmla="*/ 1862012 w 2671756"/>
              <a:gd name="connsiteY4" fmla="*/ 381965 h 1455729"/>
              <a:gd name="connsiteX5" fmla="*/ 1364301 w 2671756"/>
              <a:gd name="connsiteY5" fmla="*/ 358816 h 1455729"/>
              <a:gd name="connsiteX6" fmla="*/ 2660666 w 2671756"/>
              <a:gd name="connsiteY6" fmla="*/ 1261641 h 1455729"/>
              <a:gd name="connsiteX7" fmla="*/ 1954610 w 2671756"/>
              <a:gd name="connsiteY7" fmla="*/ 1296365 h 1455729"/>
              <a:gd name="connsiteX8" fmla="*/ 1329577 w 2671756"/>
              <a:gd name="connsiteY8" fmla="*/ 613459 h 1455729"/>
              <a:gd name="connsiteX9" fmla="*/ 1584220 w 2671756"/>
              <a:gd name="connsiteY9" fmla="*/ 1354238 h 1455729"/>
              <a:gd name="connsiteX10" fmla="*/ 993911 w 2671756"/>
              <a:gd name="connsiteY10" fmla="*/ 1354238 h 1455729"/>
              <a:gd name="connsiteX11" fmla="*/ 1182482 w 2671756"/>
              <a:gd name="connsiteY11" fmla="*/ 514170 h 1455729"/>
              <a:gd name="connsiteX12" fmla="*/ 380453 w 2671756"/>
              <a:gd name="connsiteY12" fmla="*/ 1365813 h 1455729"/>
              <a:gd name="connsiteX13" fmla="*/ 33212 w 2671756"/>
              <a:gd name="connsiteY13" fmla="*/ 1319514 h 1455729"/>
              <a:gd name="connsiteX0" fmla="*/ 33212 w 2671756"/>
              <a:gd name="connsiteY0" fmla="*/ 1319514 h 1455729"/>
              <a:gd name="connsiteX1" fmla="*/ 1167532 w 2671756"/>
              <a:gd name="connsiteY1" fmla="*/ 381965 h 1455729"/>
              <a:gd name="connsiteX2" fmla="*/ 739268 w 2671756"/>
              <a:gd name="connsiteY2" fmla="*/ 381965 h 1455729"/>
              <a:gd name="connsiteX3" fmla="*/ 1262179 w 2671756"/>
              <a:gd name="connsiteY3" fmla="*/ 0 h 1455729"/>
              <a:gd name="connsiteX4" fmla="*/ 1862012 w 2671756"/>
              <a:gd name="connsiteY4" fmla="*/ 381965 h 1455729"/>
              <a:gd name="connsiteX5" fmla="*/ 1364301 w 2671756"/>
              <a:gd name="connsiteY5" fmla="*/ 358816 h 1455729"/>
              <a:gd name="connsiteX6" fmla="*/ 2660666 w 2671756"/>
              <a:gd name="connsiteY6" fmla="*/ 1261641 h 1455729"/>
              <a:gd name="connsiteX7" fmla="*/ 1954610 w 2671756"/>
              <a:gd name="connsiteY7" fmla="*/ 1296365 h 1455729"/>
              <a:gd name="connsiteX8" fmla="*/ 1329577 w 2671756"/>
              <a:gd name="connsiteY8" fmla="*/ 613459 h 1455729"/>
              <a:gd name="connsiteX9" fmla="*/ 1584220 w 2671756"/>
              <a:gd name="connsiteY9" fmla="*/ 1354238 h 1455729"/>
              <a:gd name="connsiteX10" fmla="*/ 993911 w 2671756"/>
              <a:gd name="connsiteY10" fmla="*/ 1354238 h 1455729"/>
              <a:gd name="connsiteX11" fmla="*/ 1182482 w 2671756"/>
              <a:gd name="connsiteY11" fmla="*/ 514170 h 1455729"/>
              <a:gd name="connsiteX12" fmla="*/ 380453 w 2671756"/>
              <a:gd name="connsiteY12" fmla="*/ 1365813 h 1455729"/>
              <a:gd name="connsiteX13" fmla="*/ 33212 w 2671756"/>
              <a:gd name="connsiteY13" fmla="*/ 1319514 h 1455729"/>
              <a:gd name="connsiteX0" fmla="*/ 33212 w 2671704"/>
              <a:gd name="connsiteY0" fmla="*/ 1319514 h 1460186"/>
              <a:gd name="connsiteX1" fmla="*/ 1167532 w 2671704"/>
              <a:gd name="connsiteY1" fmla="*/ 381965 h 1460186"/>
              <a:gd name="connsiteX2" fmla="*/ 739268 w 2671704"/>
              <a:gd name="connsiteY2" fmla="*/ 381965 h 1460186"/>
              <a:gd name="connsiteX3" fmla="*/ 1262179 w 2671704"/>
              <a:gd name="connsiteY3" fmla="*/ 0 h 1460186"/>
              <a:gd name="connsiteX4" fmla="*/ 1862012 w 2671704"/>
              <a:gd name="connsiteY4" fmla="*/ 381965 h 1460186"/>
              <a:gd name="connsiteX5" fmla="*/ 1364301 w 2671704"/>
              <a:gd name="connsiteY5" fmla="*/ 358816 h 1460186"/>
              <a:gd name="connsiteX6" fmla="*/ 2660666 w 2671704"/>
              <a:gd name="connsiteY6" fmla="*/ 1261641 h 1460186"/>
              <a:gd name="connsiteX7" fmla="*/ 1954610 w 2671704"/>
              <a:gd name="connsiteY7" fmla="*/ 1296365 h 1460186"/>
              <a:gd name="connsiteX8" fmla="*/ 1348627 w 2671704"/>
              <a:gd name="connsiteY8" fmla="*/ 499159 h 1460186"/>
              <a:gd name="connsiteX9" fmla="*/ 1584220 w 2671704"/>
              <a:gd name="connsiteY9" fmla="*/ 1354238 h 1460186"/>
              <a:gd name="connsiteX10" fmla="*/ 993911 w 2671704"/>
              <a:gd name="connsiteY10" fmla="*/ 1354238 h 1460186"/>
              <a:gd name="connsiteX11" fmla="*/ 1182482 w 2671704"/>
              <a:gd name="connsiteY11" fmla="*/ 514170 h 1460186"/>
              <a:gd name="connsiteX12" fmla="*/ 380453 w 2671704"/>
              <a:gd name="connsiteY12" fmla="*/ 1365813 h 1460186"/>
              <a:gd name="connsiteX13" fmla="*/ 33212 w 2671704"/>
              <a:gd name="connsiteY13" fmla="*/ 1319514 h 1460186"/>
              <a:gd name="connsiteX0" fmla="*/ 33212 w 2671704"/>
              <a:gd name="connsiteY0" fmla="*/ 1319514 h 1460186"/>
              <a:gd name="connsiteX1" fmla="*/ 1167532 w 2671704"/>
              <a:gd name="connsiteY1" fmla="*/ 381965 h 1460186"/>
              <a:gd name="connsiteX2" fmla="*/ 739268 w 2671704"/>
              <a:gd name="connsiteY2" fmla="*/ 381965 h 1460186"/>
              <a:gd name="connsiteX3" fmla="*/ 1262179 w 2671704"/>
              <a:gd name="connsiteY3" fmla="*/ 0 h 1460186"/>
              <a:gd name="connsiteX4" fmla="*/ 1862012 w 2671704"/>
              <a:gd name="connsiteY4" fmla="*/ 381965 h 1460186"/>
              <a:gd name="connsiteX5" fmla="*/ 1364301 w 2671704"/>
              <a:gd name="connsiteY5" fmla="*/ 358816 h 1460186"/>
              <a:gd name="connsiteX6" fmla="*/ 2660666 w 2671704"/>
              <a:gd name="connsiteY6" fmla="*/ 1261641 h 1460186"/>
              <a:gd name="connsiteX7" fmla="*/ 1954610 w 2671704"/>
              <a:gd name="connsiteY7" fmla="*/ 1296365 h 1460186"/>
              <a:gd name="connsiteX8" fmla="*/ 1348627 w 2671704"/>
              <a:gd name="connsiteY8" fmla="*/ 499159 h 1460186"/>
              <a:gd name="connsiteX9" fmla="*/ 1584220 w 2671704"/>
              <a:gd name="connsiteY9" fmla="*/ 1354238 h 1460186"/>
              <a:gd name="connsiteX10" fmla="*/ 993911 w 2671704"/>
              <a:gd name="connsiteY10" fmla="*/ 1354238 h 1460186"/>
              <a:gd name="connsiteX11" fmla="*/ 1182482 w 2671704"/>
              <a:gd name="connsiteY11" fmla="*/ 514170 h 1460186"/>
              <a:gd name="connsiteX12" fmla="*/ 380453 w 2671704"/>
              <a:gd name="connsiteY12" fmla="*/ 1365813 h 1460186"/>
              <a:gd name="connsiteX13" fmla="*/ 33212 w 2671704"/>
              <a:gd name="connsiteY13" fmla="*/ 1319514 h 1460186"/>
              <a:gd name="connsiteX0" fmla="*/ 33212 w 2671704"/>
              <a:gd name="connsiteY0" fmla="*/ 1319514 h 1460186"/>
              <a:gd name="connsiteX1" fmla="*/ 1167532 w 2671704"/>
              <a:gd name="connsiteY1" fmla="*/ 381965 h 1460186"/>
              <a:gd name="connsiteX2" fmla="*/ 739268 w 2671704"/>
              <a:gd name="connsiteY2" fmla="*/ 381965 h 1460186"/>
              <a:gd name="connsiteX3" fmla="*/ 1262179 w 2671704"/>
              <a:gd name="connsiteY3" fmla="*/ 0 h 1460186"/>
              <a:gd name="connsiteX4" fmla="*/ 1862012 w 2671704"/>
              <a:gd name="connsiteY4" fmla="*/ 381965 h 1460186"/>
              <a:gd name="connsiteX5" fmla="*/ 1364301 w 2671704"/>
              <a:gd name="connsiteY5" fmla="*/ 358816 h 1460186"/>
              <a:gd name="connsiteX6" fmla="*/ 2660666 w 2671704"/>
              <a:gd name="connsiteY6" fmla="*/ 1261641 h 1460186"/>
              <a:gd name="connsiteX7" fmla="*/ 1954610 w 2671704"/>
              <a:gd name="connsiteY7" fmla="*/ 1296365 h 1460186"/>
              <a:gd name="connsiteX8" fmla="*/ 1348627 w 2671704"/>
              <a:gd name="connsiteY8" fmla="*/ 499159 h 1460186"/>
              <a:gd name="connsiteX9" fmla="*/ 1584220 w 2671704"/>
              <a:gd name="connsiteY9" fmla="*/ 1354238 h 1460186"/>
              <a:gd name="connsiteX10" fmla="*/ 993911 w 2671704"/>
              <a:gd name="connsiteY10" fmla="*/ 1354238 h 1460186"/>
              <a:gd name="connsiteX11" fmla="*/ 1182482 w 2671704"/>
              <a:gd name="connsiteY11" fmla="*/ 514170 h 1460186"/>
              <a:gd name="connsiteX12" fmla="*/ 380453 w 2671704"/>
              <a:gd name="connsiteY12" fmla="*/ 1365813 h 1460186"/>
              <a:gd name="connsiteX13" fmla="*/ 33212 w 2671704"/>
              <a:gd name="connsiteY13" fmla="*/ 1319514 h 1460186"/>
              <a:gd name="connsiteX0" fmla="*/ 33212 w 2671704"/>
              <a:gd name="connsiteY0" fmla="*/ 1319514 h 1460186"/>
              <a:gd name="connsiteX1" fmla="*/ 1167532 w 2671704"/>
              <a:gd name="connsiteY1" fmla="*/ 381965 h 1460186"/>
              <a:gd name="connsiteX2" fmla="*/ 739268 w 2671704"/>
              <a:gd name="connsiteY2" fmla="*/ 381965 h 1460186"/>
              <a:gd name="connsiteX3" fmla="*/ 1262179 w 2671704"/>
              <a:gd name="connsiteY3" fmla="*/ 0 h 1460186"/>
              <a:gd name="connsiteX4" fmla="*/ 1862012 w 2671704"/>
              <a:gd name="connsiteY4" fmla="*/ 381965 h 1460186"/>
              <a:gd name="connsiteX5" fmla="*/ 1364301 w 2671704"/>
              <a:gd name="connsiteY5" fmla="*/ 358816 h 1460186"/>
              <a:gd name="connsiteX6" fmla="*/ 2660666 w 2671704"/>
              <a:gd name="connsiteY6" fmla="*/ 1261641 h 1460186"/>
              <a:gd name="connsiteX7" fmla="*/ 1954610 w 2671704"/>
              <a:gd name="connsiteY7" fmla="*/ 1296365 h 1460186"/>
              <a:gd name="connsiteX8" fmla="*/ 1348627 w 2671704"/>
              <a:gd name="connsiteY8" fmla="*/ 499159 h 1460186"/>
              <a:gd name="connsiteX9" fmla="*/ 1584220 w 2671704"/>
              <a:gd name="connsiteY9" fmla="*/ 1354238 h 1460186"/>
              <a:gd name="connsiteX10" fmla="*/ 993911 w 2671704"/>
              <a:gd name="connsiteY10" fmla="*/ 1354238 h 1460186"/>
              <a:gd name="connsiteX11" fmla="*/ 1182482 w 2671704"/>
              <a:gd name="connsiteY11" fmla="*/ 514170 h 1460186"/>
              <a:gd name="connsiteX12" fmla="*/ 380453 w 2671704"/>
              <a:gd name="connsiteY12" fmla="*/ 1365813 h 1460186"/>
              <a:gd name="connsiteX13" fmla="*/ 33212 w 2671704"/>
              <a:gd name="connsiteY13" fmla="*/ 1319514 h 1460186"/>
              <a:gd name="connsiteX0" fmla="*/ 33212 w 2671577"/>
              <a:gd name="connsiteY0" fmla="*/ 1319514 h 1459589"/>
              <a:gd name="connsiteX1" fmla="*/ 1167532 w 2671577"/>
              <a:gd name="connsiteY1" fmla="*/ 381965 h 1459589"/>
              <a:gd name="connsiteX2" fmla="*/ 739268 w 2671577"/>
              <a:gd name="connsiteY2" fmla="*/ 381965 h 1459589"/>
              <a:gd name="connsiteX3" fmla="*/ 1262179 w 2671577"/>
              <a:gd name="connsiteY3" fmla="*/ 0 h 1459589"/>
              <a:gd name="connsiteX4" fmla="*/ 1862012 w 2671577"/>
              <a:gd name="connsiteY4" fmla="*/ 381965 h 1459589"/>
              <a:gd name="connsiteX5" fmla="*/ 1364301 w 2671577"/>
              <a:gd name="connsiteY5" fmla="*/ 358816 h 1459589"/>
              <a:gd name="connsiteX6" fmla="*/ 2660666 w 2671577"/>
              <a:gd name="connsiteY6" fmla="*/ 1261641 h 1459589"/>
              <a:gd name="connsiteX7" fmla="*/ 1954610 w 2671577"/>
              <a:gd name="connsiteY7" fmla="*/ 1296365 h 1459589"/>
              <a:gd name="connsiteX8" fmla="*/ 1396252 w 2671577"/>
              <a:gd name="connsiteY8" fmla="*/ 508684 h 1459589"/>
              <a:gd name="connsiteX9" fmla="*/ 1584220 w 2671577"/>
              <a:gd name="connsiteY9" fmla="*/ 1354238 h 1459589"/>
              <a:gd name="connsiteX10" fmla="*/ 993911 w 2671577"/>
              <a:gd name="connsiteY10" fmla="*/ 1354238 h 1459589"/>
              <a:gd name="connsiteX11" fmla="*/ 1182482 w 2671577"/>
              <a:gd name="connsiteY11" fmla="*/ 514170 h 1459589"/>
              <a:gd name="connsiteX12" fmla="*/ 380453 w 2671577"/>
              <a:gd name="connsiteY12" fmla="*/ 1365813 h 1459589"/>
              <a:gd name="connsiteX13" fmla="*/ 33212 w 2671577"/>
              <a:gd name="connsiteY13" fmla="*/ 1319514 h 1459589"/>
              <a:gd name="connsiteX0" fmla="*/ 33704 w 2672069"/>
              <a:gd name="connsiteY0" fmla="*/ 1319514 h 1460483"/>
              <a:gd name="connsiteX1" fmla="*/ 1168024 w 2672069"/>
              <a:gd name="connsiteY1" fmla="*/ 381965 h 1460483"/>
              <a:gd name="connsiteX2" fmla="*/ 739760 w 2672069"/>
              <a:gd name="connsiteY2" fmla="*/ 381965 h 1460483"/>
              <a:gd name="connsiteX3" fmla="*/ 1262671 w 2672069"/>
              <a:gd name="connsiteY3" fmla="*/ 0 h 1460483"/>
              <a:gd name="connsiteX4" fmla="*/ 1862504 w 2672069"/>
              <a:gd name="connsiteY4" fmla="*/ 381965 h 1460483"/>
              <a:gd name="connsiteX5" fmla="*/ 1364793 w 2672069"/>
              <a:gd name="connsiteY5" fmla="*/ 358816 h 1460483"/>
              <a:gd name="connsiteX6" fmla="*/ 2661158 w 2672069"/>
              <a:gd name="connsiteY6" fmla="*/ 1261641 h 1460483"/>
              <a:gd name="connsiteX7" fmla="*/ 1955102 w 2672069"/>
              <a:gd name="connsiteY7" fmla="*/ 1296365 h 1460483"/>
              <a:gd name="connsiteX8" fmla="*/ 1396744 w 2672069"/>
              <a:gd name="connsiteY8" fmla="*/ 508684 h 1460483"/>
              <a:gd name="connsiteX9" fmla="*/ 1584712 w 2672069"/>
              <a:gd name="connsiteY9" fmla="*/ 1354238 h 1460483"/>
              <a:gd name="connsiteX10" fmla="*/ 994403 w 2672069"/>
              <a:gd name="connsiteY10" fmla="*/ 1354238 h 1460483"/>
              <a:gd name="connsiteX11" fmla="*/ 1221074 w 2672069"/>
              <a:gd name="connsiteY11" fmla="*/ 499882 h 1460483"/>
              <a:gd name="connsiteX12" fmla="*/ 380945 w 2672069"/>
              <a:gd name="connsiteY12" fmla="*/ 1365813 h 1460483"/>
              <a:gd name="connsiteX13" fmla="*/ 33704 w 2672069"/>
              <a:gd name="connsiteY13" fmla="*/ 1319514 h 1460483"/>
              <a:gd name="connsiteX0" fmla="*/ 33704 w 2672196"/>
              <a:gd name="connsiteY0" fmla="*/ 1319514 h 1461674"/>
              <a:gd name="connsiteX1" fmla="*/ 1168024 w 2672196"/>
              <a:gd name="connsiteY1" fmla="*/ 381965 h 1461674"/>
              <a:gd name="connsiteX2" fmla="*/ 739760 w 2672196"/>
              <a:gd name="connsiteY2" fmla="*/ 381965 h 1461674"/>
              <a:gd name="connsiteX3" fmla="*/ 1262671 w 2672196"/>
              <a:gd name="connsiteY3" fmla="*/ 0 h 1461674"/>
              <a:gd name="connsiteX4" fmla="*/ 1862504 w 2672196"/>
              <a:gd name="connsiteY4" fmla="*/ 381965 h 1461674"/>
              <a:gd name="connsiteX5" fmla="*/ 1364793 w 2672196"/>
              <a:gd name="connsiteY5" fmla="*/ 358816 h 1461674"/>
              <a:gd name="connsiteX6" fmla="*/ 2661158 w 2672196"/>
              <a:gd name="connsiteY6" fmla="*/ 1261641 h 1461674"/>
              <a:gd name="connsiteX7" fmla="*/ 1955102 w 2672196"/>
              <a:gd name="connsiteY7" fmla="*/ 1296365 h 1461674"/>
              <a:gd name="connsiteX8" fmla="*/ 1349119 w 2672196"/>
              <a:gd name="connsiteY8" fmla="*/ 489634 h 1461674"/>
              <a:gd name="connsiteX9" fmla="*/ 1584712 w 2672196"/>
              <a:gd name="connsiteY9" fmla="*/ 1354238 h 1461674"/>
              <a:gd name="connsiteX10" fmla="*/ 994403 w 2672196"/>
              <a:gd name="connsiteY10" fmla="*/ 1354238 h 1461674"/>
              <a:gd name="connsiteX11" fmla="*/ 1221074 w 2672196"/>
              <a:gd name="connsiteY11" fmla="*/ 499882 h 1461674"/>
              <a:gd name="connsiteX12" fmla="*/ 380945 w 2672196"/>
              <a:gd name="connsiteY12" fmla="*/ 1365813 h 1461674"/>
              <a:gd name="connsiteX13" fmla="*/ 33704 w 2672196"/>
              <a:gd name="connsiteY13" fmla="*/ 1319514 h 1461674"/>
              <a:gd name="connsiteX0" fmla="*/ 33704 w 2678718"/>
              <a:gd name="connsiteY0" fmla="*/ 1319514 h 1461674"/>
              <a:gd name="connsiteX1" fmla="*/ 1168024 w 2678718"/>
              <a:gd name="connsiteY1" fmla="*/ 381965 h 1461674"/>
              <a:gd name="connsiteX2" fmla="*/ 739760 w 2678718"/>
              <a:gd name="connsiteY2" fmla="*/ 381965 h 1461674"/>
              <a:gd name="connsiteX3" fmla="*/ 1262671 w 2678718"/>
              <a:gd name="connsiteY3" fmla="*/ 0 h 1461674"/>
              <a:gd name="connsiteX4" fmla="*/ 1862504 w 2678718"/>
              <a:gd name="connsiteY4" fmla="*/ 381965 h 1461674"/>
              <a:gd name="connsiteX5" fmla="*/ 1364793 w 2678718"/>
              <a:gd name="connsiteY5" fmla="*/ 358816 h 1461674"/>
              <a:gd name="connsiteX6" fmla="*/ 2661158 w 2678718"/>
              <a:gd name="connsiteY6" fmla="*/ 1261641 h 1461674"/>
              <a:gd name="connsiteX7" fmla="*/ 2064640 w 2678718"/>
              <a:gd name="connsiteY7" fmla="*/ 1286840 h 1461674"/>
              <a:gd name="connsiteX8" fmla="*/ 1349119 w 2678718"/>
              <a:gd name="connsiteY8" fmla="*/ 489634 h 1461674"/>
              <a:gd name="connsiteX9" fmla="*/ 1584712 w 2678718"/>
              <a:gd name="connsiteY9" fmla="*/ 1354238 h 1461674"/>
              <a:gd name="connsiteX10" fmla="*/ 994403 w 2678718"/>
              <a:gd name="connsiteY10" fmla="*/ 1354238 h 1461674"/>
              <a:gd name="connsiteX11" fmla="*/ 1221074 w 2678718"/>
              <a:gd name="connsiteY11" fmla="*/ 499882 h 1461674"/>
              <a:gd name="connsiteX12" fmla="*/ 380945 w 2678718"/>
              <a:gd name="connsiteY12" fmla="*/ 1365813 h 1461674"/>
              <a:gd name="connsiteX13" fmla="*/ 33704 w 2678718"/>
              <a:gd name="connsiteY13" fmla="*/ 1319514 h 1461674"/>
              <a:gd name="connsiteX0" fmla="*/ 33704 w 2678382"/>
              <a:gd name="connsiteY0" fmla="*/ 1319514 h 1461674"/>
              <a:gd name="connsiteX1" fmla="*/ 1168024 w 2678382"/>
              <a:gd name="connsiteY1" fmla="*/ 381965 h 1461674"/>
              <a:gd name="connsiteX2" fmla="*/ 739760 w 2678382"/>
              <a:gd name="connsiteY2" fmla="*/ 381965 h 1461674"/>
              <a:gd name="connsiteX3" fmla="*/ 1262671 w 2678382"/>
              <a:gd name="connsiteY3" fmla="*/ 0 h 1461674"/>
              <a:gd name="connsiteX4" fmla="*/ 1862504 w 2678382"/>
              <a:gd name="connsiteY4" fmla="*/ 381965 h 1461674"/>
              <a:gd name="connsiteX5" fmla="*/ 1364793 w 2678382"/>
              <a:gd name="connsiteY5" fmla="*/ 358816 h 1461674"/>
              <a:gd name="connsiteX6" fmla="*/ 2661158 w 2678382"/>
              <a:gd name="connsiteY6" fmla="*/ 1261641 h 1461674"/>
              <a:gd name="connsiteX7" fmla="*/ 2059877 w 2678382"/>
              <a:gd name="connsiteY7" fmla="*/ 1282078 h 1461674"/>
              <a:gd name="connsiteX8" fmla="*/ 1349119 w 2678382"/>
              <a:gd name="connsiteY8" fmla="*/ 489634 h 1461674"/>
              <a:gd name="connsiteX9" fmla="*/ 1584712 w 2678382"/>
              <a:gd name="connsiteY9" fmla="*/ 1354238 h 1461674"/>
              <a:gd name="connsiteX10" fmla="*/ 994403 w 2678382"/>
              <a:gd name="connsiteY10" fmla="*/ 1354238 h 1461674"/>
              <a:gd name="connsiteX11" fmla="*/ 1221074 w 2678382"/>
              <a:gd name="connsiteY11" fmla="*/ 499882 h 1461674"/>
              <a:gd name="connsiteX12" fmla="*/ 380945 w 2678382"/>
              <a:gd name="connsiteY12" fmla="*/ 1365813 h 1461674"/>
              <a:gd name="connsiteX13" fmla="*/ 33704 w 2678382"/>
              <a:gd name="connsiteY13" fmla="*/ 1319514 h 1461674"/>
              <a:gd name="connsiteX0" fmla="*/ 31486 w 2709501"/>
              <a:gd name="connsiteY0" fmla="*/ 1262364 h 1461674"/>
              <a:gd name="connsiteX1" fmla="*/ 1199143 w 2709501"/>
              <a:gd name="connsiteY1" fmla="*/ 381965 h 1461674"/>
              <a:gd name="connsiteX2" fmla="*/ 770879 w 2709501"/>
              <a:gd name="connsiteY2" fmla="*/ 381965 h 1461674"/>
              <a:gd name="connsiteX3" fmla="*/ 1293790 w 2709501"/>
              <a:gd name="connsiteY3" fmla="*/ 0 h 1461674"/>
              <a:gd name="connsiteX4" fmla="*/ 1893623 w 2709501"/>
              <a:gd name="connsiteY4" fmla="*/ 381965 h 1461674"/>
              <a:gd name="connsiteX5" fmla="*/ 1395912 w 2709501"/>
              <a:gd name="connsiteY5" fmla="*/ 358816 h 1461674"/>
              <a:gd name="connsiteX6" fmla="*/ 2692277 w 2709501"/>
              <a:gd name="connsiteY6" fmla="*/ 1261641 h 1461674"/>
              <a:gd name="connsiteX7" fmla="*/ 2090996 w 2709501"/>
              <a:gd name="connsiteY7" fmla="*/ 1282078 h 1461674"/>
              <a:gd name="connsiteX8" fmla="*/ 1380238 w 2709501"/>
              <a:gd name="connsiteY8" fmla="*/ 489634 h 1461674"/>
              <a:gd name="connsiteX9" fmla="*/ 1615831 w 2709501"/>
              <a:gd name="connsiteY9" fmla="*/ 1354238 h 1461674"/>
              <a:gd name="connsiteX10" fmla="*/ 1025522 w 2709501"/>
              <a:gd name="connsiteY10" fmla="*/ 1354238 h 1461674"/>
              <a:gd name="connsiteX11" fmla="*/ 1252193 w 2709501"/>
              <a:gd name="connsiteY11" fmla="*/ 499882 h 1461674"/>
              <a:gd name="connsiteX12" fmla="*/ 412064 w 2709501"/>
              <a:gd name="connsiteY12" fmla="*/ 1365813 h 1461674"/>
              <a:gd name="connsiteX13" fmla="*/ 31486 w 2709501"/>
              <a:gd name="connsiteY13" fmla="*/ 1262364 h 1461674"/>
              <a:gd name="connsiteX0" fmla="*/ 31486 w 2709501"/>
              <a:gd name="connsiteY0" fmla="*/ 1262364 h 1461674"/>
              <a:gd name="connsiteX1" fmla="*/ 1199143 w 2709501"/>
              <a:gd name="connsiteY1" fmla="*/ 381965 h 1461674"/>
              <a:gd name="connsiteX2" fmla="*/ 770879 w 2709501"/>
              <a:gd name="connsiteY2" fmla="*/ 381965 h 1461674"/>
              <a:gd name="connsiteX3" fmla="*/ 1293790 w 2709501"/>
              <a:gd name="connsiteY3" fmla="*/ 0 h 1461674"/>
              <a:gd name="connsiteX4" fmla="*/ 1845998 w 2709501"/>
              <a:gd name="connsiteY4" fmla="*/ 348628 h 1461674"/>
              <a:gd name="connsiteX5" fmla="*/ 1395912 w 2709501"/>
              <a:gd name="connsiteY5" fmla="*/ 358816 h 1461674"/>
              <a:gd name="connsiteX6" fmla="*/ 2692277 w 2709501"/>
              <a:gd name="connsiteY6" fmla="*/ 1261641 h 1461674"/>
              <a:gd name="connsiteX7" fmla="*/ 2090996 w 2709501"/>
              <a:gd name="connsiteY7" fmla="*/ 1282078 h 1461674"/>
              <a:gd name="connsiteX8" fmla="*/ 1380238 w 2709501"/>
              <a:gd name="connsiteY8" fmla="*/ 489634 h 1461674"/>
              <a:gd name="connsiteX9" fmla="*/ 1615831 w 2709501"/>
              <a:gd name="connsiteY9" fmla="*/ 1354238 h 1461674"/>
              <a:gd name="connsiteX10" fmla="*/ 1025522 w 2709501"/>
              <a:gd name="connsiteY10" fmla="*/ 1354238 h 1461674"/>
              <a:gd name="connsiteX11" fmla="*/ 1252193 w 2709501"/>
              <a:gd name="connsiteY11" fmla="*/ 499882 h 1461674"/>
              <a:gd name="connsiteX12" fmla="*/ 412064 w 2709501"/>
              <a:gd name="connsiteY12" fmla="*/ 1365813 h 1461674"/>
              <a:gd name="connsiteX13" fmla="*/ 31486 w 2709501"/>
              <a:gd name="connsiteY13" fmla="*/ 1262364 h 1461674"/>
              <a:gd name="connsiteX0" fmla="*/ 31486 w 2709501"/>
              <a:gd name="connsiteY0" fmla="*/ 1262364 h 1461674"/>
              <a:gd name="connsiteX1" fmla="*/ 1199143 w 2709501"/>
              <a:gd name="connsiteY1" fmla="*/ 381965 h 1461674"/>
              <a:gd name="connsiteX2" fmla="*/ 770879 w 2709501"/>
              <a:gd name="connsiteY2" fmla="*/ 381965 h 1461674"/>
              <a:gd name="connsiteX3" fmla="*/ 1293790 w 2709501"/>
              <a:gd name="connsiteY3" fmla="*/ 0 h 1461674"/>
              <a:gd name="connsiteX4" fmla="*/ 1845998 w 2709501"/>
              <a:gd name="connsiteY4" fmla="*/ 348628 h 1461674"/>
              <a:gd name="connsiteX5" fmla="*/ 1395912 w 2709501"/>
              <a:gd name="connsiteY5" fmla="*/ 358816 h 1461674"/>
              <a:gd name="connsiteX6" fmla="*/ 2692277 w 2709501"/>
              <a:gd name="connsiteY6" fmla="*/ 1261641 h 1461674"/>
              <a:gd name="connsiteX7" fmla="*/ 2090996 w 2709501"/>
              <a:gd name="connsiteY7" fmla="*/ 1282078 h 1461674"/>
              <a:gd name="connsiteX8" fmla="*/ 1380238 w 2709501"/>
              <a:gd name="connsiteY8" fmla="*/ 489634 h 1461674"/>
              <a:gd name="connsiteX9" fmla="*/ 1615831 w 2709501"/>
              <a:gd name="connsiteY9" fmla="*/ 1354238 h 1461674"/>
              <a:gd name="connsiteX10" fmla="*/ 1025522 w 2709501"/>
              <a:gd name="connsiteY10" fmla="*/ 1354238 h 1461674"/>
              <a:gd name="connsiteX11" fmla="*/ 1252193 w 2709501"/>
              <a:gd name="connsiteY11" fmla="*/ 499882 h 1461674"/>
              <a:gd name="connsiteX12" fmla="*/ 412064 w 2709501"/>
              <a:gd name="connsiteY12" fmla="*/ 1365813 h 1461674"/>
              <a:gd name="connsiteX13" fmla="*/ 31486 w 2709501"/>
              <a:gd name="connsiteY13" fmla="*/ 1262364 h 1461674"/>
              <a:gd name="connsiteX0" fmla="*/ 31486 w 2709501"/>
              <a:gd name="connsiteY0" fmla="*/ 1262364 h 1461674"/>
              <a:gd name="connsiteX1" fmla="*/ 1199143 w 2709501"/>
              <a:gd name="connsiteY1" fmla="*/ 381965 h 1461674"/>
              <a:gd name="connsiteX2" fmla="*/ 770879 w 2709501"/>
              <a:gd name="connsiteY2" fmla="*/ 381965 h 1461674"/>
              <a:gd name="connsiteX3" fmla="*/ 1293790 w 2709501"/>
              <a:gd name="connsiteY3" fmla="*/ 0 h 1461674"/>
              <a:gd name="connsiteX4" fmla="*/ 1845998 w 2709501"/>
              <a:gd name="connsiteY4" fmla="*/ 348628 h 1461674"/>
              <a:gd name="connsiteX5" fmla="*/ 1395912 w 2709501"/>
              <a:gd name="connsiteY5" fmla="*/ 358816 h 1461674"/>
              <a:gd name="connsiteX6" fmla="*/ 2692277 w 2709501"/>
              <a:gd name="connsiteY6" fmla="*/ 1261641 h 1461674"/>
              <a:gd name="connsiteX7" fmla="*/ 2090996 w 2709501"/>
              <a:gd name="connsiteY7" fmla="*/ 1282078 h 1461674"/>
              <a:gd name="connsiteX8" fmla="*/ 1380238 w 2709501"/>
              <a:gd name="connsiteY8" fmla="*/ 489634 h 1461674"/>
              <a:gd name="connsiteX9" fmla="*/ 1615831 w 2709501"/>
              <a:gd name="connsiteY9" fmla="*/ 1354238 h 1461674"/>
              <a:gd name="connsiteX10" fmla="*/ 1025522 w 2709501"/>
              <a:gd name="connsiteY10" fmla="*/ 1354238 h 1461674"/>
              <a:gd name="connsiteX11" fmla="*/ 1252193 w 2709501"/>
              <a:gd name="connsiteY11" fmla="*/ 499882 h 1461674"/>
              <a:gd name="connsiteX12" fmla="*/ 412064 w 2709501"/>
              <a:gd name="connsiteY12" fmla="*/ 1365813 h 1461674"/>
              <a:gd name="connsiteX13" fmla="*/ 31486 w 2709501"/>
              <a:gd name="connsiteY13" fmla="*/ 1262364 h 1461674"/>
              <a:gd name="connsiteX0" fmla="*/ 31486 w 2709501"/>
              <a:gd name="connsiteY0" fmla="*/ 1262364 h 1461674"/>
              <a:gd name="connsiteX1" fmla="*/ 1199143 w 2709501"/>
              <a:gd name="connsiteY1" fmla="*/ 381965 h 1461674"/>
              <a:gd name="connsiteX2" fmla="*/ 770879 w 2709501"/>
              <a:gd name="connsiteY2" fmla="*/ 381965 h 1461674"/>
              <a:gd name="connsiteX3" fmla="*/ 1293790 w 2709501"/>
              <a:gd name="connsiteY3" fmla="*/ 0 h 1461674"/>
              <a:gd name="connsiteX4" fmla="*/ 1845998 w 2709501"/>
              <a:gd name="connsiteY4" fmla="*/ 348628 h 1461674"/>
              <a:gd name="connsiteX5" fmla="*/ 1395912 w 2709501"/>
              <a:gd name="connsiteY5" fmla="*/ 358816 h 1461674"/>
              <a:gd name="connsiteX6" fmla="*/ 2692277 w 2709501"/>
              <a:gd name="connsiteY6" fmla="*/ 1261641 h 1461674"/>
              <a:gd name="connsiteX7" fmla="*/ 2090996 w 2709501"/>
              <a:gd name="connsiteY7" fmla="*/ 1282078 h 1461674"/>
              <a:gd name="connsiteX8" fmla="*/ 1380238 w 2709501"/>
              <a:gd name="connsiteY8" fmla="*/ 489634 h 1461674"/>
              <a:gd name="connsiteX9" fmla="*/ 1615831 w 2709501"/>
              <a:gd name="connsiteY9" fmla="*/ 1354238 h 1461674"/>
              <a:gd name="connsiteX10" fmla="*/ 1025522 w 2709501"/>
              <a:gd name="connsiteY10" fmla="*/ 1354238 h 1461674"/>
              <a:gd name="connsiteX11" fmla="*/ 1252193 w 2709501"/>
              <a:gd name="connsiteY11" fmla="*/ 499882 h 1461674"/>
              <a:gd name="connsiteX12" fmla="*/ 412064 w 2709501"/>
              <a:gd name="connsiteY12" fmla="*/ 1365813 h 1461674"/>
              <a:gd name="connsiteX13" fmla="*/ 31486 w 2709501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771984 w 2710606"/>
              <a:gd name="connsiteY2" fmla="*/ 381965 h 1461674"/>
              <a:gd name="connsiteX3" fmla="*/ 1294895 w 2710606"/>
              <a:gd name="connsiteY3" fmla="*/ 0 h 1461674"/>
              <a:gd name="connsiteX4" fmla="*/ 1847103 w 2710606"/>
              <a:gd name="connsiteY4" fmla="*/ 348628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33859 w 2710606"/>
              <a:gd name="connsiteY2" fmla="*/ 367677 h 1461674"/>
              <a:gd name="connsiteX3" fmla="*/ 1294895 w 2710606"/>
              <a:gd name="connsiteY3" fmla="*/ 0 h 1461674"/>
              <a:gd name="connsiteX4" fmla="*/ 1847103 w 2710606"/>
              <a:gd name="connsiteY4" fmla="*/ 348628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19571 w 2710606"/>
              <a:gd name="connsiteY2" fmla="*/ 381965 h 1461674"/>
              <a:gd name="connsiteX3" fmla="*/ 1294895 w 2710606"/>
              <a:gd name="connsiteY3" fmla="*/ 0 h 1461674"/>
              <a:gd name="connsiteX4" fmla="*/ 1847103 w 2710606"/>
              <a:gd name="connsiteY4" fmla="*/ 348628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19571 w 2710606"/>
              <a:gd name="connsiteY2" fmla="*/ 381965 h 1461674"/>
              <a:gd name="connsiteX3" fmla="*/ 1294895 w 2710606"/>
              <a:gd name="connsiteY3" fmla="*/ 0 h 1461674"/>
              <a:gd name="connsiteX4" fmla="*/ 1847103 w 2710606"/>
              <a:gd name="connsiteY4" fmla="*/ 348628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19571 w 2710606"/>
              <a:gd name="connsiteY2" fmla="*/ 381965 h 1461674"/>
              <a:gd name="connsiteX3" fmla="*/ 1294895 w 2710606"/>
              <a:gd name="connsiteY3" fmla="*/ 0 h 1461674"/>
              <a:gd name="connsiteX4" fmla="*/ 2375740 w 2710606"/>
              <a:gd name="connsiteY4" fmla="*/ 339103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19571 w 2710606"/>
              <a:gd name="connsiteY2" fmla="*/ 381965 h 1461674"/>
              <a:gd name="connsiteX3" fmla="*/ 1294895 w 2710606"/>
              <a:gd name="connsiteY3" fmla="*/ 0 h 1461674"/>
              <a:gd name="connsiteX4" fmla="*/ 2242390 w 2710606"/>
              <a:gd name="connsiteY4" fmla="*/ 343865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32591 w 2710606"/>
              <a:gd name="connsiteY0" fmla="*/ 1262364 h 1461674"/>
              <a:gd name="connsiteX1" fmla="*/ 1219298 w 2710606"/>
              <a:gd name="connsiteY1" fmla="*/ 367678 h 1461674"/>
              <a:gd name="connsiteX2" fmla="*/ 519571 w 2710606"/>
              <a:gd name="connsiteY2" fmla="*/ 381965 h 1461674"/>
              <a:gd name="connsiteX3" fmla="*/ 1294895 w 2710606"/>
              <a:gd name="connsiteY3" fmla="*/ 0 h 1461674"/>
              <a:gd name="connsiteX4" fmla="*/ 2242390 w 2710606"/>
              <a:gd name="connsiteY4" fmla="*/ 343865 h 1461674"/>
              <a:gd name="connsiteX5" fmla="*/ 1397017 w 2710606"/>
              <a:gd name="connsiteY5" fmla="*/ 358816 h 1461674"/>
              <a:gd name="connsiteX6" fmla="*/ 2693382 w 2710606"/>
              <a:gd name="connsiteY6" fmla="*/ 1261641 h 1461674"/>
              <a:gd name="connsiteX7" fmla="*/ 2092101 w 2710606"/>
              <a:gd name="connsiteY7" fmla="*/ 1282078 h 1461674"/>
              <a:gd name="connsiteX8" fmla="*/ 1381343 w 2710606"/>
              <a:gd name="connsiteY8" fmla="*/ 489634 h 1461674"/>
              <a:gd name="connsiteX9" fmla="*/ 1616936 w 2710606"/>
              <a:gd name="connsiteY9" fmla="*/ 1354238 h 1461674"/>
              <a:gd name="connsiteX10" fmla="*/ 1026627 w 2710606"/>
              <a:gd name="connsiteY10" fmla="*/ 1354238 h 1461674"/>
              <a:gd name="connsiteX11" fmla="*/ 1253298 w 2710606"/>
              <a:gd name="connsiteY11" fmla="*/ 499882 h 1461674"/>
              <a:gd name="connsiteX12" fmla="*/ 413169 w 2710606"/>
              <a:gd name="connsiteY12" fmla="*/ 1365813 h 1461674"/>
              <a:gd name="connsiteX13" fmla="*/ 32591 w 2710606"/>
              <a:gd name="connsiteY13" fmla="*/ 1262364 h 1461674"/>
              <a:gd name="connsiteX0" fmla="*/ 20110 w 3012450"/>
              <a:gd name="connsiteY0" fmla="*/ 990902 h 1461674"/>
              <a:gd name="connsiteX1" fmla="*/ 1521142 w 3012450"/>
              <a:gd name="connsiteY1" fmla="*/ 367678 h 1461674"/>
              <a:gd name="connsiteX2" fmla="*/ 821415 w 3012450"/>
              <a:gd name="connsiteY2" fmla="*/ 381965 h 1461674"/>
              <a:gd name="connsiteX3" fmla="*/ 1596739 w 3012450"/>
              <a:gd name="connsiteY3" fmla="*/ 0 h 1461674"/>
              <a:gd name="connsiteX4" fmla="*/ 2544234 w 3012450"/>
              <a:gd name="connsiteY4" fmla="*/ 343865 h 1461674"/>
              <a:gd name="connsiteX5" fmla="*/ 1698861 w 3012450"/>
              <a:gd name="connsiteY5" fmla="*/ 358816 h 1461674"/>
              <a:gd name="connsiteX6" fmla="*/ 2995226 w 3012450"/>
              <a:gd name="connsiteY6" fmla="*/ 1261641 h 1461674"/>
              <a:gd name="connsiteX7" fmla="*/ 2393945 w 3012450"/>
              <a:gd name="connsiteY7" fmla="*/ 1282078 h 1461674"/>
              <a:gd name="connsiteX8" fmla="*/ 1683187 w 3012450"/>
              <a:gd name="connsiteY8" fmla="*/ 489634 h 1461674"/>
              <a:gd name="connsiteX9" fmla="*/ 1918780 w 3012450"/>
              <a:gd name="connsiteY9" fmla="*/ 1354238 h 1461674"/>
              <a:gd name="connsiteX10" fmla="*/ 1328471 w 3012450"/>
              <a:gd name="connsiteY10" fmla="*/ 1354238 h 1461674"/>
              <a:gd name="connsiteX11" fmla="*/ 1555142 w 3012450"/>
              <a:gd name="connsiteY11" fmla="*/ 499882 h 1461674"/>
              <a:gd name="connsiteX12" fmla="*/ 715013 w 3012450"/>
              <a:gd name="connsiteY12" fmla="*/ 1365813 h 1461674"/>
              <a:gd name="connsiteX13" fmla="*/ 20110 w 3012450"/>
              <a:gd name="connsiteY13" fmla="*/ 990902 h 1461674"/>
              <a:gd name="connsiteX0" fmla="*/ 57979 w 3050319"/>
              <a:gd name="connsiteY0" fmla="*/ 990902 h 1461674"/>
              <a:gd name="connsiteX1" fmla="*/ 1559011 w 3050319"/>
              <a:gd name="connsiteY1" fmla="*/ 367678 h 1461674"/>
              <a:gd name="connsiteX2" fmla="*/ 859284 w 3050319"/>
              <a:gd name="connsiteY2" fmla="*/ 381965 h 1461674"/>
              <a:gd name="connsiteX3" fmla="*/ 1634608 w 3050319"/>
              <a:gd name="connsiteY3" fmla="*/ 0 h 1461674"/>
              <a:gd name="connsiteX4" fmla="*/ 2582103 w 3050319"/>
              <a:gd name="connsiteY4" fmla="*/ 343865 h 1461674"/>
              <a:gd name="connsiteX5" fmla="*/ 1736730 w 3050319"/>
              <a:gd name="connsiteY5" fmla="*/ 358816 h 1461674"/>
              <a:gd name="connsiteX6" fmla="*/ 3033095 w 3050319"/>
              <a:gd name="connsiteY6" fmla="*/ 1261641 h 1461674"/>
              <a:gd name="connsiteX7" fmla="*/ 2431814 w 3050319"/>
              <a:gd name="connsiteY7" fmla="*/ 1282078 h 1461674"/>
              <a:gd name="connsiteX8" fmla="*/ 1721056 w 3050319"/>
              <a:gd name="connsiteY8" fmla="*/ 489634 h 1461674"/>
              <a:gd name="connsiteX9" fmla="*/ 1956649 w 3050319"/>
              <a:gd name="connsiteY9" fmla="*/ 1354238 h 1461674"/>
              <a:gd name="connsiteX10" fmla="*/ 1366340 w 3050319"/>
              <a:gd name="connsiteY10" fmla="*/ 1354238 h 1461674"/>
              <a:gd name="connsiteX11" fmla="*/ 1593011 w 3050319"/>
              <a:gd name="connsiteY11" fmla="*/ 499882 h 1461674"/>
              <a:gd name="connsiteX12" fmla="*/ 752882 w 3050319"/>
              <a:gd name="connsiteY12" fmla="*/ 1365813 h 1461674"/>
              <a:gd name="connsiteX13" fmla="*/ 57979 w 3050319"/>
              <a:gd name="connsiteY13" fmla="*/ 990902 h 1461674"/>
              <a:gd name="connsiteX0" fmla="*/ 51104 w 3043444"/>
              <a:gd name="connsiteY0" fmla="*/ 990902 h 1461674"/>
              <a:gd name="connsiteX1" fmla="*/ 1552136 w 3043444"/>
              <a:gd name="connsiteY1" fmla="*/ 367678 h 1461674"/>
              <a:gd name="connsiteX2" fmla="*/ 852409 w 3043444"/>
              <a:gd name="connsiteY2" fmla="*/ 381965 h 1461674"/>
              <a:gd name="connsiteX3" fmla="*/ 1627733 w 3043444"/>
              <a:gd name="connsiteY3" fmla="*/ 0 h 1461674"/>
              <a:gd name="connsiteX4" fmla="*/ 2575228 w 3043444"/>
              <a:gd name="connsiteY4" fmla="*/ 343865 h 1461674"/>
              <a:gd name="connsiteX5" fmla="*/ 1729855 w 3043444"/>
              <a:gd name="connsiteY5" fmla="*/ 358816 h 1461674"/>
              <a:gd name="connsiteX6" fmla="*/ 3026220 w 3043444"/>
              <a:gd name="connsiteY6" fmla="*/ 1261641 h 1461674"/>
              <a:gd name="connsiteX7" fmla="*/ 2424939 w 3043444"/>
              <a:gd name="connsiteY7" fmla="*/ 1282078 h 1461674"/>
              <a:gd name="connsiteX8" fmla="*/ 1714181 w 3043444"/>
              <a:gd name="connsiteY8" fmla="*/ 489634 h 1461674"/>
              <a:gd name="connsiteX9" fmla="*/ 1949774 w 3043444"/>
              <a:gd name="connsiteY9" fmla="*/ 1354238 h 1461674"/>
              <a:gd name="connsiteX10" fmla="*/ 1359465 w 3043444"/>
              <a:gd name="connsiteY10" fmla="*/ 1354238 h 1461674"/>
              <a:gd name="connsiteX11" fmla="*/ 1586136 w 3043444"/>
              <a:gd name="connsiteY11" fmla="*/ 499882 h 1461674"/>
              <a:gd name="connsiteX12" fmla="*/ 465019 w 3043444"/>
              <a:gd name="connsiteY12" fmla="*/ 1284851 h 1461674"/>
              <a:gd name="connsiteX13" fmla="*/ 51104 w 3043444"/>
              <a:gd name="connsiteY13" fmla="*/ 990902 h 1461674"/>
              <a:gd name="connsiteX0" fmla="*/ 51104 w 3319526"/>
              <a:gd name="connsiteY0" fmla="*/ 990902 h 1461674"/>
              <a:gd name="connsiteX1" fmla="*/ 1552136 w 3319526"/>
              <a:gd name="connsiteY1" fmla="*/ 367678 h 1461674"/>
              <a:gd name="connsiteX2" fmla="*/ 852409 w 3319526"/>
              <a:gd name="connsiteY2" fmla="*/ 381965 h 1461674"/>
              <a:gd name="connsiteX3" fmla="*/ 1627733 w 3319526"/>
              <a:gd name="connsiteY3" fmla="*/ 0 h 1461674"/>
              <a:gd name="connsiteX4" fmla="*/ 2575228 w 3319526"/>
              <a:gd name="connsiteY4" fmla="*/ 343865 h 1461674"/>
              <a:gd name="connsiteX5" fmla="*/ 1729855 w 3319526"/>
              <a:gd name="connsiteY5" fmla="*/ 358816 h 1461674"/>
              <a:gd name="connsiteX6" fmla="*/ 3307208 w 3319526"/>
              <a:gd name="connsiteY6" fmla="*/ 1028279 h 1461674"/>
              <a:gd name="connsiteX7" fmla="*/ 2424939 w 3319526"/>
              <a:gd name="connsiteY7" fmla="*/ 1282078 h 1461674"/>
              <a:gd name="connsiteX8" fmla="*/ 1714181 w 3319526"/>
              <a:gd name="connsiteY8" fmla="*/ 489634 h 1461674"/>
              <a:gd name="connsiteX9" fmla="*/ 1949774 w 3319526"/>
              <a:gd name="connsiteY9" fmla="*/ 1354238 h 1461674"/>
              <a:gd name="connsiteX10" fmla="*/ 1359465 w 3319526"/>
              <a:gd name="connsiteY10" fmla="*/ 1354238 h 1461674"/>
              <a:gd name="connsiteX11" fmla="*/ 1586136 w 3319526"/>
              <a:gd name="connsiteY11" fmla="*/ 499882 h 1461674"/>
              <a:gd name="connsiteX12" fmla="*/ 465019 w 3319526"/>
              <a:gd name="connsiteY12" fmla="*/ 1284851 h 1461674"/>
              <a:gd name="connsiteX13" fmla="*/ 51104 w 3319526"/>
              <a:gd name="connsiteY13" fmla="*/ 990902 h 1461674"/>
              <a:gd name="connsiteX0" fmla="*/ 51104 w 3335508"/>
              <a:gd name="connsiteY0" fmla="*/ 990902 h 1461674"/>
              <a:gd name="connsiteX1" fmla="*/ 1552136 w 3335508"/>
              <a:gd name="connsiteY1" fmla="*/ 367678 h 1461674"/>
              <a:gd name="connsiteX2" fmla="*/ 852409 w 3335508"/>
              <a:gd name="connsiteY2" fmla="*/ 381965 h 1461674"/>
              <a:gd name="connsiteX3" fmla="*/ 1627733 w 3335508"/>
              <a:gd name="connsiteY3" fmla="*/ 0 h 1461674"/>
              <a:gd name="connsiteX4" fmla="*/ 2575228 w 3335508"/>
              <a:gd name="connsiteY4" fmla="*/ 343865 h 1461674"/>
              <a:gd name="connsiteX5" fmla="*/ 1729855 w 3335508"/>
              <a:gd name="connsiteY5" fmla="*/ 358816 h 1461674"/>
              <a:gd name="connsiteX6" fmla="*/ 3307208 w 3335508"/>
              <a:gd name="connsiteY6" fmla="*/ 1028279 h 1461674"/>
              <a:gd name="connsiteX7" fmla="*/ 2667827 w 3335508"/>
              <a:gd name="connsiteY7" fmla="*/ 1215403 h 1461674"/>
              <a:gd name="connsiteX8" fmla="*/ 1714181 w 3335508"/>
              <a:gd name="connsiteY8" fmla="*/ 489634 h 1461674"/>
              <a:gd name="connsiteX9" fmla="*/ 1949774 w 3335508"/>
              <a:gd name="connsiteY9" fmla="*/ 1354238 h 1461674"/>
              <a:gd name="connsiteX10" fmla="*/ 1359465 w 3335508"/>
              <a:gd name="connsiteY10" fmla="*/ 1354238 h 1461674"/>
              <a:gd name="connsiteX11" fmla="*/ 1586136 w 3335508"/>
              <a:gd name="connsiteY11" fmla="*/ 499882 h 1461674"/>
              <a:gd name="connsiteX12" fmla="*/ 465019 w 3335508"/>
              <a:gd name="connsiteY12" fmla="*/ 1284851 h 1461674"/>
              <a:gd name="connsiteX13" fmla="*/ 51104 w 3335508"/>
              <a:gd name="connsiteY13" fmla="*/ 990902 h 1461674"/>
              <a:gd name="connsiteX0" fmla="*/ 41102 w 3325506"/>
              <a:gd name="connsiteY0" fmla="*/ 990902 h 1461674"/>
              <a:gd name="connsiteX1" fmla="*/ 1542134 w 3325506"/>
              <a:gd name="connsiteY1" fmla="*/ 367678 h 1461674"/>
              <a:gd name="connsiteX2" fmla="*/ 842407 w 3325506"/>
              <a:gd name="connsiteY2" fmla="*/ 381965 h 1461674"/>
              <a:gd name="connsiteX3" fmla="*/ 1617731 w 3325506"/>
              <a:gd name="connsiteY3" fmla="*/ 0 h 1461674"/>
              <a:gd name="connsiteX4" fmla="*/ 2565226 w 3325506"/>
              <a:gd name="connsiteY4" fmla="*/ 343865 h 1461674"/>
              <a:gd name="connsiteX5" fmla="*/ 1719853 w 3325506"/>
              <a:gd name="connsiteY5" fmla="*/ 358816 h 1461674"/>
              <a:gd name="connsiteX6" fmla="*/ 3297206 w 3325506"/>
              <a:gd name="connsiteY6" fmla="*/ 1028279 h 1461674"/>
              <a:gd name="connsiteX7" fmla="*/ 2657825 w 3325506"/>
              <a:gd name="connsiteY7" fmla="*/ 1215403 h 1461674"/>
              <a:gd name="connsiteX8" fmla="*/ 1704179 w 3325506"/>
              <a:gd name="connsiteY8" fmla="*/ 489634 h 1461674"/>
              <a:gd name="connsiteX9" fmla="*/ 1939772 w 3325506"/>
              <a:gd name="connsiteY9" fmla="*/ 1354238 h 1461674"/>
              <a:gd name="connsiteX10" fmla="*/ 1349463 w 3325506"/>
              <a:gd name="connsiteY10" fmla="*/ 1354238 h 1461674"/>
              <a:gd name="connsiteX11" fmla="*/ 1576134 w 3325506"/>
              <a:gd name="connsiteY11" fmla="*/ 499882 h 1461674"/>
              <a:gd name="connsiteX12" fmla="*/ 797320 w 3325506"/>
              <a:gd name="connsiteY12" fmla="*/ 1314881 h 1461674"/>
              <a:gd name="connsiteX13" fmla="*/ 455017 w 3325506"/>
              <a:gd name="connsiteY13" fmla="*/ 1284851 h 1461674"/>
              <a:gd name="connsiteX14" fmla="*/ 41102 w 3325506"/>
              <a:gd name="connsiteY14" fmla="*/ 990902 h 1461674"/>
              <a:gd name="connsiteX0" fmla="*/ 41102 w 3325506"/>
              <a:gd name="connsiteY0" fmla="*/ 990902 h 1461674"/>
              <a:gd name="connsiteX1" fmla="*/ 1542134 w 3325506"/>
              <a:gd name="connsiteY1" fmla="*/ 367678 h 1461674"/>
              <a:gd name="connsiteX2" fmla="*/ 842407 w 3325506"/>
              <a:gd name="connsiteY2" fmla="*/ 381965 h 1461674"/>
              <a:gd name="connsiteX3" fmla="*/ 1617731 w 3325506"/>
              <a:gd name="connsiteY3" fmla="*/ 0 h 1461674"/>
              <a:gd name="connsiteX4" fmla="*/ 2565226 w 3325506"/>
              <a:gd name="connsiteY4" fmla="*/ 343865 h 1461674"/>
              <a:gd name="connsiteX5" fmla="*/ 1719853 w 3325506"/>
              <a:gd name="connsiteY5" fmla="*/ 358816 h 1461674"/>
              <a:gd name="connsiteX6" fmla="*/ 3297206 w 3325506"/>
              <a:gd name="connsiteY6" fmla="*/ 1028279 h 1461674"/>
              <a:gd name="connsiteX7" fmla="*/ 2657825 w 3325506"/>
              <a:gd name="connsiteY7" fmla="*/ 1215403 h 1461674"/>
              <a:gd name="connsiteX8" fmla="*/ 1704179 w 3325506"/>
              <a:gd name="connsiteY8" fmla="*/ 489634 h 1461674"/>
              <a:gd name="connsiteX9" fmla="*/ 1939772 w 3325506"/>
              <a:gd name="connsiteY9" fmla="*/ 1354238 h 1461674"/>
              <a:gd name="connsiteX10" fmla="*/ 1349463 w 3325506"/>
              <a:gd name="connsiteY10" fmla="*/ 1354238 h 1461674"/>
              <a:gd name="connsiteX11" fmla="*/ 1576134 w 3325506"/>
              <a:gd name="connsiteY11" fmla="*/ 499882 h 1461674"/>
              <a:gd name="connsiteX12" fmla="*/ 797320 w 3325506"/>
              <a:gd name="connsiteY12" fmla="*/ 1314881 h 1461674"/>
              <a:gd name="connsiteX13" fmla="*/ 455017 w 3325506"/>
              <a:gd name="connsiteY13" fmla="*/ 1284851 h 1461674"/>
              <a:gd name="connsiteX14" fmla="*/ 41102 w 3325506"/>
              <a:gd name="connsiteY14" fmla="*/ 990902 h 1461674"/>
              <a:gd name="connsiteX0" fmla="*/ 41102 w 3325506"/>
              <a:gd name="connsiteY0" fmla="*/ 990902 h 1461674"/>
              <a:gd name="connsiteX1" fmla="*/ 1542134 w 3325506"/>
              <a:gd name="connsiteY1" fmla="*/ 367678 h 1461674"/>
              <a:gd name="connsiteX2" fmla="*/ 842407 w 3325506"/>
              <a:gd name="connsiteY2" fmla="*/ 381965 h 1461674"/>
              <a:gd name="connsiteX3" fmla="*/ 1617731 w 3325506"/>
              <a:gd name="connsiteY3" fmla="*/ 0 h 1461674"/>
              <a:gd name="connsiteX4" fmla="*/ 2565226 w 3325506"/>
              <a:gd name="connsiteY4" fmla="*/ 343865 h 1461674"/>
              <a:gd name="connsiteX5" fmla="*/ 1719853 w 3325506"/>
              <a:gd name="connsiteY5" fmla="*/ 358816 h 1461674"/>
              <a:gd name="connsiteX6" fmla="*/ 3297206 w 3325506"/>
              <a:gd name="connsiteY6" fmla="*/ 1028279 h 1461674"/>
              <a:gd name="connsiteX7" fmla="*/ 2657825 w 3325506"/>
              <a:gd name="connsiteY7" fmla="*/ 1215403 h 1461674"/>
              <a:gd name="connsiteX8" fmla="*/ 1704179 w 3325506"/>
              <a:gd name="connsiteY8" fmla="*/ 489634 h 1461674"/>
              <a:gd name="connsiteX9" fmla="*/ 1939772 w 3325506"/>
              <a:gd name="connsiteY9" fmla="*/ 1354238 h 1461674"/>
              <a:gd name="connsiteX10" fmla="*/ 1349463 w 3325506"/>
              <a:gd name="connsiteY10" fmla="*/ 1354238 h 1461674"/>
              <a:gd name="connsiteX11" fmla="*/ 1576134 w 3325506"/>
              <a:gd name="connsiteY11" fmla="*/ 499882 h 1461674"/>
              <a:gd name="connsiteX12" fmla="*/ 797320 w 3325506"/>
              <a:gd name="connsiteY12" fmla="*/ 1314881 h 1461674"/>
              <a:gd name="connsiteX13" fmla="*/ 455017 w 3325506"/>
              <a:gd name="connsiteY13" fmla="*/ 1284851 h 1461674"/>
              <a:gd name="connsiteX14" fmla="*/ 41102 w 3325506"/>
              <a:gd name="connsiteY14" fmla="*/ 990902 h 1461674"/>
              <a:gd name="connsiteX0" fmla="*/ 18500 w 3302904"/>
              <a:gd name="connsiteY0" fmla="*/ 990902 h 1461674"/>
              <a:gd name="connsiteX1" fmla="*/ 1081382 w 3302904"/>
              <a:gd name="connsiteY1" fmla="*/ 377203 h 1461674"/>
              <a:gd name="connsiteX2" fmla="*/ 819805 w 3302904"/>
              <a:gd name="connsiteY2" fmla="*/ 381965 h 1461674"/>
              <a:gd name="connsiteX3" fmla="*/ 1595129 w 3302904"/>
              <a:gd name="connsiteY3" fmla="*/ 0 h 1461674"/>
              <a:gd name="connsiteX4" fmla="*/ 2542624 w 3302904"/>
              <a:gd name="connsiteY4" fmla="*/ 343865 h 1461674"/>
              <a:gd name="connsiteX5" fmla="*/ 1697251 w 3302904"/>
              <a:gd name="connsiteY5" fmla="*/ 358816 h 1461674"/>
              <a:gd name="connsiteX6" fmla="*/ 3274604 w 3302904"/>
              <a:gd name="connsiteY6" fmla="*/ 1028279 h 1461674"/>
              <a:gd name="connsiteX7" fmla="*/ 2635223 w 3302904"/>
              <a:gd name="connsiteY7" fmla="*/ 1215403 h 1461674"/>
              <a:gd name="connsiteX8" fmla="*/ 1681577 w 3302904"/>
              <a:gd name="connsiteY8" fmla="*/ 489634 h 1461674"/>
              <a:gd name="connsiteX9" fmla="*/ 1917170 w 3302904"/>
              <a:gd name="connsiteY9" fmla="*/ 1354238 h 1461674"/>
              <a:gd name="connsiteX10" fmla="*/ 1326861 w 3302904"/>
              <a:gd name="connsiteY10" fmla="*/ 1354238 h 1461674"/>
              <a:gd name="connsiteX11" fmla="*/ 1553532 w 3302904"/>
              <a:gd name="connsiteY11" fmla="*/ 499882 h 1461674"/>
              <a:gd name="connsiteX12" fmla="*/ 774718 w 3302904"/>
              <a:gd name="connsiteY12" fmla="*/ 1314881 h 1461674"/>
              <a:gd name="connsiteX13" fmla="*/ 432415 w 3302904"/>
              <a:gd name="connsiteY13" fmla="*/ 1284851 h 1461674"/>
              <a:gd name="connsiteX14" fmla="*/ 18500 w 3302904"/>
              <a:gd name="connsiteY14" fmla="*/ 990902 h 1461674"/>
              <a:gd name="connsiteX0" fmla="*/ 18500 w 3284927"/>
              <a:gd name="connsiteY0" fmla="*/ 990902 h 1461674"/>
              <a:gd name="connsiteX1" fmla="*/ 1081382 w 3284927"/>
              <a:gd name="connsiteY1" fmla="*/ 377203 h 1461674"/>
              <a:gd name="connsiteX2" fmla="*/ 819805 w 3284927"/>
              <a:gd name="connsiteY2" fmla="*/ 381965 h 1461674"/>
              <a:gd name="connsiteX3" fmla="*/ 1595129 w 3284927"/>
              <a:gd name="connsiteY3" fmla="*/ 0 h 1461674"/>
              <a:gd name="connsiteX4" fmla="*/ 2542624 w 3284927"/>
              <a:gd name="connsiteY4" fmla="*/ 343865 h 1461674"/>
              <a:gd name="connsiteX5" fmla="*/ 2125876 w 3284927"/>
              <a:gd name="connsiteY5" fmla="*/ 358816 h 1461674"/>
              <a:gd name="connsiteX6" fmla="*/ 3274604 w 3284927"/>
              <a:gd name="connsiteY6" fmla="*/ 1028279 h 1461674"/>
              <a:gd name="connsiteX7" fmla="*/ 2635223 w 3284927"/>
              <a:gd name="connsiteY7" fmla="*/ 1215403 h 1461674"/>
              <a:gd name="connsiteX8" fmla="*/ 1681577 w 3284927"/>
              <a:gd name="connsiteY8" fmla="*/ 489634 h 1461674"/>
              <a:gd name="connsiteX9" fmla="*/ 1917170 w 3284927"/>
              <a:gd name="connsiteY9" fmla="*/ 1354238 h 1461674"/>
              <a:gd name="connsiteX10" fmla="*/ 1326861 w 3284927"/>
              <a:gd name="connsiteY10" fmla="*/ 1354238 h 1461674"/>
              <a:gd name="connsiteX11" fmla="*/ 1553532 w 3284927"/>
              <a:gd name="connsiteY11" fmla="*/ 499882 h 1461674"/>
              <a:gd name="connsiteX12" fmla="*/ 774718 w 3284927"/>
              <a:gd name="connsiteY12" fmla="*/ 1314881 h 1461674"/>
              <a:gd name="connsiteX13" fmla="*/ 432415 w 3284927"/>
              <a:gd name="connsiteY13" fmla="*/ 1284851 h 1461674"/>
              <a:gd name="connsiteX14" fmla="*/ 18500 w 3284927"/>
              <a:gd name="connsiteY14" fmla="*/ 990902 h 1461674"/>
              <a:gd name="connsiteX0" fmla="*/ 18500 w 3284927"/>
              <a:gd name="connsiteY0" fmla="*/ 990902 h 1464061"/>
              <a:gd name="connsiteX1" fmla="*/ 1081382 w 3284927"/>
              <a:gd name="connsiteY1" fmla="*/ 377203 h 1464061"/>
              <a:gd name="connsiteX2" fmla="*/ 819805 w 3284927"/>
              <a:gd name="connsiteY2" fmla="*/ 381965 h 1464061"/>
              <a:gd name="connsiteX3" fmla="*/ 1595129 w 3284927"/>
              <a:gd name="connsiteY3" fmla="*/ 0 h 1464061"/>
              <a:gd name="connsiteX4" fmla="*/ 2542624 w 3284927"/>
              <a:gd name="connsiteY4" fmla="*/ 343865 h 1464061"/>
              <a:gd name="connsiteX5" fmla="*/ 2125876 w 3284927"/>
              <a:gd name="connsiteY5" fmla="*/ 358816 h 1464061"/>
              <a:gd name="connsiteX6" fmla="*/ 3274604 w 3284927"/>
              <a:gd name="connsiteY6" fmla="*/ 1028279 h 1464061"/>
              <a:gd name="connsiteX7" fmla="*/ 2635223 w 3284927"/>
              <a:gd name="connsiteY7" fmla="*/ 1215403 h 1464061"/>
              <a:gd name="connsiteX8" fmla="*/ 1681577 w 3284927"/>
              <a:gd name="connsiteY8" fmla="*/ 489634 h 1464061"/>
              <a:gd name="connsiteX9" fmla="*/ 1917170 w 3284927"/>
              <a:gd name="connsiteY9" fmla="*/ 1354238 h 1464061"/>
              <a:gd name="connsiteX10" fmla="*/ 1326861 w 3284927"/>
              <a:gd name="connsiteY10" fmla="*/ 1354238 h 1464061"/>
              <a:gd name="connsiteX11" fmla="*/ 1324932 w 3284927"/>
              <a:gd name="connsiteY11" fmla="*/ 461782 h 1464061"/>
              <a:gd name="connsiteX12" fmla="*/ 774718 w 3284927"/>
              <a:gd name="connsiteY12" fmla="*/ 1314881 h 1464061"/>
              <a:gd name="connsiteX13" fmla="*/ 432415 w 3284927"/>
              <a:gd name="connsiteY13" fmla="*/ 1284851 h 1464061"/>
              <a:gd name="connsiteX14" fmla="*/ 18500 w 3284927"/>
              <a:gd name="connsiteY14" fmla="*/ 990902 h 1464061"/>
              <a:gd name="connsiteX0" fmla="*/ 18500 w 3284927"/>
              <a:gd name="connsiteY0" fmla="*/ 990902 h 1464061"/>
              <a:gd name="connsiteX1" fmla="*/ 1081382 w 3284927"/>
              <a:gd name="connsiteY1" fmla="*/ 377203 h 1464061"/>
              <a:gd name="connsiteX2" fmla="*/ 819805 w 3284927"/>
              <a:gd name="connsiteY2" fmla="*/ 381965 h 1464061"/>
              <a:gd name="connsiteX3" fmla="*/ 1595129 w 3284927"/>
              <a:gd name="connsiteY3" fmla="*/ 0 h 1464061"/>
              <a:gd name="connsiteX4" fmla="*/ 2542624 w 3284927"/>
              <a:gd name="connsiteY4" fmla="*/ 343865 h 1464061"/>
              <a:gd name="connsiteX5" fmla="*/ 2125876 w 3284927"/>
              <a:gd name="connsiteY5" fmla="*/ 358816 h 1464061"/>
              <a:gd name="connsiteX6" fmla="*/ 3274604 w 3284927"/>
              <a:gd name="connsiteY6" fmla="*/ 1028279 h 1464061"/>
              <a:gd name="connsiteX7" fmla="*/ 2635223 w 3284927"/>
              <a:gd name="connsiteY7" fmla="*/ 1215403 h 1464061"/>
              <a:gd name="connsiteX8" fmla="*/ 1681577 w 3284927"/>
              <a:gd name="connsiteY8" fmla="*/ 489634 h 1464061"/>
              <a:gd name="connsiteX9" fmla="*/ 1917170 w 3284927"/>
              <a:gd name="connsiteY9" fmla="*/ 1354238 h 1464061"/>
              <a:gd name="connsiteX10" fmla="*/ 1326861 w 3284927"/>
              <a:gd name="connsiteY10" fmla="*/ 1354238 h 1464061"/>
              <a:gd name="connsiteX11" fmla="*/ 1324932 w 3284927"/>
              <a:gd name="connsiteY11" fmla="*/ 461782 h 1464061"/>
              <a:gd name="connsiteX12" fmla="*/ 774718 w 3284927"/>
              <a:gd name="connsiteY12" fmla="*/ 1314881 h 1464061"/>
              <a:gd name="connsiteX13" fmla="*/ 432415 w 3284927"/>
              <a:gd name="connsiteY13" fmla="*/ 1284851 h 1464061"/>
              <a:gd name="connsiteX14" fmla="*/ 18500 w 3284927"/>
              <a:gd name="connsiteY14" fmla="*/ 990902 h 1464061"/>
              <a:gd name="connsiteX0" fmla="*/ 18500 w 3284538"/>
              <a:gd name="connsiteY0" fmla="*/ 990902 h 1469138"/>
              <a:gd name="connsiteX1" fmla="*/ 1081382 w 3284538"/>
              <a:gd name="connsiteY1" fmla="*/ 377203 h 1469138"/>
              <a:gd name="connsiteX2" fmla="*/ 819805 w 3284538"/>
              <a:gd name="connsiteY2" fmla="*/ 381965 h 1469138"/>
              <a:gd name="connsiteX3" fmla="*/ 1595129 w 3284538"/>
              <a:gd name="connsiteY3" fmla="*/ 0 h 1469138"/>
              <a:gd name="connsiteX4" fmla="*/ 2542624 w 3284538"/>
              <a:gd name="connsiteY4" fmla="*/ 343865 h 1469138"/>
              <a:gd name="connsiteX5" fmla="*/ 2125876 w 3284538"/>
              <a:gd name="connsiteY5" fmla="*/ 358816 h 1469138"/>
              <a:gd name="connsiteX6" fmla="*/ 3274604 w 3284538"/>
              <a:gd name="connsiteY6" fmla="*/ 1028279 h 1469138"/>
              <a:gd name="connsiteX7" fmla="*/ 2635223 w 3284538"/>
              <a:gd name="connsiteY7" fmla="*/ 1215403 h 1469138"/>
              <a:gd name="connsiteX8" fmla="*/ 1810164 w 3284538"/>
              <a:gd name="connsiteY8" fmla="*/ 408672 h 1469138"/>
              <a:gd name="connsiteX9" fmla="*/ 1917170 w 3284538"/>
              <a:gd name="connsiteY9" fmla="*/ 1354238 h 1469138"/>
              <a:gd name="connsiteX10" fmla="*/ 1326861 w 3284538"/>
              <a:gd name="connsiteY10" fmla="*/ 1354238 h 1469138"/>
              <a:gd name="connsiteX11" fmla="*/ 1324932 w 3284538"/>
              <a:gd name="connsiteY11" fmla="*/ 461782 h 1469138"/>
              <a:gd name="connsiteX12" fmla="*/ 774718 w 3284538"/>
              <a:gd name="connsiteY12" fmla="*/ 1314881 h 1469138"/>
              <a:gd name="connsiteX13" fmla="*/ 432415 w 3284538"/>
              <a:gd name="connsiteY13" fmla="*/ 1284851 h 1469138"/>
              <a:gd name="connsiteX14" fmla="*/ 18500 w 3284538"/>
              <a:gd name="connsiteY14" fmla="*/ 990902 h 1469138"/>
              <a:gd name="connsiteX0" fmla="*/ 18500 w 3284538"/>
              <a:gd name="connsiteY0" fmla="*/ 990902 h 1470905"/>
              <a:gd name="connsiteX1" fmla="*/ 1081382 w 3284538"/>
              <a:gd name="connsiteY1" fmla="*/ 377203 h 1470905"/>
              <a:gd name="connsiteX2" fmla="*/ 819805 w 3284538"/>
              <a:gd name="connsiteY2" fmla="*/ 381965 h 1470905"/>
              <a:gd name="connsiteX3" fmla="*/ 1595129 w 3284538"/>
              <a:gd name="connsiteY3" fmla="*/ 0 h 1470905"/>
              <a:gd name="connsiteX4" fmla="*/ 2542624 w 3284538"/>
              <a:gd name="connsiteY4" fmla="*/ 343865 h 1470905"/>
              <a:gd name="connsiteX5" fmla="*/ 2125876 w 3284538"/>
              <a:gd name="connsiteY5" fmla="*/ 358816 h 1470905"/>
              <a:gd name="connsiteX6" fmla="*/ 3274604 w 3284538"/>
              <a:gd name="connsiteY6" fmla="*/ 1028279 h 1470905"/>
              <a:gd name="connsiteX7" fmla="*/ 2635223 w 3284538"/>
              <a:gd name="connsiteY7" fmla="*/ 1215403 h 1470905"/>
              <a:gd name="connsiteX8" fmla="*/ 1810164 w 3284538"/>
              <a:gd name="connsiteY8" fmla="*/ 408672 h 1470905"/>
              <a:gd name="connsiteX9" fmla="*/ 1917170 w 3284538"/>
              <a:gd name="connsiteY9" fmla="*/ 1354238 h 1470905"/>
              <a:gd name="connsiteX10" fmla="*/ 1326861 w 3284538"/>
              <a:gd name="connsiteY10" fmla="*/ 1354238 h 1470905"/>
              <a:gd name="connsiteX11" fmla="*/ 1415420 w 3284538"/>
              <a:gd name="connsiteY11" fmla="*/ 433207 h 1470905"/>
              <a:gd name="connsiteX12" fmla="*/ 774718 w 3284538"/>
              <a:gd name="connsiteY12" fmla="*/ 1314881 h 1470905"/>
              <a:gd name="connsiteX13" fmla="*/ 432415 w 3284538"/>
              <a:gd name="connsiteY13" fmla="*/ 1284851 h 1470905"/>
              <a:gd name="connsiteX14" fmla="*/ 18500 w 3284538"/>
              <a:gd name="connsiteY14" fmla="*/ 990902 h 1470905"/>
              <a:gd name="connsiteX0" fmla="*/ 18500 w 3284538"/>
              <a:gd name="connsiteY0" fmla="*/ 990902 h 1470905"/>
              <a:gd name="connsiteX1" fmla="*/ 1081382 w 3284538"/>
              <a:gd name="connsiteY1" fmla="*/ 377203 h 1470905"/>
              <a:gd name="connsiteX2" fmla="*/ 762655 w 3284538"/>
              <a:gd name="connsiteY2" fmla="*/ 381965 h 1470905"/>
              <a:gd name="connsiteX3" fmla="*/ 1595129 w 3284538"/>
              <a:gd name="connsiteY3" fmla="*/ 0 h 1470905"/>
              <a:gd name="connsiteX4" fmla="*/ 2542624 w 3284538"/>
              <a:gd name="connsiteY4" fmla="*/ 343865 h 1470905"/>
              <a:gd name="connsiteX5" fmla="*/ 2125876 w 3284538"/>
              <a:gd name="connsiteY5" fmla="*/ 358816 h 1470905"/>
              <a:gd name="connsiteX6" fmla="*/ 3274604 w 3284538"/>
              <a:gd name="connsiteY6" fmla="*/ 1028279 h 1470905"/>
              <a:gd name="connsiteX7" fmla="*/ 2635223 w 3284538"/>
              <a:gd name="connsiteY7" fmla="*/ 1215403 h 1470905"/>
              <a:gd name="connsiteX8" fmla="*/ 1810164 w 3284538"/>
              <a:gd name="connsiteY8" fmla="*/ 408672 h 1470905"/>
              <a:gd name="connsiteX9" fmla="*/ 1917170 w 3284538"/>
              <a:gd name="connsiteY9" fmla="*/ 1354238 h 1470905"/>
              <a:gd name="connsiteX10" fmla="*/ 1326861 w 3284538"/>
              <a:gd name="connsiteY10" fmla="*/ 1354238 h 1470905"/>
              <a:gd name="connsiteX11" fmla="*/ 1415420 w 3284538"/>
              <a:gd name="connsiteY11" fmla="*/ 433207 h 1470905"/>
              <a:gd name="connsiteX12" fmla="*/ 774718 w 3284538"/>
              <a:gd name="connsiteY12" fmla="*/ 1314881 h 1470905"/>
              <a:gd name="connsiteX13" fmla="*/ 432415 w 3284538"/>
              <a:gd name="connsiteY13" fmla="*/ 1284851 h 1470905"/>
              <a:gd name="connsiteX14" fmla="*/ 18500 w 3284538"/>
              <a:gd name="connsiteY14" fmla="*/ 990902 h 1470905"/>
              <a:gd name="connsiteX0" fmla="*/ 18500 w 3284538"/>
              <a:gd name="connsiteY0" fmla="*/ 990902 h 1470905"/>
              <a:gd name="connsiteX1" fmla="*/ 1081382 w 3284538"/>
              <a:gd name="connsiteY1" fmla="*/ 377203 h 1470905"/>
              <a:gd name="connsiteX2" fmla="*/ 762655 w 3284538"/>
              <a:gd name="connsiteY2" fmla="*/ 381965 h 1470905"/>
              <a:gd name="connsiteX3" fmla="*/ 1595129 w 3284538"/>
              <a:gd name="connsiteY3" fmla="*/ 0 h 1470905"/>
              <a:gd name="connsiteX4" fmla="*/ 2542624 w 3284538"/>
              <a:gd name="connsiteY4" fmla="*/ 343865 h 1470905"/>
              <a:gd name="connsiteX5" fmla="*/ 2125876 w 3284538"/>
              <a:gd name="connsiteY5" fmla="*/ 358816 h 1470905"/>
              <a:gd name="connsiteX6" fmla="*/ 3274604 w 3284538"/>
              <a:gd name="connsiteY6" fmla="*/ 1028279 h 1470905"/>
              <a:gd name="connsiteX7" fmla="*/ 2635223 w 3284538"/>
              <a:gd name="connsiteY7" fmla="*/ 1215403 h 1470905"/>
              <a:gd name="connsiteX8" fmla="*/ 1810164 w 3284538"/>
              <a:gd name="connsiteY8" fmla="*/ 408672 h 1470905"/>
              <a:gd name="connsiteX9" fmla="*/ 1917170 w 3284538"/>
              <a:gd name="connsiteY9" fmla="*/ 1354238 h 1470905"/>
              <a:gd name="connsiteX10" fmla="*/ 1326861 w 3284538"/>
              <a:gd name="connsiteY10" fmla="*/ 1354238 h 1470905"/>
              <a:gd name="connsiteX11" fmla="*/ 1415420 w 3284538"/>
              <a:gd name="connsiteY11" fmla="*/ 433207 h 1470905"/>
              <a:gd name="connsiteX12" fmla="*/ 774718 w 3284538"/>
              <a:gd name="connsiteY12" fmla="*/ 1314881 h 1470905"/>
              <a:gd name="connsiteX13" fmla="*/ 432415 w 3284538"/>
              <a:gd name="connsiteY13" fmla="*/ 1284851 h 1470905"/>
              <a:gd name="connsiteX14" fmla="*/ 18500 w 3284538"/>
              <a:gd name="connsiteY14" fmla="*/ 990902 h 1470905"/>
              <a:gd name="connsiteX0" fmla="*/ 18500 w 3284538"/>
              <a:gd name="connsiteY0" fmla="*/ 990902 h 1470905"/>
              <a:gd name="connsiteX1" fmla="*/ 1081382 w 3284538"/>
              <a:gd name="connsiteY1" fmla="*/ 377203 h 1470905"/>
              <a:gd name="connsiteX2" fmla="*/ 762655 w 3284538"/>
              <a:gd name="connsiteY2" fmla="*/ 381965 h 1470905"/>
              <a:gd name="connsiteX3" fmla="*/ 1595129 w 3284538"/>
              <a:gd name="connsiteY3" fmla="*/ 0 h 1470905"/>
              <a:gd name="connsiteX4" fmla="*/ 2542624 w 3284538"/>
              <a:gd name="connsiteY4" fmla="*/ 343865 h 1470905"/>
              <a:gd name="connsiteX5" fmla="*/ 2125876 w 3284538"/>
              <a:gd name="connsiteY5" fmla="*/ 358816 h 1470905"/>
              <a:gd name="connsiteX6" fmla="*/ 3274604 w 3284538"/>
              <a:gd name="connsiteY6" fmla="*/ 1028279 h 1470905"/>
              <a:gd name="connsiteX7" fmla="*/ 2635223 w 3284538"/>
              <a:gd name="connsiteY7" fmla="*/ 1215403 h 1470905"/>
              <a:gd name="connsiteX8" fmla="*/ 1810164 w 3284538"/>
              <a:gd name="connsiteY8" fmla="*/ 408672 h 1470905"/>
              <a:gd name="connsiteX9" fmla="*/ 1917170 w 3284538"/>
              <a:gd name="connsiteY9" fmla="*/ 1354238 h 1470905"/>
              <a:gd name="connsiteX10" fmla="*/ 1326861 w 3284538"/>
              <a:gd name="connsiteY10" fmla="*/ 1354238 h 1470905"/>
              <a:gd name="connsiteX11" fmla="*/ 1415420 w 3284538"/>
              <a:gd name="connsiteY11" fmla="*/ 433207 h 1470905"/>
              <a:gd name="connsiteX12" fmla="*/ 774718 w 3284538"/>
              <a:gd name="connsiteY12" fmla="*/ 1314881 h 1470905"/>
              <a:gd name="connsiteX13" fmla="*/ 432415 w 3284538"/>
              <a:gd name="connsiteY13" fmla="*/ 1284851 h 1470905"/>
              <a:gd name="connsiteX14" fmla="*/ 18500 w 3284538"/>
              <a:gd name="connsiteY14" fmla="*/ 990902 h 1470905"/>
              <a:gd name="connsiteX0" fmla="*/ 18500 w 3378531"/>
              <a:gd name="connsiteY0" fmla="*/ 990902 h 1470905"/>
              <a:gd name="connsiteX1" fmla="*/ 1081382 w 3378531"/>
              <a:gd name="connsiteY1" fmla="*/ 377203 h 1470905"/>
              <a:gd name="connsiteX2" fmla="*/ 762655 w 3378531"/>
              <a:gd name="connsiteY2" fmla="*/ 381965 h 1470905"/>
              <a:gd name="connsiteX3" fmla="*/ 1595129 w 3378531"/>
              <a:gd name="connsiteY3" fmla="*/ 0 h 1470905"/>
              <a:gd name="connsiteX4" fmla="*/ 2542624 w 3378531"/>
              <a:gd name="connsiteY4" fmla="*/ 343865 h 1470905"/>
              <a:gd name="connsiteX5" fmla="*/ 2125876 w 3378531"/>
              <a:gd name="connsiteY5" fmla="*/ 358816 h 1470905"/>
              <a:gd name="connsiteX6" fmla="*/ 3369854 w 3378531"/>
              <a:gd name="connsiteY6" fmla="*/ 1028279 h 1470905"/>
              <a:gd name="connsiteX7" fmla="*/ 2635223 w 3378531"/>
              <a:gd name="connsiteY7" fmla="*/ 1215403 h 1470905"/>
              <a:gd name="connsiteX8" fmla="*/ 1810164 w 3378531"/>
              <a:gd name="connsiteY8" fmla="*/ 408672 h 1470905"/>
              <a:gd name="connsiteX9" fmla="*/ 1917170 w 3378531"/>
              <a:gd name="connsiteY9" fmla="*/ 1354238 h 1470905"/>
              <a:gd name="connsiteX10" fmla="*/ 1326861 w 3378531"/>
              <a:gd name="connsiteY10" fmla="*/ 1354238 h 1470905"/>
              <a:gd name="connsiteX11" fmla="*/ 1415420 w 3378531"/>
              <a:gd name="connsiteY11" fmla="*/ 433207 h 1470905"/>
              <a:gd name="connsiteX12" fmla="*/ 774718 w 3378531"/>
              <a:gd name="connsiteY12" fmla="*/ 1314881 h 1470905"/>
              <a:gd name="connsiteX13" fmla="*/ 432415 w 3378531"/>
              <a:gd name="connsiteY13" fmla="*/ 1284851 h 1470905"/>
              <a:gd name="connsiteX14" fmla="*/ 18500 w 3378531"/>
              <a:gd name="connsiteY14" fmla="*/ 990902 h 1470905"/>
              <a:gd name="connsiteX0" fmla="*/ 18500 w 3373964"/>
              <a:gd name="connsiteY0" fmla="*/ 990902 h 1470905"/>
              <a:gd name="connsiteX1" fmla="*/ 1081382 w 3373964"/>
              <a:gd name="connsiteY1" fmla="*/ 377203 h 1470905"/>
              <a:gd name="connsiteX2" fmla="*/ 762655 w 3373964"/>
              <a:gd name="connsiteY2" fmla="*/ 381965 h 1470905"/>
              <a:gd name="connsiteX3" fmla="*/ 1595129 w 3373964"/>
              <a:gd name="connsiteY3" fmla="*/ 0 h 1470905"/>
              <a:gd name="connsiteX4" fmla="*/ 2542624 w 3373964"/>
              <a:gd name="connsiteY4" fmla="*/ 343865 h 1470905"/>
              <a:gd name="connsiteX5" fmla="*/ 2125876 w 3373964"/>
              <a:gd name="connsiteY5" fmla="*/ 358816 h 1470905"/>
              <a:gd name="connsiteX6" fmla="*/ 3369854 w 3373964"/>
              <a:gd name="connsiteY6" fmla="*/ 1028279 h 1470905"/>
              <a:gd name="connsiteX7" fmla="*/ 2501873 w 3373964"/>
              <a:gd name="connsiteY7" fmla="*/ 1263028 h 1470905"/>
              <a:gd name="connsiteX8" fmla="*/ 1810164 w 3373964"/>
              <a:gd name="connsiteY8" fmla="*/ 408672 h 1470905"/>
              <a:gd name="connsiteX9" fmla="*/ 1917170 w 3373964"/>
              <a:gd name="connsiteY9" fmla="*/ 1354238 h 1470905"/>
              <a:gd name="connsiteX10" fmla="*/ 1326861 w 3373964"/>
              <a:gd name="connsiteY10" fmla="*/ 1354238 h 1470905"/>
              <a:gd name="connsiteX11" fmla="*/ 1415420 w 3373964"/>
              <a:gd name="connsiteY11" fmla="*/ 433207 h 1470905"/>
              <a:gd name="connsiteX12" fmla="*/ 774718 w 3373964"/>
              <a:gd name="connsiteY12" fmla="*/ 1314881 h 1470905"/>
              <a:gd name="connsiteX13" fmla="*/ 432415 w 3373964"/>
              <a:gd name="connsiteY13" fmla="*/ 1284851 h 1470905"/>
              <a:gd name="connsiteX14" fmla="*/ 18500 w 3373964"/>
              <a:gd name="connsiteY14" fmla="*/ 990902 h 1470905"/>
              <a:gd name="connsiteX0" fmla="*/ 13896 w 3558693"/>
              <a:gd name="connsiteY0" fmla="*/ 990902 h 1470905"/>
              <a:gd name="connsiteX1" fmla="*/ 1266111 w 3558693"/>
              <a:gd name="connsiteY1" fmla="*/ 377203 h 1470905"/>
              <a:gd name="connsiteX2" fmla="*/ 947384 w 3558693"/>
              <a:gd name="connsiteY2" fmla="*/ 381965 h 1470905"/>
              <a:gd name="connsiteX3" fmla="*/ 1779858 w 3558693"/>
              <a:gd name="connsiteY3" fmla="*/ 0 h 1470905"/>
              <a:gd name="connsiteX4" fmla="*/ 2727353 w 3558693"/>
              <a:gd name="connsiteY4" fmla="*/ 343865 h 1470905"/>
              <a:gd name="connsiteX5" fmla="*/ 2310605 w 3558693"/>
              <a:gd name="connsiteY5" fmla="*/ 358816 h 1470905"/>
              <a:gd name="connsiteX6" fmla="*/ 3554583 w 3558693"/>
              <a:gd name="connsiteY6" fmla="*/ 1028279 h 1470905"/>
              <a:gd name="connsiteX7" fmla="*/ 2686602 w 3558693"/>
              <a:gd name="connsiteY7" fmla="*/ 1263028 h 1470905"/>
              <a:gd name="connsiteX8" fmla="*/ 1994893 w 3558693"/>
              <a:gd name="connsiteY8" fmla="*/ 408672 h 1470905"/>
              <a:gd name="connsiteX9" fmla="*/ 2101899 w 3558693"/>
              <a:gd name="connsiteY9" fmla="*/ 1354238 h 1470905"/>
              <a:gd name="connsiteX10" fmla="*/ 1511590 w 3558693"/>
              <a:gd name="connsiteY10" fmla="*/ 1354238 h 1470905"/>
              <a:gd name="connsiteX11" fmla="*/ 1600149 w 3558693"/>
              <a:gd name="connsiteY11" fmla="*/ 433207 h 1470905"/>
              <a:gd name="connsiteX12" fmla="*/ 959447 w 3558693"/>
              <a:gd name="connsiteY12" fmla="*/ 1314881 h 1470905"/>
              <a:gd name="connsiteX13" fmla="*/ 617144 w 3558693"/>
              <a:gd name="connsiteY13" fmla="*/ 1284851 h 1470905"/>
              <a:gd name="connsiteX14" fmla="*/ 13896 w 3558693"/>
              <a:gd name="connsiteY14" fmla="*/ 990902 h 1470905"/>
              <a:gd name="connsiteX0" fmla="*/ 24494 w 3569291"/>
              <a:gd name="connsiteY0" fmla="*/ 990902 h 1470905"/>
              <a:gd name="connsiteX1" fmla="*/ 1276709 w 3569291"/>
              <a:gd name="connsiteY1" fmla="*/ 377203 h 1470905"/>
              <a:gd name="connsiteX2" fmla="*/ 957982 w 3569291"/>
              <a:gd name="connsiteY2" fmla="*/ 381965 h 1470905"/>
              <a:gd name="connsiteX3" fmla="*/ 1790456 w 3569291"/>
              <a:gd name="connsiteY3" fmla="*/ 0 h 1470905"/>
              <a:gd name="connsiteX4" fmla="*/ 2737951 w 3569291"/>
              <a:gd name="connsiteY4" fmla="*/ 343865 h 1470905"/>
              <a:gd name="connsiteX5" fmla="*/ 2321203 w 3569291"/>
              <a:gd name="connsiteY5" fmla="*/ 358816 h 1470905"/>
              <a:gd name="connsiteX6" fmla="*/ 3565181 w 3569291"/>
              <a:gd name="connsiteY6" fmla="*/ 1028279 h 1470905"/>
              <a:gd name="connsiteX7" fmla="*/ 2697200 w 3569291"/>
              <a:gd name="connsiteY7" fmla="*/ 1263028 h 1470905"/>
              <a:gd name="connsiteX8" fmla="*/ 2005491 w 3569291"/>
              <a:gd name="connsiteY8" fmla="*/ 408672 h 1470905"/>
              <a:gd name="connsiteX9" fmla="*/ 2112497 w 3569291"/>
              <a:gd name="connsiteY9" fmla="*/ 1354238 h 1470905"/>
              <a:gd name="connsiteX10" fmla="*/ 1522188 w 3569291"/>
              <a:gd name="connsiteY10" fmla="*/ 1354238 h 1470905"/>
              <a:gd name="connsiteX11" fmla="*/ 1610747 w 3569291"/>
              <a:gd name="connsiteY11" fmla="*/ 433207 h 1470905"/>
              <a:gd name="connsiteX12" fmla="*/ 970045 w 3569291"/>
              <a:gd name="connsiteY12" fmla="*/ 1314881 h 1470905"/>
              <a:gd name="connsiteX13" fmla="*/ 627742 w 3569291"/>
              <a:gd name="connsiteY13" fmla="*/ 1284851 h 1470905"/>
              <a:gd name="connsiteX14" fmla="*/ 24494 w 3569291"/>
              <a:gd name="connsiteY14" fmla="*/ 990902 h 1470905"/>
              <a:gd name="connsiteX0" fmla="*/ 24494 w 3602737"/>
              <a:gd name="connsiteY0" fmla="*/ 990902 h 1470905"/>
              <a:gd name="connsiteX1" fmla="*/ 1276709 w 3602737"/>
              <a:gd name="connsiteY1" fmla="*/ 377203 h 1470905"/>
              <a:gd name="connsiteX2" fmla="*/ 957982 w 3602737"/>
              <a:gd name="connsiteY2" fmla="*/ 381965 h 1470905"/>
              <a:gd name="connsiteX3" fmla="*/ 1790456 w 3602737"/>
              <a:gd name="connsiteY3" fmla="*/ 0 h 1470905"/>
              <a:gd name="connsiteX4" fmla="*/ 2737951 w 3602737"/>
              <a:gd name="connsiteY4" fmla="*/ 343865 h 1470905"/>
              <a:gd name="connsiteX5" fmla="*/ 2321203 w 3602737"/>
              <a:gd name="connsiteY5" fmla="*/ 358816 h 1470905"/>
              <a:gd name="connsiteX6" fmla="*/ 3565181 w 3602737"/>
              <a:gd name="connsiteY6" fmla="*/ 1028279 h 1470905"/>
              <a:gd name="connsiteX7" fmla="*/ 2697200 w 3602737"/>
              <a:gd name="connsiteY7" fmla="*/ 1263028 h 1470905"/>
              <a:gd name="connsiteX8" fmla="*/ 2005491 w 3602737"/>
              <a:gd name="connsiteY8" fmla="*/ 408672 h 1470905"/>
              <a:gd name="connsiteX9" fmla="*/ 2112497 w 3602737"/>
              <a:gd name="connsiteY9" fmla="*/ 1354238 h 1470905"/>
              <a:gd name="connsiteX10" fmla="*/ 1522188 w 3602737"/>
              <a:gd name="connsiteY10" fmla="*/ 1354238 h 1470905"/>
              <a:gd name="connsiteX11" fmla="*/ 1610747 w 3602737"/>
              <a:gd name="connsiteY11" fmla="*/ 433207 h 1470905"/>
              <a:gd name="connsiteX12" fmla="*/ 970045 w 3602737"/>
              <a:gd name="connsiteY12" fmla="*/ 1314881 h 1470905"/>
              <a:gd name="connsiteX13" fmla="*/ 627742 w 3602737"/>
              <a:gd name="connsiteY13" fmla="*/ 1284851 h 1470905"/>
              <a:gd name="connsiteX14" fmla="*/ 24494 w 3602737"/>
              <a:gd name="connsiteY14" fmla="*/ 990902 h 1470905"/>
              <a:gd name="connsiteX0" fmla="*/ 22561 w 3673625"/>
              <a:gd name="connsiteY0" fmla="*/ 1155337 h 1470905"/>
              <a:gd name="connsiteX1" fmla="*/ 1347597 w 3673625"/>
              <a:gd name="connsiteY1" fmla="*/ 377203 h 1470905"/>
              <a:gd name="connsiteX2" fmla="*/ 1028870 w 3673625"/>
              <a:gd name="connsiteY2" fmla="*/ 381965 h 1470905"/>
              <a:gd name="connsiteX3" fmla="*/ 1861344 w 3673625"/>
              <a:gd name="connsiteY3" fmla="*/ 0 h 1470905"/>
              <a:gd name="connsiteX4" fmla="*/ 2808839 w 3673625"/>
              <a:gd name="connsiteY4" fmla="*/ 343865 h 1470905"/>
              <a:gd name="connsiteX5" fmla="*/ 2392091 w 3673625"/>
              <a:gd name="connsiteY5" fmla="*/ 358816 h 1470905"/>
              <a:gd name="connsiteX6" fmla="*/ 3636069 w 3673625"/>
              <a:gd name="connsiteY6" fmla="*/ 1028279 h 1470905"/>
              <a:gd name="connsiteX7" fmla="*/ 2768088 w 3673625"/>
              <a:gd name="connsiteY7" fmla="*/ 1263028 h 1470905"/>
              <a:gd name="connsiteX8" fmla="*/ 2076379 w 3673625"/>
              <a:gd name="connsiteY8" fmla="*/ 408672 h 1470905"/>
              <a:gd name="connsiteX9" fmla="*/ 2183385 w 3673625"/>
              <a:gd name="connsiteY9" fmla="*/ 1354238 h 1470905"/>
              <a:gd name="connsiteX10" fmla="*/ 1593076 w 3673625"/>
              <a:gd name="connsiteY10" fmla="*/ 1354238 h 1470905"/>
              <a:gd name="connsiteX11" fmla="*/ 1681635 w 3673625"/>
              <a:gd name="connsiteY11" fmla="*/ 433207 h 1470905"/>
              <a:gd name="connsiteX12" fmla="*/ 1040933 w 3673625"/>
              <a:gd name="connsiteY12" fmla="*/ 1314881 h 1470905"/>
              <a:gd name="connsiteX13" fmla="*/ 698630 w 3673625"/>
              <a:gd name="connsiteY13" fmla="*/ 1284851 h 1470905"/>
              <a:gd name="connsiteX14" fmla="*/ 22561 w 3673625"/>
              <a:gd name="connsiteY14" fmla="*/ 1155337 h 1470905"/>
              <a:gd name="connsiteX0" fmla="*/ 2361 w 3653425"/>
              <a:gd name="connsiteY0" fmla="*/ 1155337 h 1470905"/>
              <a:gd name="connsiteX1" fmla="*/ 1327397 w 3653425"/>
              <a:gd name="connsiteY1" fmla="*/ 377203 h 1470905"/>
              <a:gd name="connsiteX2" fmla="*/ 1008670 w 3653425"/>
              <a:gd name="connsiteY2" fmla="*/ 381965 h 1470905"/>
              <a:gd name="connsiteX3" fmla="*/ 1841144 w 3653425"/>
              <a:gd name="connsiteY3" fmla="*/ 0 h 1470905"/>
              <a:gd name="connsiteX4" fmla="*/ 2788639 w 3653425"/>
              <a:gd name="connsiteY4" fmla="*/ 343865 h 1470905"/>
              <a:gd name="connsiteX5" fmla="*/ 2371891 w 3653425"/>
              <a:gd name="connsiteY5" fmla="*/ 358816 h 1470905"/>
              <a:gd name="connsiteX6" fmla="*/ 3615869 w 3653425"/>
              <a:gd name="connsiteY6" fmla="*/ 1028279 h 1470905"/>
              <a:gd name="connsiteX7" fmla="*/ 2747888 w 3653425"/>
              <a:gd name="connsiteY7" fmla="*/ 1263028 h 1470905"/>
              <a:gd name="connsiteX8" fmla="*/ 2056179 w 3653425"/>
              <a:gd name="connsiteY8" fmla="*/ 408672 h 1470905"/>
              <a:gd name="connsiteX9" fmla="*/ 2163185 w 3653425"/>
              <a:gd name="connsiteY9" fmla="*/ 1354238 h 1470905"/>
              <a:gd name="connsiteX10" fmla="*/ 1572876 w 3653425"/>
              <a:gd name="connsiteY10" fmla="*/ 1354238 h 1470905"/>
              <a:gd name="connsiteX11" fmla="*/ 1661435 w 3653425"/>
              <a:gd name="connsiteY11" fmla="*/ 433207 h 1470905"/>
              <a:gd name="connsiteX12" fmla="*/ 1020733 w 3653425"/>
              <a:gd name="connsiteY12" fmla="*/ 1314881 h 1470905"/>
              <a:gd name="connsiteX13" fmla="*/ 2361 w 3653425"/>
              <a:gd name="connsiteY13" fmla="*/ 1155337 h 1470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53425" h="1470905">
                <a:moveTo>
                  <a:pt x="2361" y="1155337"/>
                </a:moveTo>
                <a:cubicBezTo>
                  <a:pt x="154214" y="1145006"/>
                  <a:pt x="552496" y="1047811"/>
                  <a:pt x="1327397" y="377203"/>
                </a:cubicBezTo>
                <a:cubicBezTo>
                  <a:pt x="1132557" y="389141"/>
                  <a:pt x="1257526" y="376178"/>
                  <a:pt x="1008670" y="381965"/>
                </a:cubicBezTo>
                <a:cubicBezTo>
                  <a:pt x="1254632" y="280204"/>
                  <a:pt x="1596146" y="162045"/>
                  <a:pt x="1841144" y="0"/>
                </a:cubicBezTo>
                <a:cubicBezTo>
                  <a:pt x="2080655" y="140946"/>
                  <a:pt x="2544606" y="293466"/>
                  <a:pt x="2788639" y="343865"/>
                </a:cubicBezTo>
                <a:cubicBezTo>
                  <a:pt x="2569082" y="355439"/>
                  <a:pt x="2530922" y="358575"/>
                  <a:pt x="2371891" y="358816"/>
                </a:cubicBezTo>
                <a:cubicBezTo>
                  <a:pt x="3057450" y="981679"/>
                  <a:pt x="3392998" y="924559"/>
                  <a:pt x="3615869" y="1028279"/>
                </a:cubicBezTo>
                <a:cubicBezTo>
                  <a:pt x="3838740" y="1131999"/>
                  <a:pt x="3007836" y="1366296"/>
                  <a:pt x="2747888" y="1263028"/>
                </a:cubicBezTo>
                <a:cubicBezTo>
                  <a:pt x="2487940" y="1159760"/>
                  <a:pt x="2151249" y="560951"/>
                  <a:pt x="2056179" y="408672"/>
                </a:cubicBezTo>
                <a:cubicBezTo>
                  <a:pt x="2070647" y="608818"/>
                  <a:pt x="2243736" y="1196644"/>
                  <a:pt x="2163185" y="1354238"/>
                </a:cubicBezTo>
                <a:cubicBezTo>
                  <a:pt x="2082635" y="1511832"/>
                  <a:pt x="1656501" y="1507743"/>
                  <a:pt x="1572876" y="1354238"/>
                </a:cubicBezTo>
                <a:cubicBezTo>
                  <a:pt x="1489251" y="1200733"/>
                  <a:pt x="1669321" y="611217"/>
                  <a:pt x="1661435" y="433207"/>
                </a:cubicBezTo>
                <a:cubicBezTo>
                  <a:pt x="1601161" y="536185"/>
                  <a:pt x="1207586" y="1184053"/>
                  <a:pt x="1020733" y="1314881"/>
                </a:cubicBezTo>
                <a:cubicBezTo>
                  <a:pt x="744221" y="1435236"/>
                  <a:pt x="-48750" y="1311617"/>
                  <a:pt x="2361" y="1155337"/>
                </a:cubicBezTo>
                <a:close/>
              </a:path>
            </a:pathLst>
          </a:custGeom>
          <a:gradFill flip="none" rotWithShape="1">
            <a:gsLst>
              <a:gs pos="20000">
                <a:schemeClr val="tx1">
                  <a:alpha val="0"/>
                </a:schemeClr>
              </a:gs>
              <a:gs pos="100000">
                <a:schemeClr val="tx1">
                  <a:lumMod val="50000"/>
                  <a:lumOff val="50000"/>
                </a:schemeClr>
              </a:gs>
            </a:gsLst>
            <a:lin ang="16200000" scaled="1"/>
            <a:tileRect/>
          </a:gradFill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buClr>
                <a:srgbClr val="990000"/>
              </a:buClr>
              <a:buSzPct val="60000"/>
              <a:buFont typeface="Wingdings" pitchFamily="2" charset="2"/>
              <a:buNone/>
            </a:pPr>
            <a:endParaRPr lang="zh-CN" altLang="en-US" sz="900">
              <a:solidFill>
                <a:srgbClr val="000000"/>
              </a:solidFill>
              <a:ea typeface="华文细黑" pitchFamily="2" charset="-122"/>
              <a:cs typeface="Arial" pitchFamily="34" charset="0"/>
            </a:endParaRPr>
          </a:p>
        </p:txBody>
      </p:sp>
      <p:grpSp>
        <p:nvGrpSpPr>
          <p:cNvPr id="2" name="组合 76"/>
          <p:cNvGrpSpPr>
            <a:grpSpLocks/>
          </p:cNvGrpSpPr>
          <p:nvPr/>
        </p:nvGrpSpPr>
        <p:grpSpPr bwMode="auto">
          <a:xfrm>
            <a:off x="2689225" y="2220913"/>
            <a:ext cx="3417888" cy="915987"/>
            <a:chOff x="3480949" y="2793380"/>
            <a:chExt cx="2449296" cy="1054495"/>
          </a:xfrm>
        </p:grpSpPr>
        <p:sp>
          <p:nvSpPr>
            <p:cNvPr id="40" name="圆柱形 39"/>
            <p:cNvSpPr/>
            <p:nvPr/>
          </p:nvSpPr>
          <p:spPr bwMode="auto">
            <a:xfrm>
              <a:off x="3480949" y="2793380"/>
              <a:ext cx="2449296" cy="1054495"/>
            </a:xfrm>
            <a:prstGeom prst="can">
              <a:avLst/>
            </a:prstGeom>
            <a:solidFill>
              <a:srgbClr val="CCCCCC"/>
            </a:solidFill>
            <a:ln>
              <a:noFill/>
              <a:headEnd type="none" w="med" len="med"/>
              <a:tailEnd type="none" w="med" len="med"/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91425" tIns="45712" rIns="91425" bIns="45712"/>
            <a:lstStyle/>
            <a:p>
              <a:pPr defTabSz="877888" eaLnBrk="0" hangingPunct="0">
                <a:buClr>
                  <a:srgbClr val="CC9900"/>
                </a:buClr>
                <a:buFont typeface="Wingdings" pitchFamily="2" charset="2"/>
                <a:buNone/>
              </a:pPr>
              <a:endParaRPr lang="zh-CN" altLang="en-US" sz="900">
                <a:solidFill>
                  <a:srgbClr val="FFFFF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302" name="TextBox 60"/>
            <p:cNvSpPr txBox="1">
              <a:spLocks noChangeArrowheads="1"/>
            </p:cNvSpPr>
            <p:nvPr/>
          </p:nvSpPr>
          <p:spPr bwMode="auto">
            <a:xfrm>
              <a:off x="4243806" y="3149138"/>
              <a:ext cx="909768" cy="602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buClr>
                  <a:srgbClr val="CC9900"/>
                </a:buClr>
                <a:buFont typeface="Wingdings" pitchFamily="2" charset="2"/>
                <a:buNone/>
              </a:pPr>
              <a:r>
                <a:rPr lang="en-US" altLang="zh-CN" sz="2800">
                  <a:solidFill>
                    <a:srgbClr val="C00000"/>
                  </a:solidFill>
                  <a:ea typeface="微软雅黑" pitchFamily="34" charset="-122"/>
                  <a:cs typeface="Arial" pitchFamily="34" charset="0"/>
                </a:rPr>
                <a:t>eLTE</a:t>
              </a:r>
              <a:endParaRPr lang="zh-CN" altLang="en-US" sz="2800">
                <a:solidFill>
                  <a:srgbClr val="C00000"/>
                </a:solidFill>
                <a:ea typeface="微软雅黑" pitchFamily="34" charset="-122"/>
                <a:cs typeface="Arial" pitchFamily="34" charset="0"/>
              </a:endParaRPr>
            </a:p>
          </p:txBody>
        </p:sp>
        <p:grpSp>
          <p:nvGrpSpPr>
            <p:cNvPr id="3" name="组合 245"/>
            <p:cNvGrpSpPr/>
            <p:nvPr/>
          </p:nvGrpSpPr>
          <p:grpSpPr>
            <a:xfrm>
              <a:off x="5150146" y="3075920"/>
              <a:ext cx="376126" cy="649281"/>
              <a:chOff x="15730538" y="3268663"/>
              <a:chExt cx="765175" cy="1123950"/>
            </a:xfrm>
            <a:solidFill>
              <a:schemeClr val="tx1">
                <a:lumMod val="50000"/>
                <a:lumOff val="50000"/>
              </a:schemeClr>
            </a:solidFill>
          </p:grpSpPr>
          <p:sp>
            <p:nvSpPr>
              <p:cNvPr id="49" name="Freeform 57"/>
              <p:cNvSpPr>
                <a:spLocks/>
              </p:cNvSpPr>
              <p:nvPr/>
            </p:nvSpPr>
            <p:spPr bwMode="auto">
              <a:xfrm>
                <a:off x="15786100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74" y="105"/>
                  </a:cxn>
                  <a:cxn ang="0">
                    <a:pos x="42" y="152"/>
                  </a:cxn>
                  <a:cxn ang="0">
                    <a:pos x="19" y="202"/>
                  </a:cxn>
                  <a:cxn ang="0">
                    <a:pos x="4" y="256"/>
                  </a:cxn>
                  <a:cxn ang="0">
                    <a:pos x="0" y="312"/>
                  </a:cxn>
                  <a:cxn ang="0">
                    <a:pos x="2" y="319"/>
                  </a:cxn>
                  <a:cxn ang="0">
                    <a:pos x="10" y="327"/>
                  </a:cxn>
                  <a:cxn ang="0">
                    <a:pos x="57" y="327"/>
                  </a:cxn>
                  <a:cxn ang="0">
                    <a:pos x="64" y="326"/>
                  </a:cxn>
                  <a:cxn ang="0">
                    <a:pos x="69" y="322"/>
                  </a:cxn>
                  <a:cxn ang="0">
                    <a:pos x="73" y="312"/>
                  </a:cxn>
                  <a:cxn ang="0">
                    <a:pos x="74" y="290"/>
                  </a:cxn>
                  <a:cxn ang="0">
                    <a:pos x="81" y="248"/>
                  </a:cxn>
                  <a:cxn ang="0">
                    <a:pos x="95" y="208"/>
                  </a:cxn>
                  <a:cxn ang="0">
                    <a:pos x="117" y="170"/>
                  </a:cxn>
                  <a:cxn ang="0">
                    <a:pos x="130" y="154"/>
                  </a:cxn>
                  <a:cxn ang="0">
                    <a:pos x="140" y="143"/>
                  </a:cxn>
                  <a:cxn ang="0">
                    <a:pos x="174" y="113"/>
                  </a:cxn>
                  <a:cxn ang="0">
                    <a:pos x="214" y="91"/>
                  </a:cxn>
                  <a:cxn ang="0">
                    <a:pos x="258" y="78"/>
                  </a:cxn>
                  <a:cxn ang="0">
                    <a:pos x="304" y="73"/>
                  </a:cxn>
                  <a:cxn ang="0">
                    <a:pos x="311" y="73"/>
                  </a:cxn>
                  <a:cxn ang="0">
                    <a:pos x="316" y="68"/>
                  </a:cxn>
                  <a:cxn ang="0">
                    <a:pos x="319" y="57"/>
                  </a:cxn>
                  <a:cxn ang="0">
                    <a:pos x="319" y="17"/>
                  </a:cxn>
                  <a:cxn ang="0">
                    <a:pos x="314" y="5"/>
                  </a:cxn>
                  <a:cxn ang="0">
                    <a:pos x="309" y="2"/>
                  </a:cxn>
                  <a:cxn ang="0">
                    <a:pos x="304" y="0"/>
                  </a:cxn>
                  <a:cxn ang="0">
                    <a:pos x="243" y="7"/>
                  </a:cxn>
                  <a:cxn ang="0">
                    <a:pos x="186" y="25"/>
                  </a:cxn>
                  <a:cxn ang="0">
                    <a:pos x="133" y="54"/>
                  </a:cxn>
                  <a:cxn ang="0">
                    <a:pos x="88" y="91"/>
                  </a:cxn>
                  <a:cxn ang="0">
                    <a:pos x="74" y="105"/>
                  </a:cxn>
                </a:cxnLst>
                <a:rect l="0" t="0" r="r" b="b"/>
                <a:pathLst>
                  <a:path w="319" h="329">
                    <a:moveTo>
                      <a:pt x="74" y="105"/>
                    </a:moveTo>
                    <a:lnTo>
                      <a:pt x="74" y="105"/>
                    </a:lnTo>
                    <a:lnTo>
                      <a:pt x="57" y="128"/>
                    </a:lnTo>
                    <a:lnTo>
                      <a:pt x="42" y="152"/>
                    </a:lnTo>
                    <a:lnTo>
                      <a:pt x="29" y="175"/>
                    </a:lnTo>
                    <a:lnTo>
                      <a:pt x="19" y="202"/>
                    </a:lnTo>
                    <a:lnTo>
                      <a:pt x="10" y="229"/>
                    </a:lnTo>
                    <a:lnTo>
                      <a:pt x="4" y="256"/>
                    </a:lnTo>
                    <a:lnTo>
                      <a:pt x="2" y="285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2" y="319"/>
                    </a:lnTo>
                    <a:lnTo>
                      <a:pt x="5" y="324"/>
                    </a:lnTo>
                    <a:lnTo>
                      <a:pt x="10" y="327"/>
                    </a:lnTo>
                    <a:lnTo>
                      <a:pt x="17" y="329"/>
                    </a:lnTo>
                    <a:lnTo>
                      <a:pt x="57" y="327"/>
                    </a:lnTo>
                    <a:lnTo>
                      <a:pt x="57" y="327"/>
                    </a:lnTo>
                    <a:lnTo>
                      <a:pt x="64" y="326"/>
                    </a:lnTo>
                    <a:lnTo>
                      <a:pt x="69" y="322"/>
                    </a:lnTo>
                    <a:lnTo>
                      <a:pt x="69" y="322"/>
                    </a:lnTo>
                    <a:lnTo>
                      <a:pt x="73" y="317"/>
                    </a:lnTo>
                    <a:lnTo>
                      <a:pt x="73" y="312"/>
                    </a:lnTo>
                    <a:lnTo>
                      <a:pt x="73" y="312"/>
                    </a:lnTo>
                    <a:lnTo>
                      <a:pt x="74" y="290"/>
                    </a:lnTo>
                    <a:lnTo>
                      <a:pt x="76" y="268"/>
                    </a:lnTo>
                    <a:lnTo>
                      <a:pt x="81" y="248"/>
                    </a:lnTo>
                    <a:lnTo>
                      <a:pt x="86" y="226"/>
                    </a:lnTo>
                    <a:lnTo>
                      <a:pt x="95" y="208"/>
                    </a:lnTo>
                    <a:lnTo>
                      <a:pt x="105" y="189"/>
                    </a:lnTo>
                    <a:lnTo>
                      <a:pt x="117" y="170"/>
                    </a:lnTo>
                    <a:lnTo>
                      <a:pt x="130" y="154"/>
                    </a:lnTo>
                    <a:lnTo>
                      <a:pt x="130" y="154"/>
                    </a:lnTo>
                    <a:lnTo>
                      <a:pt x="140" y="143"/>
                    </a:lnTo>
                    <a:lnTo>
                      <a:pt x="140" y="143"/>
                    </a:lnTo>
                    <a:lnTo>
                      <a:pt x="157" y="127"/>
                    </a:lnTo>
                    <a:lnTo>
                      <a:pt x="174" y="113"/>
                    </a:lnTo>
                    <a:lnTo>
                      <a:pt x="194" y="101"/>
                    </a:lnTo>
                    <a:lnTo>
                      <a:pt x="214" y="91"/>
                    </a:lnTo>
                    <a:lnTo>
                      <a:pt x="236" y="84"/>
                    </a:lnTo>
                    <a:lnTo>
                      <a:pt x="258" y="78"/>
                    </a:lnTo>
                    <a:lnTo>
                      <a:pt x="280" y="74"/>
                    </a:lnTo>
                    <a:lnTo>
                      <a:pt x="304" y="73"/>
                    </a:lnTo>
                    <a:lnTo>
                      <a:pt x="304" y="73"/>
                    </a:lnTo>
                    <a:lnTo>
                      <a:pt x="311" y="73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7" y="62"/>
                    </a:lnTo>
                    <a:lnTo>
                      <a:pt x="319" y="57"/>
                    </a:lnTo>
                    <a:lnTo>
                      <a:pt x="319" y="17"/>
                    </a:lnTo>
                    <a:lnTo>
                      <a:pt x="319" y="17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14" y="5"/>
                    </a:lnTo>
                    <a:lnTo>
                      <a:pt x="309" y="2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273" y="2"/>
                    </a:lnTo>
                    <a:lnTo>
                      <a:pt x="243" y="7"/>
                    </a:lnTo>
                    <a:lnTo>
                      <a:pt x="214" y="15"/>
                    </a:lnTo>
                    <a:lnTo>
                      <a:pt x="186" y="25"/>
                    </a:lnTo>
                    <a:lnTo>
                      <a:pt x="159" y="37"/>
                    </a:lnTo>
                    <a:lnTo>
                      <a:pt x="133" y="54"/>
                    </a:lnTo>
                    <a:lnTo>
                      <a:pt x="110" y="71"/>
                    </a:lnTo>
                    <a:lnTo>
                      <a:pt x="88" y="91"/>
                    </a:lnTo>
                    <a:lnTo>
                      <a:pt x="88" y="91"/>
                    </a:lnTo>
                    <a:lnTo>
                      <a:pt x="74" y="105"/>
                    </a:lnTo>
                    <a:lnTo>
                      <a:pt x="74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50" name="Freeform 58"/>
              <p:cNvSpPr>
                <a:spLocks/>
              </p:cNvSpPr>
              <p:nvPr/>
            </p:nvSpPr>
            <p:spPr bwMode="auto">
              <a:xfrm>
                <a:off x="15886113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47" y="50"/>
                  </a:cxn>
                  <a:cxn ang="0">
                    <a:pos x="47" y="50"/>
                  </a:cxn>
                  <a:cxn ang="0">
                    <a:pos x="40" y="57"/>
                  </a:cxn>
                  <a:cxn ang="0">
                    <a:pos x="40" y="57"/>
                  </a:cxn>
                  <a:cxn ang="0">
                    <a:pos x="30" y="69"/>
                  </a:cxn>
                  <a:cxn ang="0">
                    <a:pos x="22" y="82"/>
                  </a:cxn>
                  <a:cxn ang="0">
                    <a:pos x="15" y="96"/>
                  </a:cxn>
                  <a:cxn ang="0">
                    <a:pos x="8" y="111"/>
                  </a:cxn>
                  <a:cxn ang="0">
                    <a:pos x="5" y="126"/>
                  </a:cxn>
                  <a:cxn ang="0">
                    <a:pos x="1" y="141"/>
                  </a:cxn>
                  <a:cxn ang="0">
                    <a:pos x="0" y="156"/>
                  </a:cxn>
                  <a:cxn ang="0">
                    <a:pos x="0" y="173"/>
                  </a:cxn>
                  <a:cxn ang="0">
                    <a:pos x="0" y="173"/>
                  </a:cxn>
                  <a:cxn ang="0">
                    <a:pos x="0" y="178"/>
                  </a:cxn>
                  <a:cxn ang="0">
                    <a:pos x="3" y="183"/>
                  </a:cxn>
                  <a:cxn ang="0">
                    <a:pos x="8" y="187"/>
                  </a:cxn>
                  <a:cxn ang="0">
                    <a:pos x="15" y="189"/>
                  </a:cxn>
                  <a:cxn ang="0">
                    <a:pos x="57" y="187"/>
                  </a:cxn>
                  <a:cxn ang="0">
                    <a:pos x="57" y="187"/>
                  </a:cxn>
                  <a:cxn ang="0">
                    <a:pos x="62" y="185"/>
                  </a:cxn>
                  <a:cxn ang="0">
                    <a:pos x="67" y="182"/>
                  </a:cxn>
                  <a:cxn ang="0">
                    <a:pos x="67" y="182"/>
                  </a:cxn>
                  <a:cxn ang="0">
                    <a:pos x="71" y="177"/>
                  </a:cxn>
                  <a:cxn ang="0">
                    <a:pos x="72" y="170"/>
                  </a:cxn>
                  <a:cxn ang="0">
                    <a:pos x="72" y="170"/>
                  </a:cxn>
                  <a:cxn ang="0">
                    <a:pos x="72" y="153"/>
                  </a:cxn>
                  <a:cxn ang="0">
                    <a:pos x="77" y="136"/>
                  </a:cxn>
                  <a:cxn ang="0">
                    <a:pos x="86" y="119"/>
                  </a:cxn>
                  <a:cxn ang="0">
                    <a:pos x="96" y="104"/>
                  </a:cxn>
                  <a:cxn ang="0">
                    <a:pos x="96" y="104"/>
                  </a:cxn>
                  <a:cxn ang="0">
                    <a:pos x="99" y="101"/>
                  </a:cxn>
                  <a:cxn ang="0">
                    <a:pos x="99" y="101"/>
                  </a:cxn>
                  <a:cxn ang="0">
                    <a:pos x="113" y="89"/>
                  </a:cxn>
                  <a:cxn ang="0">
                    <a:pos x="130" y="81"/>
                  </a:cxn>
                  <a:cxn ang="0">
                    <a:pos x="146" y="74"/>
                  </a:cxn>
                  <a:cxn ang="0">
                    <a:pos x="165" y="72"/>
                  </a:cxn>
                  <a:cxn ang="0">
                    <a:pos x="165" y="72"/>
                  </a:cxn>
                  <a:cxn ang="0">
                    <a:pos x="172" y="70"/>
                  </a:cxn>
                  <a:cxn ang="0">
                    <a:pos x="177" y="67"/>
                  </a:cxn>
                  <a:cxn ang="0">
                    <a:pos x="177" y="67"/>
                  </a:cxn>
                  <a:cxn ang="0">
                    <a:pos x="180" y="62"/>
                  </a:cxn>
                  <a:cxn ang="0">
                    <a:pos x="182" y="55"/>
                  </a:cxn>
                  <a:cxn ang="0">
                    <a:pos x="182" y="15"/>
                  </a:cxn>
                  <a:cxn ang="0">
                    <a:pos x="182" y="15"/>
                  </a:cxn>
                  <a:cxn ang="0">
                    <a:pos x="180" y="8"/>
                  </a:cxn>
                  <a:cxn ang="0">
                    <a:pos x="177" y="3"/>
                  </a:cxn>
                  <a:cxn ang="0">
                    <a:pos x="177" y="3"/>
                  </a:cxn>
                  <a:cxn ang="0">
                    <a:pos x="172" y="0"/>
                  </a:cxn>
                  <a:cxn ang="0">
                    <a:pos x="165" y="0"/>
                  </a:cxn>
                  <a:cxn ang="0">
                    <a:pos x="165" y="0"/>
                  </a:cxn>
                  <a:cxn ang="0">
                    <a:pos x="148" y="0"/>
                  </a:cxn>
                  <a:cxn ang="0">
                    <a:pos x="133" y="3"/>
                  </a:cxn>
                  <a:cxn ang="0">
                    <a:pos x="116" y="6"/>
                  </a:cxn>
                  <a:cxn ang="0">
                    <a:pos x="101" y="13"/>
                  </a:cxn>
                  <a:cxn ang="0">
                    <a:pos x="87" y="20"/>
                  </a:cxn>
                  <a:cxn ang="0">
                    <a:pos x="72" y="28"/>
                  </a:cxn>
                  <a:cxn ang="0">
                    <a:pos x="59" y="38"/>
                  </a:cxn>
                  <a:cxn ang="0">
                    <a:pos x="47" y="50"/>
                  </a:cxn>
                  <a:cxn ang="0">
                    <a:pos x="47" y="50"/>
                  </a:cxn>
                </a:cxnLst>
                <a:rect l="0" t="0" r="r" b="b"/>
                <a:pathLst>
                  <a:path w="182" h="189">
                    <a:moveTo>
                      <a:pt x="47" y="50"/>
                    </a:moveTo>
                    <a:lnTo>
                      <a:pt x="47" y="50"/>
                    </a:lnTo>
                    <a:lnTo>
                      <a:pt x="40" y="57"/>
                    </a:lnTo>
                    <a:lnTo>
                      <a:pt x="40" y="57"/>
                    </a:lnTo>
                    <a:lnTo>
                      <a:pt x="30" y="69"/>
                    </a:lnTo>
                    <a:lnTo>
                      <a:pt x="22" y="82"/>
                    </a:lnTo>
                    <a:lnTo>
                      <a:pt x="15" y="96"/>
                    </a:lnTo>
                    <a:lnTo>
                      <a:pt x="8" y="111"/>
                    </a:lnTo>
                    <a:lnTo>
                      <a:pt x="5" y="126"/>
                    </a:lnTo>
                    <a:lnTo>
                      <a:pt x="1" y="141"/>
                    </a:lnTo>
                    <a:lnTo>
                      <a:pt x="0" y="156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0" y="178"/>
                    </a:lnTo>
                    <a:lnTo>
                      <a:pt x="3" y="183"/>
                    </a:lnTo>
                    <a:lnTo>
                      <a:pt x="8" y="187"/>
                    </a:lnTo>
                    <a:lnTo>
                      <a:pt x="15" y="189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2" y="185"/>
                    </a:lnTo>
                    <a:lnTo>
                      <a:pt x="67" y="182"/>
                    </a:lnTo>
                    <a:lnTo>
                      <a:pt x="67" y="182"/>
                    </a:lnTo>
                    <a:lnTo>
                      <a:pt x="71" y="177"/>
                    </a:lnTo>
                    <a:lnTo>
                      <a:pt x="72" y="170"/>
                    </a:lnTo>
                    <a:lnTo>
                      <a:pt x="72" y="170"/>
                    </a:lnTo>
                    <a:lnTo>
                      <a:pt x="72" y="153"/>
                    </a:lnTo>
                    <a:lnTo>
                      <a:pt x="77" y="136"/>
                    </a:lnTo>
                    <a:lnTo>
                      <a:pt x="86" y="119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9" y="101"/>
                    </a:lnTo>
                    <a:lnTo>
                      <a:pt x="99" y="101"/>
                    </a:lnTo>
                    <a:lnTo>
                      <a:pt x="113" y="89"/>
                    </a:lnTo>
                    <a:lnTo>
                      <a:pt x="130" y="81"/>
                    </a:lnTo>
                    <a:lnTo>
                      <a:pt x="146" y="74"/>
                    </a:lnTo>
                    <a:lnTo>
                      <a:pt x="165" y="72"/>
                    </a:lnTo>
                    <a:lnTo>
                      <a:pt x="165" y="72"/>
                    </a:lnTo>
                    <a:lnTo>
                      <a:pt x="172" y="70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80" y="62"/>
                    </a:lnTo>
                    <a:lnTo>
                      <a:pt x="182" y="55"/>
                    </a:lnTo>
                    <a:lnTo>
                      <a:pt x="182" y="15"/>
                    </a:lnTo>
                    <a:lnTo>
                      <a:pt x="182" y="15"/>
                    </a:lnTo>
                    <a:lnTo>
                      <a:pt x="180" y="8"/>
                    </a:lnTo>
                    <a:lnTo>
                      <a:pt x="177" y="3"/>
                    </a:lnTo>
                    <a:lnTo>
                      <a:pt x="177" y="3"/>
                    </a:lnTo>
                    <a:lnTo>
                      <a:pt x="172" y="0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148" y="0"/>
                    </a:lnTo>
                    <a:lnTo>
                      <a:pt x="133" y="3"/>
                    </a:lnTo>
                    <a:lnTo>
                      <a:pt x="116" y="6"/>
                    </a:lnTo>
                    <a:lnTo>
                      <a:pt x="101" y="13"/>
                    </a:lnTo>
                    <a:lnTo>
                      <a:pt x="87" y="20"/>
                    </a:lnTo>
                    <a:lnTo>
                      <a:pt x="72" y="28"/>
                    </a:lnTo>
                    <a:lnTo>
                      <a:pt x="59" y="38"/>
                    </a:lnTo>
                    <a:lnTo>
                      <a:pt x="47" y="50"/>
                    </a:lnTo>
                    <a:lnTo>
                      <a:pt x="47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51" name="Freeform 59"/>
              <p:cNvSpPr>
                <a:spLocks/>
              </p:cNvSpPr>
              <p:nvPr/>
            </p:nvSpPr>
            <p:spPr bwMode="auto">
              <a:xfrm>
                <a:off x="16213138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302" y="329"/>
                  </a:cxn>
                  <a:cxn ang="0">
                    <a:pos x="309" y="327"/>
                  </a:cxn>
                  <a:cxn ang="0">
                    <a:pos x="317" y="319"/>
                  </a:cxn>
                  <a:cxn ang="0">
                    <a:pos x="319" y="312"/>
                  </a:cxn>
                  <a:cxn ang="0">
                    <a:pos x="314" y="256"/>
                  </a:cxn>
                  <a:cxn ang="0">
                    <a:pos x="300" y="202"/>
                  </a:cxn>
                  <a:cxn ang="0">
                    <a:pos x="277" y="152"/>
                  </a:cxn>
                  <a:cxn ang="0">
                    <a:pos x="243" y="105"/>
                  </a:cxn>
                  <a:cxn ang="0">
                    <a:pos x="231" y="91"/>
                  </a:cxn>
                  <a:cxn ang="0">
                    <a:pos x="209" y="71"/>
                  </a:cxn>
                  <a:cxn ang="0">
                    <a:pos x="159" y="37"/>
                  </a:cxn>
                  <a:cxn ang="0">
                    <a:pos x="105" y="15"/>
                  </a:cxn>
                  <a:cxn ang="0">
                    <a:pos x="46" y="2"/>
                  </a:cxn>
                  <a:cxn ang="0">
                    <a:pos x="15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0" y="57"/>
                  </a:cxn>
                  <a:cxn ang="0">
                    <a:pos x="0" y="62"/>
                  </a:cxn>
                  <a:cxn ang="0">
                    <a:pos x="4" y="68"/>
                  </a:cxn>
                  <a:cxn ang="0">
                    <a:pos x="15" y="73"/>
                  </a:cxn>
                  <a:cxn ang="0">
                    <a:pos x="39" y="74"/>
                  </a:cxn>
                  <a:cxn ang="0">
                    <a:pos x="83" y="84"/>
                  </a:cxn>
                  <a:cxn ang="0">
                    <a:pos x="125" y="101"/>
                  </a:cxn>
                  <a:cxn ang="0">
                    <a:pos x="162" y="127"/>
                  </a:cxn>
                  <a:cxn ang="0">
                    <a:pos x="179" y="143"/>
                  </a:cxn>
                  <a:cxn ang="0">
                    <a:pos x="189" y="154"/>
                  </a:cxn>
                  <a:cxn ang="0">
                    <a:pos x="214" y="189"/>
                  </a:cxn>
                  <a:cxn ang="0">
                    <a:pos x="231" y="226"/>
                  </a:cxn>
                  <a:cxn ang="0">
                    <a:pos x="243" y="268"/>
                  </a:cxn>
                  <a:cxn ang="0">
                    <a:pos x="245" y="312"/>
                  </a:cxn>
                  <a:cxn ang="0">
                    <a:pos x="247" y="317"/>
                  </a:cxn>
                  <a:cxn ang="0">
                    <a:pos x="250" y="322"/>
                  </a:cxn>
                  <a:cxn ang="0">
                    <a:pos x="262" y="327"/>
                  </a:cxn>
                </a:cxnLst>
                <a:rect l="0" t="0" r="r" b="b"/>
                <a:pathLst>
                  <a:path w="319" h="329">
                    <a:moveTo>
                      <a:pt x="262" y="327"/>
                    </a:moveTo>
                    <a:lnTo>
                      <a:pt x="302" y="329"/>
                    </a:lnTo>
                    <a:lnTo>
                      <a:pt x="302" y="329"/>
                    </a:lnTo>
                    <a:lnTo>
                      <a:pt x="309" y="327"/>
                    </a:lnTo>
                    <a:lnTo>
                      <a:pt x="314" y="324"/>
                    </a:lnTo>
                    <a:lnTo>
                      <a:pt x="317" y="319"/>
                    </a:lnTo>
                    <a:lnTo>
                      <a:pt x="319" y="312"/>
                    </a:lnTo>
                    <a:lnTo>
                      <a:pt x="319" y="312"/>
                    </a:lnTo>
                    <a:lnTo>
                      <a:pt x="317" y="285"/>
                    </a:lnTo>
                    <a:lnTo>
                      <a:pt x="314" y="256"/>
                    </a:lnTo>
                    <a:lnTo>
                      <a:pt x="309" y="229"/>
                    </a:lnTo>
                    <a:lnTo>
                      <a:pt x="300" y="202"/>
                    </a:lnTo>
                    <a:lnTo>
                      <a:pt x="290" y="175"/>
                    </a:lnTo>
                    <a:lnTo>
                      <a:pt x="277" y="152"/>
                    </a:lnTo>
                    <a:lnTo>
                      <a:pt x="262" y="128"/>
                    </a:lnTo>
                    <a:lnTo>
                      <a:pt x="243" y="105"/>
                    </a:lnTo>
                    <a:lnTo>
                      <a:pt x="243" y="105"/>
                    </a:lnTo>
                    <a:lnTo>
                      <a:pt x="231" y="91"/>
                    </a:lnTo>
                    <a:lnTo>
                      <a:pt x="231" y="91"/>
                    </a:lnTo>
                    <a:lnTo>
                      <a:pt x="209" y="71"/>
                    </a:lnTo>
                    <a:lnTo>
                      <a:pt x="186" y="54"/>
                    </a:lnTo>
                    <a:lnTo>
                      <a:pt x="159" y="37"/>
                    </a:lnTo>
                    <a:lnTo>
                      <a:pt x="133" y="25"/>
                    </a:lnTo>
                    <a:lnTo>
                      <a:pt x="105" y="15"/>
                    </a:lnTo>
                    <a:lnTo>
                      <a:pt x="76" y="7"/>
                    </a:lnTo>
                    <a:lnTo>
                      <a:pt x="46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9" y="73"/>
                    </a:lnTo>
                    <a:lnTo>
                      <a:pt x="15" y="73"/>
                    </a:lnTo>
                    <a:lnTo>
                      <a:pt x="15" y="73"/>
                    </a:lnTo>
                    <a:lnTo>
                      <a:pt x="39" y="74"/>
                    </a:lnTo>
                    <a:lnTo>
                      <a:pt x="61" y="78"/>
                    </a:lnTo>
                    <a:lnTo>
                      <a:pt x="83" y="84"/>
                    </a:lnTo>
                    <a:lnTo>
                      <a:pt x="105" y="91"/>
                    </a:lnTo>
                    <a:lnTo>
                      <a:pt x="125" y="101"/>
                    </a:lnTo>
                    <a:lnTo>
                      <a:pt x="144" y="113"/>
                    </a:lnTo>
                    <a:lnTo>
                      <a:pt x="162" y="127"/>
                    </a:lnTo>
                    <a:lnTo>
                      <a:pt x="179" y="143"/>
                    </a:lnTo>
                    <a:lnTo>
                      <a:pt x="179" y="143"/>
                    </a:lnTo>
                    <a:lnTo>
                      <a:pt x="189" y="154"/>
                    </a:lnTo>
                    <a:lnTo>
                      <a:pt x="189" y="154"/>
                    </a:lnTo>
                    <a:lnTo>
                      <a:pt x="203" y="170"/>
                    </a:lnTo>
                    <a:lnTo>
                      <a:pt x="214" y="189"/>
                    </a:lnTo>
                    <a:lnTo>
                      <a:pt x="225" y="208"/>
                    </a:lnTo>
                    <a:lnTo>
                      <a:pt x="231" y="226"/>
                    </a:lnTo>
                    <a:lnTo>
                      <a:pt x="238" y="248"/>
                    </a:lnTo>
                    <a:lnTo>
                      <a:pt x="243" y="268"/>
                    </a:lnTo>
                    <a:lnTo>
                      <a:pt x="245" y="290"/>
                    </a:lnTo>
                    <a:lnTo>
                      <a:pt x="245" y="312"/>
                    </a:lnTo>
                    <a:lnTo>
                      <a:pt x="245" y="312"/>
                    </a:lnTo>
                    <a:lnTo>
                      <a:pt x="247" y="317"/>
                    </a:lnTo>
                    <a:lnTo>
                      <a:pt x="250" y="322"/>
                    </a:lnTo>
                    <a:lnTo>
                      <a:pt x="250" y="322"/>
                    </a:lnTo>
                    <a:lnTo>
                      <a:pt x="255" y="326"/>
                    </a:lnTo>
                    <a:lnTo>
                      <a:pt x="262" y="327"/>
                    </a:lnTo>
                    <a:lnTo>
                      <a:pt x="262" y="3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66" name="Freeform 60"/>
              <p:cNvSpPr>
                <a:spLocks/>
              </p:cNvSpPr>
              <p:nvPr/>
            </p:nvSpPr>
            <p:spPr bwMode="auto">
              <a:xfrm>
                <a:off x="16221075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135" y="50"/>
                  </a:cxn>
                  <a:cxn ang="0">
                    <a:pos x="135" y="50"/>
                  </a:cxn>
                  <a:cxn ang="0">
                    <a:pos x="122" y="38"/>
                  </a:cxn>
                  <a:cxn ang="0">
                    <a:pos x="110" y="28"/>
                  </a:cxn>
                  <a:cxn ang="0">
                    <a:pos x="95" y="20"/>
                  </a:cxn>
                  <a:cxn ang="0">
                    <a:pos x="81" y="13"/>
                  </a:cxn>
                  <a:cxn ang="0">
                    <a:pos x="64" y="6"/>
                  </a:cxn>
                  <a:cxn ang="0">
                    <a:pos x="49" y="3"/>
                  </a:cxn>
                  <a:cxn ang="0">
                    <a:pos x="3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8"/>
                  </a:cxn>
                  <a:cxn ang="0">
                    <a:pos x="0" y="15"/>
                  </a:cxn>
                  <a:cxn ang="0">
                    <a:pos x="0" y="55"/>
                  </a:cxn>
                  <a:cxn ang="0">
                    <a:pos x="0" y="55"/>
                  </a:cxn>
                  <a:cxn ang="0">
                    <a:pos x="2" y="62"/>
                  </a:cxn>
                  <a:cxn ang="0">
                    <a:pos x="5" y="67"/>
                  </a:cxn>
                  <a:cxn ang="0">
                    <a:pos x="5" y="67"/>
                  </a:cxn>
                  <a:cxn ang="0">
                    <a:pos x="10" y="70"/>
                  </a:cxn>
                  <a:cxn ang="0">
                    <a:pos x="16" y="72"/>
                  </a:cxn>
                  <a:cxn ang="0">
                    <a:pos x="16" y="72"/>
                  </a:cxn>
                  <a:cxn ang="0">
                    <a:pos x="34" y="74"/>
                  </a:cxn>
                  <a:cxn ang="0">
                    <a:pos x="53" y="81"/>
                  </a:cxn>
                  <a:cxn ang="0">
                    <a:pos x="68" y="89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6" y="104"/>
                  </a:cxn>
                  <a:cxn ang="0">
                    <a:pos x="86" y="104"/>
                  </a:cxn>
                  <a:cxn ang="0">
                    <a:pos x="97" y="119"/>
                  </a:cxn>
                  <a:cxn ang="0">
                    <a:pos x="105" y="136"/>
                  </a:cxn>
                  <a:cxn ang="0">
                    <a:pos x="108" y="153"/>
                  </a:cxn>
                  <a:cxn ang="0">
                    <a:pos x="110" y="170"/>
                  </a:cxn>
                  <a:cxn ang="0">
                    <a:pos x="110" y="170"/>
                  </a:cxn>
                  <a:cxn ang="0">
                    <a:pos x="112" y="177"/>
                  </a:cxn>
                  <a:cxn ang="0">
                    <a:pos x="113" y="182"/>
                  </a:cxn>
                  <a:cxn ang="0">
                    <a:pos x="113" y="182"/>
                  </a:cxn>
                  <a:cxn ang="0">
                    <a:pos x="118" y="185"/>
                  </a:cxn>
                  <a:cxn ang="0">
                    <a:pos x="125" y="187"/>
                  </a:cxn>
                  <a:cxn ang="0">
                    <a:pos x="167" y="189"/>
                  </a:cxn>
                  <a:cxn ang="0">
                    <a:pos x="167" y="189"/>
                  </a:cxn>
                  <a:cxn ang="0">
                    <a:pos x="172" y="187"/>
                  </a:cxn>
                  <a:cxn ang="0">
                    <a:pos x="177" y="183"/>
                  </a:cxn>
                  <a:cxn ang="0">
                    <a:pos x="181" y="178"/>
                  </a:cxn>
                  <a:cxn ang="0">
                    <a:pos x="183" y="173"/>
                  </a:cxn>
                  <a:cxn ang="0">
                    <a:pos x="183" y="173"/>
                  </a:cxn>
                  <a:cxn ang="0">
                    <a:pos x="183" y="156"/>
                  </a:cxn>
                  <a:cxn ang="0">
                    <a:pos x="181" y="141"/>
                  </a:cxn>
                  <a:cxn ang="0">
                    <a:pos x="177" y="126"/>
                  </a:cxn>
                  <a:cxn ang="0">
                    <a:pos x="172" y="111"/>
                  </a:cxn>
                  <a:cxn ang="0">
                    <a:pos x="167" y="96"/>
                  </a:cxn>
                  <a:cxn ang="0">
                    <a:pos x="161" y="82"/>
                  </a:cxn>
                  <a:cxn ang="0">
                    <a:pos x="152" y="69"/>
                  </a:cxn>
                  <a:cxn ang="0">
                    <a:pos x="142" y="57"/>
                  </a:cxn>
                  <a:cxn ang="0">
                    <a:pos x="142" y="57"/>
                  </a:cxn>
                  <a:cxn ang="0">
                    <a:pos x="135" y="50"/>
                  </a:cxn>
                  <a:cxn ang="0">
                    <a:pos x="135" y="50"/>
                  </a:cxn>
                </a:cxnLst>
                <a:rect l="0" t="0" r="r" b="b"/>
                <a:pathLst>
                  <a:path w="183" h="189">
                    <a:moveTo>
                      <a:pt x="135" y="50"/>
                    </a:moveTo>
                    <a:lnTo>
                      <a:pt x="135" y="50"/>
                    </a:lnTo>
                    <a:lnTo>
                      <a:pt x="122" y="38"/>
                    </a:lnTo>
                    <a:lnTo>
                      <a:pt x="110" y="28"/>
                    </a:lnTo>
                    <a:lnTo>
                      <a:pt x="95" y="20"/>
                    </a:lnTo>
                    <a:lnTo>
                      <a:pt x="81" y="13"/>
                    </a:lnTo>
                    <a:lnTo>
                      <a:pt x="64" y="6"/>
                    </a:lnTo>
                    <a:lnTo>
                      <a:pt x="49" y="3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2"/>
                    </a:lnTo>
                    <a:lnTo>
                      <a:pt x="5" y="67"/>
                    </a:lnTo>
                    <a:lnTo>
                      <a:pt x="5" y="67"/>
                    </a:lnTo>
                    <a:lnTo>
                      <a:pt x="10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34" y="74"/>
                    </a:lnTo>
                    <a:lnTo>
                      <a:pt x="53" y="81"/>
                    </a:lnTo>
                    <a:lnTo>
                      <a:pt x="68" y="89"/>
                    </a:lnTo>
                    <a:lnTo>
                      <a:pt x="83" y="101"/>
                    </a:lnTo>
                    <a:lnTo>
                      <a:pt x="83" y="101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97" y="119"/>
                    </a:lnTo>
                    <a:lnTo>
                      <a:pt x="105" y="136"/>
                    </a:lnTo>
                    <a:lnTo>
                      <a:pt x="108" y="153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2" y="177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8" y="185"/>
                    </a:lnTo>
                    <a:lnTo>
                      <a:pt x="125" y="187"/>
                    </a:lnTo>
                    <a:lnTo>
                      <a:pt x="167" y="189"/>
                    </a:lnTo>
                    <a:lnTo>
                      <a:pt x="167" y="189"/>
                    </a:lnTo>
                    <a:lnTo>
                      <a:pt x="172" y="187"/>
                    </a:lnTo>
                    <a:lnTo>
                      <a:pt x="177" y="183"/>
                    </a:lnTo>
                    <a:lnTo>
                      <a:pt x="181" y="178"/>
                    </a:lnTo>
                    <a:lnTo>
                      <a:pt x="183" y="173"/>
                    </a:lnTo>
                    <a:lnTo>
                      <a:pt x="183" y="173"/>
                    </a:lnTo>
                    <a:lnTo>
                      <a:pt x="183" y="156"/>
                    </a:lnTo>
                    <a:lnTo>
                      <a:pt x="181" y="141"/>
                    </a:lnTo>
                    <a:lnTo>
                      <a:pt x="177" y="126"/>
                    </a:lnTo>
                    <a:lnTo>
                      <a:pt x="172" y="111"/>
                    </a:lnTo>
                    <a:lnTo>
                      <a:pt x="167" y="96"/>
                    </a:lnTo>
                    <a:lnTo>
                      <a:pt x="161" y="82"/>
                    </a:lnTo>
                    <a:lnTo>
                      <a:pt x="152" y="69"/>
                    </a:lnTo>
                    <a:lnTo>
                      <a:pt x="142" y="57"/>
                    </a:lnTo>
                    <a:lnTo>
                      <a:pt x="142" y="57"/>
                    </a:lnTo>
                    <a:lnTo>
                      <a:pt x="135" y="50"/>
                    </a:lnTo>
                    <a:lnTo>
                      <a:pt x="135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67" name="Freeform 61"/>
              <p:cNvSpPr>
                <a:spLocks noEditPoints="1"/>
              </p:cNvSpPr>
              <p:nvPr/>
            </p:nvSpPr>
            <p:spPr bwMode="auto">
              <a:xfrm>
                <a:off x="15730538" y="3460750"/>
                <a:ext cx="765175" cy="931863"/>
              </a:xfrm>
              <a:custGeom>
                <a:avLst/>
                <a:gdLst/>
                <a:ahLst/>
                <a:cxnLst>
                  <a:cxn ang="0">
                    <a:pos x="157" y="1174"/>
                  </a:cxn>
                  <a:cxn ang="0">
                    <a:pos x="963" y="1174"/>
                  </a:cxn>
                  <a:cxn ang="0">
                    <a:pos x="842" y="1026"/>
                  </a:cxn>
                  <a:cxn ang="0">
                    <a:pos x="579" y="248"/>
                  </a:cxn>
                  <a:cxn ang="0">
                    <a:pos x="590" y="238"/>
                  </a:cxn>
                  <a:cxn ang="0">
                    <a:pos x="611" y="215"/>
                  </a:cxn>
                  <a:cxn ang="0">
                    <a:pos x="626" y="186"/>
                  </a:cxn>
                  <a:cxn ang="0">
                    <a:pos x="634" y="154"/>
                  </a:cxn>
                  <a:cxn ang="0">
                    <a:pos x="634" y="137"/>
                  </a:cxn>
                  <a:cxn ang="0">
                    <a:pos x="633" y="110"/>
                  </a:cxn>
                  <a:cxn ang="0">
                    <a:pos x="624" y="85"/>
                  </a:cxn>
                  <a:cxn ang="0">
                    <a:pos x="611" y="61"/>
                  </a:cxn>
                  <a:cxn ang="0">
                    <a:pos x="594" y="41"/>
                  </a:cxn>
                  <a:cxn ang="0">
                    <a:pos x="573" y="24"/>
                  </a:cxn>
                  <a:cxn ang="0">
                    <a:pos x="552" y="10"/>
                  </a:cxn>
                  <a:cxn ang="0">
                    <a:pos x="525" y="4"/>
                  </a:cxn>
                  <a:cxn ang="0">
                    <a:pos x="498" y="0"/>
                  </a:cxn>
                  <a:cxn ang="0">
                    <a:pos x="484" y="0"/>
                  </a:cxn>
                  <a:cxn ang="0">
                    <a:pos x="457" y="7"/>
                  </a:cxn>
                  <a:cxn ang="0">
                    <a:pos x="432" y="17"/>
                  </a:cxn>
                  <a:cxn ang="0">
                    <a:pos x="410" y="31"/>
                  </a:cxn>
                  <a:cxn ang="0">
                    <a:pos x="391" y="49"/>
                  </a:cxn>
                  <a:cxn ang="0">
                    <a:pos x="376" y="71"/>
                  </a:cxn>
                  <a:cxn ang="0">
                    <a:pos x="366" y="96"/>
                  </a:cxn>
                  <a:cxn ang="0">
                    <a:pos x="361" y="123"/>
                  </a:cxn>
                  <a:cxn ang="0">
                    <a:pos x="359" y="137"/>
                  </a:cxn>
                  <a:cxn ang="0">
                    <a:pos x="364" y="169"/>
                  </a:cxn>
                  <a:cxn ang="0">
                    <a:pos x="374" y="198"/>
                  </a:cxn>
                  <a:cxn ang="0">
                    <a:pos x="391" y="223"/>
                  </a:cxn>
                  <a:cxn ang="0">
                    <a:pos x="412" y="245"/>
                  </a:cxn>
                  <a:cxn ang="0">
                    <a:pos x="121" y="1026"/>
                  </a:cxn>
                  <a:cxn ang="0">
                    <a:pos x="0" y="1174"/>
                  </a:cxn>
                  <a:cxn ang="0">
                    <a:pos x="415" y="977"/>
                  </a:cxn>
                  <a:cxn ang="0">
                    <a:pos x="698" y="1026"/>
                  </a:cxn>
                  <a:cxn ang="0">
                    <a:pos x="442" y="478"/>
                  </a:cxn>
                  <a:cxn ang="0">
                    <a:pos x="410" y="597"/>
                  </a:cxn>
                  <a:cxn ang="0">
                    <a:pos x="467" y="387"/>
                  </a:cxn>
                  <a:cxn ang="0">
                    <a:pos x="533" y="429"/>
                  </a:cxn>
                  <a:cxn ang="0">
                    <a:pos x="582" y="604"/>
                  </a:cxn>
                  <a:cxn ang="0">
                    <a:pos x="450" y="678"/>
                  </a:cxn>
                  <a:cxn ang="0">
                    <a:pos x="369" y="743"/>
                  </a:cxn>
                  <a:cxn ang="0">
                    <a:pos x="324" y="910"/>
                  </a:cxn>
                </a:cxnLst>
                <a:rect l="0" t="0" r="r" b="b"/>
                <a:pathLst>
                  <a:path w="963" h="1174">
                    <a:moveTo>
                      <a:pt x="0" y="1174"/>
                    </a:moveTo>
                    <a:lnTo>
                      <a:pt x="157" y="1174"/>
                    </a:lnTo>
                    <a:lnTo>
                      <a:pt x="833" y="1174"/>
                    </a:lnTo>
                    <a:lnTo>
                      <a:pt x="963" y="1174"/>
                    </a:lnTo>
                    <a:lnTo>
                      <a:pt x="918" y="1120"/>
                    </a:lnTo>
                    <a:lnTo>
                      <a:pt x="842" y="1026"/>
                    </a:lnTo>
                    <a:lnTo>
                      <a:pt x="793" y="1026"/>
                    </a:lnTo>
                    <a:lnTo>
                      <a:pt x="579" y="248"/>
                    </a:lnTo>
                    <a:lnTo>
                      <a:pt x="579" y="248"/>
                    </a:lnTo>
                    <a:lnTo>
                      <a:pt x="590" y="238"/>
                    </a:lnTo>
                    <a:lnTo>
                      <a:pt x="602" y="226"/>
                    </a:lnTo>
                    <a:lnTo>
                      <a:pt x="611" y="215"/>
                    </a:lnTo>
                    <a:lnTo>
                      <a:pt x="619" y="201"/>
                    </a:lnTo>
                    <a:lnTo>
                      <a:pt x="626" y="186"/>
                    </a:lnTo>
                    <a:lnTo>
                      <a:pt x="631" y="171"/>
                    </a:lnTo>
                    <a:lnTo>
                      <a:pt x="634" y="154"/>
                    </a:lnTo>
                    <a:lnTo>
                      <a:pt x="634" y="137"/>
                    </a:lnTo>
                    <a:lnTo>
                      <a:pt x="634" y="137"/>
                    </a:lnTo>
                    <a:lnTo>
                      <a:pt x="634" y="123"/>
                    </a:lnTo>
                    <a:lnTo>
                      <a:pt x="633" y="110"/>
                    </a:lnTo>
                    <a:lnTo>
                      <a:pt x="629" y="96"/>
                    </a:lnTo>
                    <a:lnTo>
                      <a:pt x="624" y="85"/>
                    </a:lnTo>
                    <a:lnTo>
                      <a:pt x="617" y="71"/>
                    </a:lnTo>
                    <a:lnTo>
                      <a:pt x="611" y="61"/>
                    </a:lnTo>
                    <a:lnTo>
                      <a:pt x="604" y="49"/>
                    </a:lnTo>
                    <a:lnTo>
                      <a:pt x="594" y="41"/>
                    </a:lnTo>
                    <a:lnTo>
                      <a:pt x="585" y="31"/>
                    </a:lnTo>
                    <a:lnTo>
                      <a:pt x="573" y="24"/>
                    </a:lnTo>
                    <a:lnTo>
                      <a:pt x="563" y="17"/>
                    </a:lnTo>
                    <a:lnTo>
                      <a:pt x="552" y="10"/>
                    </a:lnTo>
                    <a:lnTo>
                      <a:pt x="538" y="7"/>
                    </a:lnTo>
                    <a:lnTo>
                      <a:pt x="525" y="4"/>
                    </a:lnTo>
                    <a:lnTo>
                      <a:pt x="511" y="0"/>
                    </a:lnTo>
                    <a:lnTo>
                      <a:pt x="498" y="0"/>
                    </a:lnTo>
                    <a:lnTo>
                      <a:pt x="498" y="0"/>
                    </a:lnTo>
                    <a:lnTo>
                      <a:pt x="484" y="0"/>
                    </a:lnTo>
                    <a:lnTo>
                      <a:pt x="469" y="4"/>
                    </a:lnTo>
                    <a:lnTo>
                      <a:pt x="457" y="7"/>
                    </a:lnTo>
                    <a:lnTo>
                      <a:pt x="444" y="10"/>
                    </a:lnTo>
                    <a:lnTo>
                      <a:pt x="432" y="17"/>
                    </a:lnTo>
                    <a:lnTo>
                      <a:pt x="420" y="24"/>
                    </a:lnTo>
                    <a:lnTo>
                      <a:pt x="410" y="31"/>
                    </a:lnTo>
                    <a:lnTo>
                      <a:pt x="400" y="41"/>
                    </a:lnTo>
                    <a:lnTo>
                      <a:pt x="391" y="49"/>
                    </a:lnTo>
                    <a:lnTo>
                      <a:pt x="383" y="61"/>
                    </a:lnTo>
                    <a:lnTo>
                      <a:pt x="376" y="71"/>
                    </a:lnTo>
                    <a:lnTo>
                      <a:pt x="371" y="85"/>
                    </a:lnTo>
                    <a:lnTo>
                      <a:pt x="366" y="96"/>
                    </a:lnTo>
                    <a:lnTo>
                      <a:pt x="363" y="110"/>
                    </a:lnTo>
                    <a:lnTo>
                      <a:pt x="361" y="123"/>
                    </a:lnTo>
                    <a:lnTo>
                      <a:pt x="359" y="137"/>
                    </a:lnTo>
                    <a:lnTo>
                      <a:pt x="359" y="137"/>
                    </a:lnTo>
                    <a:lnTo>
                      <a:pt x="361" y="154"/>
                    </a:lnTo>
                    <a:lnTo>
                      <a:pt x="364" y="169"/>
                    </a:lnTo>
                    <a:lnTo>
                      <a:pt x="368" y="184"/>
                    </a:lnTo>
                    <a:lnTo>
                      <a:pt x="374" y="198"/>
                    </a:lnTo>
                    <a:lnTo>
                      <a:pt x="381" y="211"/>
                    </a:lnTo>
                    <a:lnTo>
                      <a:pt x="391" y="223"/>
                    </a:lnTo>
                    <a:lnTo>
                      <a:pt x="400" y="235"/>
                    </a:lnTo>
                    <a:lnTo>
                      <a:pt x="412" y="245"/>
                    </a:lnTo>
                    <a:lnTo>
                      <a:pt x="197" y="1026"/>
                    </a:lnTo>
                    <a:lnTo>
                      <a:pt x="121" y="1026"/>
                    </a:lnTo>
                    <a:lnTo>
                      <a:pt x="46" y="1120"/>
                    </a:lnTo>
                    <a:lnTo>
                      <a:pt x="0" y="1174"/>
                    </a:lnTo>
                    <a:close/>
                    <a:moveTo>
                      <a:pt x="577" y="1026"/>
                    </a:moveTo>
                    <a:lnTo>
                      <a:pt x="415" y="977"/>
                    </a:lnTo>
                    <a:lnTo>
                      <a:pt x="663" y="898"/>
                    </a:lnTo>
                    <a:lnTo>
                      <a:pt x="698" y="1026"/>
                    </a:lnTo>
                    <a:lnTo>
                      <a:pt x="577" y="1026"/>
                    </a:lnTo>
                    <a:close/>
                    <a:moveTo>
                      <a:pt x="442" y="478"/>
                    </a:moveTo>
                    <a:lnTo>
                      <a:pt x="526" y="532"/>
                    </a:lnTo>
                    <a:lnTo>
                      <a:pt x="410" y="597"/>
                    </a:lnTo>
                    <a:lnTo>
                      <a:pt x="442" y="478"/>
                    </a:lnTo>
                    <a:close/>
                    <a:moveTo>
                      <a:pt x="467" y="387"/>
                    </a:moveTo>
                    <a:lnTo>
                      <a:pt x="494" y="287"/>
                    </a:lnTo>
                    <a:lnTo>
                      <a:pt x="533" y="429"/>
                    </a:lnTo>
                    <a:lnTo>
                      <a:pt x="467" y="387"/>
                    </a:lnTo>
                    <a:close/>
                    <a:moveTo>
                      <a:pt x="582" y="604"/>
                    </a:moveTo>
                    <a:lnTo>
                      <a:pt x="622" y="753"/>
                    </a:lnTo>
                    <a:lnTo>
                      <a:pt x="450" y="678"/>
                    </a:lnTo>
                    <a:lnTo>
                      <a:pt x="582" y="604"/>
                    </a:lnTo>
                    <a:close/>
                    <a:moveTo>
                      <a:pt x="369" y="743"/>
                    </a:moveTo>
                    <a:lnTo>
                      <a:pt x="573" y="830"/>
                    </a:lnTo>
                    <a:lnTo>
                      <a:pt x="324" y="910"/>
                    </a:lnTo>
                    <a:lnTo>
                      <a:pt x="369" y="7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</p:grpSp>
        <p:grpSp>
          <p:nvGrpSpPr>
            <p:cNvPr id="4" name="组合 245"/>
            <p:cNvGrpSpPr/>
            <p:nvPr/>
          </p:nvGrpSpPr>
          <p:grpSpPr>
            <a:xfrm>
              <a:off x="3852383" y="3102607"/>
              <a:ext cx="376126" cy="649281"/>
              <a:chOff x="15730538" y="3268663"/>
              <a:chExt cx="765175" cy="1123950"/>
            </a:xfrm>
            <a:solidFill>
              <a:schemeClr val="tx1">
                <a:lumMod val="50000"/>
                <a:lumOff val="50000"/>
              </a:schemeClr>
            </a:solidFill>
          </p:grpSpPr>
          <p:sp>
            <p:nvSpPr>
              <p:cNvPr id="44" name="Freeform 57"/>
              <p:cNvSpPr>
                <a:spLocks/>
              </p:cNvSpPr>
              <p:nvPr/>
            </p:nvSpPr>
            <p:spPr bwMode="auto">
              <a:xfrm>
                <a:off x="15786100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74" y="105"/>
                  </a:cxn>
                  <a:cxn ang="0">
                    <a:pos x="42" y="152"/>
                  </a:cxn>
                  <a:cxn ang="0">
                    <a:pos x="19" y="202"/>
                  </a:cxn>
                  <a:cxn ang="0">
                    <a:pos x="4" y="256"/>
                  </a:cxn>
                  <a:cxn ang="0">
                    <a:pos x="0" y="312"/>
                  </a:cxn>
                  <a:cxn ang="0">
                    <a:pos x="2" y="319"/>
                  </a:cxn>
                  <a:cxn ang="0">
                    <a:pos x="10" y="327"/>
                  </a:cxn>
                  <a:cxn ang="0">
                    <a:pos x="57" y="327"/>
                  </a:cxn>
                  <a:cxn ang="0">
                    <a:pos x="64" y="326"/>
                  </a:cxn>
                  <a:cxn ang="0">
                    <a:pos x="69" y="322"/>
                  </a:cxn>
                  <a:cxn ang="0">
                    <a:pos x="73" y="312"/>
                  </a:cxn>
                  <a:cxn ang="0">
                    <a:pos x="74" y="290"/>
                  </a:cxn>
                  <a:cxn ang="0">
                    <a:pos x="81" y="248"/>
                  </a:cxn>
                  <a:cxn ang="0">
                    <a:pos x="95" y="208"/>
                  </a:cxn>
                  <a:cxn ang="0">
                    <a:pos x="117" y="170"/>
                  </a:cxn>
                  <a:cxn ang="0">
                    <a:pos x="130" y="154"/>
                  </a:cxn>
                  <a:cxn ang="0">
                    <a:pos x="140" y="143"/>
                  </a:cxn>
                  <a:cxn ang="0">
                    <a:pos x="174" y="113"/>
                  </a:cxn>
                  <a:cxn ang="0">
                    <a:pos x="214" y="91"/>
                  </a:cxn>
                  <a:cxn ang="0">
                    <a:pos x="258" y="78"/>
                  </a:cxn>
                  <a:cxn ang="0">
                    <a:pos x="304" y="73"/>
                  </a:cxn>
                  <a:cxn ang="0">
                    <a:pos x="311" y="73"/>
                  </a:cxn>
                  <a:cxn ang="0">
                    <a:pos x="316" y="68"/>
                  </a:cxn>
                  <a:cxn ang="0">
                    <a:pos x="319" y="57"/>
                  </a:cxn>
                  <a:cxn ang="0">
                    <a:pos x="319" y="17"/>
                  </a:cxn>
                  <a:cxn ang="0">
                    <a:pos x="314" y="5"/>
                  </a:cxn>
                  <a:cxn ang="0">
                    <a:pos x="309" y="2"/>
                  </a:cxn>
                  <a:cxn ang="0">
                    <a:pos x="304" y="0"/>
                  </a:cxn>
                  <a:cxn ang="0">
                    <a:pos x="243" y="7"/>
                  </a:cxn>
                  <a:cxn ang="0">
                    <a:pos x="186" y="25"/>
                  </a:cxn>
                  <a:cxn ang="0">
                    <a:pos x="133" y="54"/>
                  </a:cxn>
                  <a:cxn ang="0">
                    <a:pos x="88" y="91"/>
                  </a:cxn>
                  <a:cxn ang="0">
                    <a:pos x="74" y="105"/>
                  </a:cxn>
                </a:cxnLst>
                <a:rect l="0" t="0" r="r" b="b"/>
                <a:pathLst>
                  <a:path w="319" h="329">
                    <a:moveTo>
                      <a:pt x="74" y="105"/>
                    </a:moveTo>
                    <a:lnTo>
                      <a:pt x="74" y="105"/>
                    </a:lnTo>
                    <a:lnTo>
                      <a:pt x="57" y="128"/>
                    </a:lnTo>
                    <a:lnTo>
                      <a:pt x="42" y="152"/>
                    </a:lnTo>
                    <a:lnTo>
                      <a:pt x="29" y="175"/>
                    </a:lnTo>
                    <a:lnTo>
                      <a:pt x="19" y="202"/>
                    </a:lnTo>
                    <a:lnTo>
                      <a:pt x="10" y="229"/>
                    </a:lnTo>
                    <a:lnTo>
                      <a:pt x="4" y="256"/>
                    </a:lnTo>
                    <a:lnTo>
                      <a:pt x="2" y="285"/>
                    </a:lnTo>
                    <a:lnTo>
                      <a:pt x="0" y="312"/>
                    </a:lnTo>
                    <a:lnTo>
                      <a:pt x="0" y="312"/>
                    </a:lnTo>
                    <a:lnTo>
                      <a:pt x="2" y="319"/>
                    </a:lnTo>
                    <a:lnTo>
                      <a:pt x="5" y="324"/>
                    </a:lnTo>
                    <a:lnTo>
                      <a:pt x="10" y="327"/>
                    </a:lnTo>
                    <a:lnTo>
                      <a:pt x="17" y="329"/>
                    </a:lnTo>
                    <a:lnTo>
                      <a:pt x="57" y="327"/>
                    </a:lnTo>
                    <a:lnTo>
                      <a:pt x="57" y="327"/>
                    </a:lnTo>
                    <a:lnTo>
                      <a:pt x="64" y="326"/>
                    </a:lnTo>
                    <a:lnTo>
                      <a:pt x="69" y="322"/>
                    </a:lnTo>
                    <a:lnTo>
                      <a:pt x="69" y="322"/>
                    </a:lnTo>
                    <a:lnTo>
                      <a:pt x="73" y="317"/>
                    </a:lnTo>
                    <a:lnTo>
                      <a:pt x="73" y="312"/>
                    </a:lnTo>
                    <a:lnTo>
                      <a:pt x="73" y="312"/>
                    </a:lnTo>
                    <a:lnTo>
                      <a:pt x="74" y="290"/>
                    </a:lnTo>
                    <a:lnTo>
                      <a:pt x="76" y="268"/>
                    </a:lnTo>
                    <a:lnTo>
                      <a:pt x="81" y="248"/>
                    </a:lnTo>
                    <a:lnTo>
                      <a:pt x="86" y="226"/>
                    </a:lnTo>
                    <a:lnTo>
                      <a:pt x="95" y="208"/>
                    </a:lnTo>
                    <a:lnTo>
                      <a:pt x="105" y="189"/>
                    </a:lnTo>
                    <a:lnTo>
                      <a:pt x="117" y="170"/>
                    </a:lnTo>
                    <a:lnTo>
                      <a:pt x="130" y="154"/>
                    </a:lnTo>
                    <a:lnTo>
                      <a:pt x="130" y="154"/>
                    </a:lnTo>
                    <a:lnTo>
                      <a:pt x="140" y="143"/>
                    </a:lnTo>
                    <a:lnTo>
                      <a:pt x="140" y="143"/>
                    </a:lnTo>
                    <a:lnTo>
                      <a:pt x="157" y="127"/>
                    </a:lnTo>
                    <a:lnTo>
                      <a:pt x="174" y="113"/>
                    </a:lnTo>
                    <a:lnTo>
                      <a:pt x="194" y="101"/>
                    </a:lnTo>
                    <a:lnTo>
                      <a:pt x="214" y="91"/>
                    </a:lnTo>
                    <a:lnTo>
                      <a:pt x="236" y="84"/>
                    </a:lnTo>
                    <a:lnTo>
                      <a:pt x="258" y="78"/>
                    </a:lnTo>
                    <a:lnTo>
                      <a:pt x="280" y="74"/>
                    </a:lnTo>
                    <a:lnTo>
                      <a:pt x="304" y="73"/>
                    </a:lnTo>
                    <a:lnTo>
                      <a:pt x="304" y="73"/>
                    </a:lnTo>
                    <a:lnTo>
                      <a:pt x="311" y="73"/>
                    </a:lnTo>
                    <a:lnTo>
                      <a:pt x="316" y="68"/>
                    </a:lnTo>
                    <a:lnTo>
                      <a:pt x="316" y="68"/>
                    </a:lnTo>
                    <a:lnTo>
                      <a:pt x="317" y="62"/>
                    </a:lnTo>
                    <a:lnTo>
                      <a:pt x="319" y="57"/>
                    </a:lnTo>
                    <a:lnTo>
                      <a:pt x="319" y="17"/>
                    </a:lnTo>
                    <a:lnTo>
                      <a:pt x="319" y="17"/>
                    </a:lnTo>
                    <a:lnTo>
                      <a:pt x="317" y="10"/>
                    </a:lnTo>
                    <a:lnTo>
                      <a:pt x="314" y="5"/>
                    </a:lnTo>
                    <a:lnTo>
                      <a:pt x="314" y="5"/>
                    </a:lnTo>
                    <a:lnTo>
                      <a:pt x="309" y="2"/>
                    </a:lnTo>
                    <a:lnTo>
                      <a:pt x="304" y="0"/>
                    </a:lnTo>
                    <a:lnTo>
                      <a:pt x="304" y="0"/>
                    </a:lnTo>
                    <a:lnTo>
                      <a:pt x="273" y="2"/>
                    </a:lnTo>
                    <a:lnTo>
                      <a:pt x="243" y="7"/>
                    </a:lnTo>
                    <a:lnTo>
                      <a:pt x="214" y="15"/>
                    </a:lnTo>
                    <a:lnTo>
                      <a:pt x="186" y="25"/>
                    </a:lnTo>
                    <a:lnTo>
                      <a:pt x="159" y="37"/>
                    </a:lnTo>
                    <a:lnTo>
                      <a:pt x="133" y="54"/>
                    </a:lnTo>
                    <a:lnTo>
                      <a:pt x="110" y="71"/>
                    </a:lnTo>
                    <a:lnTo>
                      <a:pt x="88" y="91"/>
                    </a:lnTo>
                    <a:lnTo>
                      <a:pt x="88" y="91"/>
                    </a:lnTo>
                    <a:lnTo>
                      <a:pt x="74" y="105"/>
                    </a:lnTo>
                    <a:lnTo>
                      <a:pt x="74" y="10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45" name="Freeform 58"/>
              <p:cNvSpPr>
                <a:spLocks/>
              </p:cNvSpPr>
              <p:nvPr/>
            </p:nvSpPr>
            <p:spPr bwMode="auto">
              <a:xfrm>
                <a:off x="15886113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47" y="50"/>
                  </a:cxn>
                  <a:cxn ang="0">
                    <a:pos x="47" y="50"/>
                  </a:cxn>
                  <a:cxn ang="0">
                    <a:pos x="40" y="57"/>
                  </a:cxn>
                  <a:cxn ang="0">
                    <a:pos x="40" y="57"/>
                  </a:cxn>
                  <a:cxn ang="0">
                    <a:pos x="30" y="69"/>
                  </a:cxn>
                  <a:cxn ang="0">
                    <a:pos x="22" y="82"/>
                  </a:cxn>
                  <a:cxn ang="0">
                    <a:pos x="15" y="96"/>
                  </a:cxn>
                  <a:cxn ang="0">
                    <a:pos x="8" y="111"/>
                  </a:cxn>
                  <a:cxn ang="0">
                    <a:pos x="5" y="126"/>
                  </a:cxn>
                  <a:cxn ang="0">
                    <a:pos x="1" y="141"/>
                  </a:cxn>
                  <a:cxn ang="0">
                    <a:pos x="0" y="156"/>
                  </a:cxn>
                  <a:cxn ang="0">
                    <a:pos x="0" y="173"/>
                  </a:cxn>
                  <a:cxn ang="0">
                    <a:pos x="0" y="173"/>
                  </a:cxn>
                  <a:cxn ang="0">
                    <a:pos x="0" y="178"/>
                  </a:cxn>
                  <a:cxn ang="0">
                    <a:pos x="3" y="183"/>
                  </a:cxn>
                  <a:cxn ang="0">
                    <a:pos x="8" y="187"/>
                  </a:cxn>
                  <a:cxn ang="0">
                    <a:pos x="15" y="189"/>
                  </a:cxn>
                  <a:cxn ang="0">
                    <a:pos x="57" y="187"/>
                  </a:cxn>
                  <a:cxn ang="0">
                    <a:pos x="57" y="187"/>
                  </a:cxn>
                  <a:cxn ang="0">
                    <a:pos x="62" y="185"/>
                  </a:cxn>
                  <a:cxn ang="0">
                    <a:pos x="67" y="182"/>
                  </a:cxn>
                  <a:cxn ang="0">
                    <a:pos x="67" y="182"/>
                  </a:cxn>
                  <a:cxn ang="0">
                    <a:pos x="71" y="177"/>
                  </a:cxn>
                  <a:cxn ang="0">
                    <a:pos x="72" y="170"/>
                  </a:cxn>
                  <a:cxn ang="0">
                    <a:pos x="72" y="170"/>
                  </a:cxn>
                  <a:cxn ang="0">
                    <a:pos x="72" y="153"/>
                  </a:cxn>
                  <a:cxn ang="0">
                    <a:pos x="77" y="136"/>
                  </a:cxn>
                  <a:cxn ang="0">
                    <a:pos x="86" y="119"/>
                  </a:cxn>
                  <a:cxn ang="0">
                    <a:pos x="96" y="104"/>
                  </a:cxn>
                  <a:cxn ang="0">
                    <a:pos x="96" y="104"/>
                  </a:cxn>
                  <a:cxn ang="0">
                    <a:pos x="99" y="101"/>
                  </a:cxn>
                  <a:cxn ang="0">
                    <a:pos x="99" y="101"/>
                  </a:cxn>
                  <a:cxn ang="0">
                    <a:pos x="113" y="89"/>
                  </a:cxn>
                  <a:cxn ang="0">
                    <a:pos x="130" y="81"/>
                  </a:cxn>
                  <a:cxn ang="0">
                    <a:pos x="146" y="74"/>
                  </a:cxn>
                  <a:cxn ang="0">
                    <a:pos x="165" y="72"/>
                  </a:cxn>
                  <a:cxn ang="0">
                    <a:pos x="165" y="72"/>
                  </a:cxn>
                  <a:cxn ang="0">
                    <a:pos x="172" y="70"/>
                  </a:cxn>
                  <a:cxn ang="0">
                    <a:pos x="177" y="67"/>
                  </a:cxn>
                  <a:cxn ang="0">
                    <a:pos x="177" y="67"/>
                  </a:cxn>
                  <a:cxn ang="0">
                    <a:pos x="180" y="62"/>
                  </a:cxn>
                  <a:cxn ang="0">
                    <a:pos x="182" y="55"/>
                  </a:cxn>
                  <a:cxn ang="0">
                    <a:pos x="182" y="15"/>
                  </a:cxn>
                  <a:cxn ang="0">
                    <a:pos x="182" y="15"/>
                  </a:cxn>
                  <a:cxn ang="0">
                    <a:pos x="180" y="8"/>
                  </a:cxn>
                  <a:cxn ang="0">
                    <a:pos x="177" y="3"/>
                  </a:cxn>
                  <a:cxn ang="0">
                    <a:pos x="177" y="3"/>
                  </a:cxn>
                  <a:cxn ang="0">
                    <a:pos x="172" y="0"/>
                  </a:cxn>
                  <a:cxn ang="0">
                    <a:pos x="165" y="0"/>
                  </a:cxn>
                  <a:cxn ang="0">
                    <a:pos x="165" y="0"/>
                  </a:cxn>
                  <a:cxn ang="0">
                    <a:pos x="148" y="0"/>
                  </a:cxn>
                  <a:cxn ang="0">
                    <a:pos x="133" y="3"/>
                  </a:cxn>
                  <a:cxn ang="0">
                    <a:pos x="116" y="6"/>
                  </a:cxn>
                  <a:cxn ang="0">
                    <a:pos x="101" y="13"/>
                  </a:cxn>
                  <a:cxn ang="0">
                    <a:pos x="87" y="20"/>
                  </a:cxn>
                  <a:cxn ang="0">
                    <a:pos x="72" y="28"/>
                  </a:cxn>
                  <a:cxn ang="0">
                    <a:pos x="59" y="38"/>
                  </a:cxn>
                  <a:cxn ang="0">
                    <a:pos x="47" y="50"/>
                  </a:cxn>
                  <a:cxn ang="0">
                    <a:pos x="47" y="50"/>
                  </a:cxn>
                </a:cxnLst>
                <a:rect l="0" t="0" r="r" b="b"/>
                <a:pathLst>
                  <a:path w="182" h="189">
                    <a:moveTo>
                      <a:pt x="47" y="50"/>
                    </a:moveTo>
                    <a:lnTo>
                      <a:pt x="47" y="50"/>
                    </a:lnTo>
                    <a:lnTo>
                      <a:pt x="40" y="57"/>
                    </a:lnTo>
                    <a:lnTo>
                      <a:pt x="40" y="57"/>
                    </a:lnTo>
                    <a:lnTo>
                      <a:pt x="30" y="69"/>
                    </a:lnTo>
                    <a:lnTo>
                      <a:pt x="22" y="82"/>
                    </a:lnTo>
                    <a:lnTo>
                      <a:pt x="15" y="96"/>
                    </a:lnTo>
                    <a:lnTo>
                      <a:pt x="8" y="111"/>
                    </a:lnTo>
                    <a:lnTo>
                      <a:pt x="5" y="126"/>
                    </a:lnTo>
                    <a:lnTo>
                      <a:pt x="1" y="141"/>
                    </a:lnTo>
                    <a:lnTo>
                      <a:pt x="0" y="156"/>
                    </a:lnTo>
                    <a:lnTo>
                      <a:pt x="0" y="173"/>
                    </a:lnTo>
                    <a:lnTo>
                      <a:pt x="0" y="173"/>
                    </a:lnTo>
                    <a:lnTo>
                      <a:pt x="0" y="178"/>
                    </a:lnTo>
                    <a:lnTo>
                      <a:pt x="3" y="183"/>
                    </a:lnTo>
                    <a:lnTo>
                      <a:pt x="8" y="187"/>
                    </a:lnTo>
                    <a:lnTo>
                      <a:pt x="15" y="189"/>
                    </a:lnTo>
                    <a:lnTo>
                      <a:pt x="57" y="187"/>
                    </a:lnTo>
                    <a:lnTo>
                      <a:pt x="57" y="187"/>
                    </a:lnTo>
                    <a:lnTo>
                      <a:pt x="62" y="185"/>
                    </a:lnTo>
                    <a:lnTo>
                      <a:pt x="67" y="182"/>
                    </a:lnTo>
                    <a:lnTo>
                      <a:pt x="67" y="182"/>
                    </a:lnTo>
                    <a:lnTo>
                      <a:pt x="71" y="177"/>
                    </a:lnTo>
                    <a:lnTo>
                      <a:pt x="72" y="170"/>
                    </a:lnTo>
                    <a:lnTo>
                      <a:pt x="72" y="170"/>
                    </a:lnTo>
                    <a:lnTo>
                      <a:pt x="72" y="153"/>
                    </a:lnTo>
                    <a:lnTo>
                      <a:pt x="77" y="136"/>
                    </a:lnTo>
                    <a:lnTo>
                      <a:pt x="86" y="119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9" y="101"/>
                    </a:lnTo>
                    <a:lnTo>
                      <a:pt x="99" y="101"/>
                    </a:lnTo>
                    <a:lnTo>
                      <a:pt x="113" y="89"/>
                    </a:lnTo>
                    <a:lnTo>
                      <a:pt x="130" y="81"/>
                    </a:lnTo>
                    <a:lnTo>
                      <a:pt x="146" y="74"/>
                    </a:lnTo>
                    <a:lnTo>
                      <a:pt x="165" y="72"/>
                    </a:lnTo>
                    <a:lnTo>
                      <a:pt x="165" y="72"/>
                    </a:lnTo>
                    <a:lnTo>
                      <a:pt x="172" y="70"/>
                    </a:lnTo>
                    <a:lnTo>
                      <a:pt x="177" y="67"/>
                    </a:lnTo>
                    <a:lnTo>
                      <a:pt x="177" y="67"/>
                    </a:lnTo>
                    <a:lnTo>
                      <a:pt x="180" y="62"/>
                    </a:lnTo>
                    <a:lnTo>
                      <a:pt x="182" y="55"/>
                    </a:lnTo>
                    <a:lnTo>
                      <a:pt x="182" y="15"/>
                    </a:lnTo>
                    <a:lnTo>
                      <a:pt x="182" y="15"/>
                    </a:lnTo>
                    <a:lnTo>
                      <a:pt x="180" y="8"/>
                    </a:lnTo>
                    <a:lnTo>
                      <a:pt x="177" y="3"/>
                    </a:lnTo>
                    <a:lnTo>
                      <a:pt x="177" y="3"/>
                    </a:lnTo>
                    <a:lnTo>
                      <a:pt x="172" y="0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148" y="0"/>
                    </a:lnTo>
                    <a:lnTo>
                      <a:pt x="133" y="3"/>
                    </a:lnTo>
                    <a:lnTo>
                      <a:pt x="116" y="6"/>
                    </a:lnTo>
                    <a:lnTo>
                      <a:pt x="101" y="13"/>
                    </a:lnTo>
                    <a:lnTo>
                      <a:pt x="87" y="20"/>
                    </a:lnTo>
                    <a:lnTo>
                      <a:pt x="72" y="28"/>
                    </a:lnTo>
                    <a:lnTo>
                      <a:pt x="59" y="38"/>
                    </a:lnTo>
                    <a:lnTo>
                      <a:pt x="47" y="50"/>
                    </a:lnTo>
                    <a:lnTo>
                      <a:pt x="47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46" name="Freeform 59"/>
              <p:cNvSpPr>
                <a:spLocks/>
              </p:cNvSpPr>
              <p:nvPr/>
            </p:nvSpPr>
            <p:spPr bwMode="auto">
              <a:xfrm>
                <a:off x="16213138" y="3268663"/>
                <a:ext cx="252413" cy="261938"/>
              </a:xfrm>
              <a:custGeom>
                <a:avLst/>
                <a:gdLst/>
                <a:ahLst/>
                <a:cxnLst>
                  <a:cxn ang="0">
                    <a:pos x="302" y="329"/>
                  </a:cxn>
                  <a:cxn ang="0">
                    <a:pos x="309" y="327"/>
                  </a:cxn>
                  <a:cxn ang="0">
                    <a:pos x="317" y="319"/>
                  </a:cxn>
                  <a:cxn ang="0">
                    <a:pos x="319" y="312"/>
                  </a:cxn>
                  <a:cxn ang="0">
                    <a:pos x="314" y="256"/>
                  </a:cxn>
                  <a:cxn ang="0">
                    <a:pos x="300" y="202"/>
                  </a:cxn>
                  <a:cxn ang="0">
                    <a:pos x="277" y="152"/>
                  </a:cxn>
                  <a:cxn ang="0">
                    <a:pos x="243" y="105"/>
                  </a:cxn>
                  <a:cxn ang="0">
                    <a:pos x="231" y="91"/>
                  </a:cxn>
                  <a:cxn ang="0">
                    <a:pos x="209" y="71"/>
                  </a:cxn>
                  <a:cxn ang="0">
                    <a:pos x="159" y="37"/>
                  </a:cxn>
                  <a:cxn ang="0">
                    <a:pos x="105" y="15"/>
                  </a:cxn>
                  <a:cxn ang="0">
                    <a:pos x="46" y="2"/>
                  </a:cxn>
                  <a:cxn ang="0">
                    <a:pos x="15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0" y="57"/>
                  </a:cxn>
                  <a:cxn ang="0">
                    <a:pos x="0" y="62"/>
                  </a:cxn>
                  <a:cxn ang="0">
                    <a:pos x="4" y="68"/>
                  </a:cxn>
                  <a:cxn ang="0">
                    <a:pos x="15" y="73"/>
                  </a:cxn>
                  <a:cxn ang="0">
                    <a:pos x="39" y="74"/>
                  </a:cxn>
                  <a:cxn ang="0">
                    <a:pos x="83" y="84"/>
                  </a:cxn>
                  <a:cxn ang="0">
                    <a:pos x="125" y="101"/>
                  </a:cxn>
                  <a:cxn ang="0">
                    <a:pos x="162" y="127"/>
                  </a:cxn>
                  <a:cxn ang="0">
                    <a:pos x="179" y="143"/>
                  </a:cxn>
                  <a:cxn ang="0">
                    <a:pos x="189" y="154"/>
                  </a:cxn>
                  <a:cxn ang="0">
                    <a:pos x="214" y="189"/>
                  </a:cxn>
                  <a:cxn ang="0">
                    <a:pos x="231" y="226"/>
                  </a:cxn>
                  <a:cxn ang="0">
                    <a:pos x="243" y="268"/>
                  </a:cxn>
                  <a:cxn ang="0">
                    <a:pos x="245" y="312"/>
                  </a:cxn>
                  <a:cxn ang="0">
                    <a:pos x="247" y="317"/>
                  </a:cxn>
                  <a:cxn ang="0">
                    <a:pos x="250" y="322"/>
                  </a:cxn>
                  <a:cxn ang="0">
                    <a:pos x="262" y="327"/>
                  </a:cxn>
                </a:cxnLst>
                <a:rect l="0" t="0" r="r" b="b"/>
                <a:pathLst>
                  <a:path w="319" h="329">
                    <a:moveTo>
                      <a:pt x="262" y="327"/>
                    </a:moveTo>
                    <a:lnTo>
                      <a:pt x="302" y="329"/>
                    </a:lnTo>
                    <a:lnTo>
                      <a:pt x="302" y="329"/>
                    </a:lnTo>
                    <a:lnTo>
                      <a:pt x="309" y="327"/>
                    </a:lnTo>
                    <a:lnTo>
                      <a:pt x="314" y="324"/>
                    </a:lnTo>
                    <a:lnTo>
                      <a:pt x="317" y="319"/>
                    </a:lnTo>
                    <a:lnTo>
                      <a:pt x="319" y="312"/>
                    </a:lnTo>
                    <a:lnTo>
                      <a:pt x="319" y="312"/>
                    </a:lnTo>
                    <a:lnTo>
                      <a:pt x="317" y="285"/>
                    </a:lnTo>
                    <a:lnTo>
                      <a:pt x="314" y="256"/>
                    </a:lnTo>
                    <a:lnTo>
                      <a:pt x="309" y="229"/>
                    </a:lnTo>
                    <a:lnTo>
                      <a:pt x="300" y="202"/>
                    </a:lnTo>
                    <a:lnTo>
                      <a:pt x="290" y="175"/>
                    </a:lnTo>
                    <a:lnTo>
                      <a:pt x="277" y="152"/>
                    </a:lnTo>
                    <a:lnTo>
                      <a:pt x="262" y="128"/>
                    </a:lnTo>
                    <a:lnTo>
                      <a:pt x="243" y="105"/>
                    </a:lnTo>
                    <a:lnTo>
                      <a:pt x="243" y="105"/>
                    </a:lnTo>
                    <a:lnTo>
                      <a:pt x="231" y="91"/>
                    </a:lnTo>
                    <a:lnTo>
                      <a:pt x="231" y="91"/>
                    </a:lnTo>
                    <a:lnTo>
                      <a:pt x="209" y="71"/>
                    </a:lnTo>
                    <a:lnTo>
                      <a:pt x="186" y="54"/>
                    </a:lnTo>
                    <a:lnTo>
                      <a:pt x="159" y="37"/>
                    </a:lnTo>
                    <a:lnTo>
                      <a:pt x="133" y="25"/>
                    </a:lnTo>
                    <a:lnTo>
                      <a:pt x="105" y="15"/>
                    </a:lnTo>
                    <a:lnTo>
                      <a:pt x="76" y="7"/>
                    </a:lnTo>
                    <a:lnTo>
                      <a:pt x="46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7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6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9" y="73"/>
                    </a:lnTo>
                    <a:lnTo>
                      <a:pt x="15" y="73"/>
                    </a:lnTo>
                    <a:lnTo>
                      <a:pt x="15" y="73"/>
                    </a:lnTo>
                    <a:lnTo>
                      <a:pt x="39" y="74"/>
                    </a:lnTo>
                    <a:lnTo>
                      <a:pt x="61" y="78"/>
                    </a:lnTo>
                    <a:lnTo>
                      <a:pt x="83" y="84"/>
                    </a:lnTo>
                    <a:lnTo>
                      <a:pt x="105" y="91"/>
                    </a:lnTo>
                    <a:lnTo>
                      <a:pt x="125" y="101"/>
                    </a:lnTo>
                    <a:lnTo>
                      <a:pt x="144" y="113"/>
                    </a:lnTo>
                    <a:lnTo>
                      <a:pt x="162" y="127"/>
                    </a:lnTo>
                    <a:lnTo>
                      <a:pt x="179" y="143"/>
                    </a:lnTo>
                    <a:lnTo>
                      <a:pt x="179" y="143"/>
                    </a:lnTo>
                    <a:lnTo>
                      <a:pt x="189" y="154"/>
                    </a:lnTo>
                    <a:lnTo>
                      <a:pt x="189" y="154"/>
                    </a:lnTo>
                    <a:lnTo>
                      <a:pt x="203" y="170"/>
                    </a:lnTo>
                    <a:lnTo>
                      <a:pt x="214" y="189"/>
                    </a:lnTo>
                    <a:lnTo>
                      <a:pt x="225" y="208"/>
                    </a:lnTo>
                    <a:lnTo>
                      <a:pt x="231" y="226"/>
                    </a:lnTo>
                    <a:lnTo>
                      <a:pt x="238" y="248"/>
                    </a:lnTo>
                    <a:lnTo>
                      <a:pt x="243" y="268"/>
                    </a:lnTo>
                    <a:lnTo>
                      <a:pt x="245" y="290"/>
                    </a:lnTo>
                    <a:lnTo>
                      <a:pt x="245" y="312"/>
                    </a:lnTo>
                    <a:lnTo>
                      <a:pt x="245" y="312"/>
                    </a:lnTo>
                    <a:lnTo>
                      <a:pt x="247" y="317"/>
                    </a:lnTo>
                    <a:lnTo>
                      <a:pt x="250" y="322"/>
                    </a:lnTo>
                    <a:lnTo>
                      <a:pt x="250" y="322"/>
                    </a:lnTo>
                    <a:lnTo>
                      <a:pt x="255" y="326"/>
                    </a:lnTo>
                    <a:lnTo>
                      <a:pt x="262" y="327"/>
                    </a:lnTo>
                    <a:lnTo>
                      <a:pt x="262" y="3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47" name="Freeform 60"/>
              <p:cNvSpPr>
                <a:spLocks/>
              </p:cNvSpPr>
              <p:nvPr/>
            </p:nvSpPr>
            <p:spPr bwMode="auto">
              <a:xfrm>
                <a:off x="16221075" y="3368675"/>
                <a:ext cx="144463" cy="150813"/>
              </a:xfrm>
              <a:custGeom>
                <a:avLst/>
                <a:gdLst/>
                <a:ahLst/>
                <a:cxnLst>
                  <a:cxn ang="0">
                    <a:pos x="135" y="50"/>
                  </a:cxn>
                  <a:cxn ang="0">
                    <a:pos x="135" y="50"/>
                  </a:cxn>
                  <a:cxn ang="0">
                    <a:pos x="122" y="38"/>
                  </a:cxn>
                  <a:cxn ang="0">
                    <a:pos x="110" y="28"/>
                  </a:cxn>
                  <a:cxn ang="0">
                    <a:pos x="95" y="20"/>
                  </a:cxn>
                  <a:cxn ang="0">
                    <a:pos x="81" y="13"/>
                  </a:cxn>
                  <a:cxn ang="0">
                    <a:pos x="64" y="6"/>
                  </a:cxn>
                  <a:cxn ang="0">
                    <a:pos x="49" y="3"/>
                  </a:cxn>
                  <a:cxn ang="0">
                    <a:pos x="32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5" y="3"/>
                  </a:cxn>
                  <a:cxn ang="0">
                    <a:pos x="5" y="3"/>
                  </a:cxn>
                  <a:cxn ang="0">
                    <a:pos x="2" y="8"/>
                  </a:cxn>
                  <a:cxn ang="0">
                    <a:pos x="0" y="15"/>
                  </a:cxn>
                  <a:cxn ang="0">
                    <a:pos x="0" y="55"/>
                  </a:cxn>
                  <a:cxn ang="0">
                    <a:pos x="0" y="55"/>
                  </a:cxn>
                  <a:cxn ang="0">
                    <a:pos x="2" y="62"/>
                  </a:cxn>
                  <a:cxn ang="0">
                    <a:pos x="5" y="67"/>
                  </a:cxn>
                  <a:cxn ang="0">
                    <a:pos x="5" y="67"/>
                  </a:cxn>
                  <a:cxn ang="0">
                    <a:pos x="10" y="70"/>
                  </a:cxn>
                  <a:cxn ang="0">
                    <a:pos x="16" y="72"/>
                  </a:cxn>
                  <a:cxn ang="0">
                    <a:pos x="16" y="72"/>
                  </a:cxn>
                  <a:cxn ang="0">
                    <a:pos x="34" y="74"/>
                  </a:cxn>
                  <a:cxn ang="0">
                    <a:pos x="53" y="81"/>
                  </a:cxn>
                  <a:cxn ang="0">
                    <a:pos x="68" y="89"/>
                  </a:cxn>
                  <a:cxn ang="0">
                    <a:pos x="83" y="101"/>
                  </a:cxn>
                  <a:cxn ang="0">
                    <a:pos x="83" y="101"/>
                  </a:cxn>
                  <a:cxn ang="0">
                    <a:pos x="86" y="104"/>
                  </a:cxn>
                  <a:cxn ang="0">
                    <a:pos x="86" y="104"/>
                  </a:cxn>
                  <a:cxn ang="0">
                    <a:pos x="97" y="119"/>
                  </a:cxn>
                  <a:cxn ang="0">
                    <a:pos x="105" y="136"/>
                  </a:cxn>
                  <a:cxn ang="0">
                    <a:pos x="108" y="153"/>
                  </a:cxn>
                  <a:cxn ang="0">
                    <a:pos x="110" y="170"/>
                  </a:cxn>
                  <a:cxn ang="0">
                    <a:pos x="110" y="170"/>
                  </a:cxn>
                  <a:cxn ang="0">
                    <a:pos x="112" y="177"/>
                  </a:cxn>
                  <a:cxn ang="0">
                    <a:pos x="113" y="182"/>
                  </a:cxn>
                  <a:cxn ang="0">
                    <a:pos x="113" y="182"/>
                  </a:cxn>
                  <a:cxn ang="0">
                    <a:pos x="118" y="185"/>
                  </a:cxn>
                  <a:cxn ang="0">
                    <a:pos x="125" y="187"/>
                  </a:cxn>
                  <a:cxn ang="0">
                    <a:pos x="167" y="189"/>
                  </a:cxn>
                  <a:cxn ang="0">
                    <a:pos x="167" y="189"/>
                  </a:cxn>
                  <a:cxn ang="0">
                    <a:pos x="172" y="187"/>
                  </a:cxn>
                  <a:cxn ang="0">
                    <a:pos x="177" y="183"/>
                  </a:cxn>
                  <a:cxn ang="0">
                    <a:pos x="181" y="178"/>
                  </a:cxn>
                  <a:cxn ang="0">
                    <a:pos x="183" y="173"/>
                  </a:cxn>
                  <a:cxn ang="0">
                    <a:pos x="183" y="173"/>
                  </a:cxn>
                  <a:cxn ang="0">
                    <a:pos x="183" y="156"/>
                  </a:cxn>
                  <a:cxn ang="0">
                    <a:pos x="181" y="141"/>
                  </a:cxn>
                  <a:cxn ang="0">
                    <a:pos x="177" y="126"/>
                  </a:cxn>
                  <a:cxn ang="0">
                    <a:pos x="172" y="111"/>
                  </a:cxn>
                  <a:cxn ang="0">
                    <a:pos x="167" y="96"/>
                  </a:cxn>
                  <a:cxn ang="0">
                    <a:pos x="161" y="82"/>
                  </a:cxn>
                  <a:cxn ang="0">
                    <a:pos x="152" y="69"/>
                  </a:cxn>
                  <a:cxn ang="0">
                    <a:pos x="142" y="57"/>
                  </a:cxn>
                  <a:cxn ang="0">
                    <a:pos x="142" y="57"/>
                  </a:cxn>
                  <a:cxn ang="0">
                    <a:pos x="135" y="50"/>
                  </a:cxn>
                  <a:cxn ang="0">
                    <a:pos x="135" y="50"/>
                  </a:cxn>
                </a:cxnLst>
                <a:rect l="0" t="0" r="r" b="b"/>
                <a:pathLst>
                  <a:path w="183" h="189">
                    <a:moveTo>
                      <a:pt x="135" y="50"/>
                    </a:moveTo>
                    <a:lnTo>
                      <a:pt x="135" y="50"/>
                    </a:lnTo>
                    <a:lnTo>
                      <a:pt x="122" y="38"/>
                    </a:lnTo>
                    <a:lnTo>
                      <a:pt x="110" y="28"/>
                    </a:lnTo>
                    <a:lnTo>
                      <a:pt x="95" y="20"/>
                    </a:lnTo>
                    <a:lnTo>
                      <a:pt x="81" y="13"/>
                    </a:lnTo>
                    <a:lnTo>
                      <a:pt x="64" y="6"/>
                    </a:lnTo>
                    <a:lnTo>
                      <a:pt x="49" y="3"/>
                    </a:lnTo>
                    <a:lnTo>
                      <a:pt x="3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0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0" y="55"/>
                    </a:lnTo>
                    <a:lnTo>
                      <a:pt x="0" y="55"/>
                    </a:lnTo>
                    <a:lnTo>
                      <a:pt x="2" y="62"/>
                    </a:lnTo>
                    <a:lnTo>
                      <a:pt x="5" y="67"/>
                    </a:lnTo>
                    <a:lnTo>
                      <a:pt x="5" y="67"/>
                    </a:lnTo>
                    <a:lnTo>
                      <a:pt x="10" y="70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34" y="74"/>
                    </a:lnTo>
                    <a:lnTo>
                      <a:pt x="53" y="81"/>
                    </a:lnTo>
                    <a:lnTo>
                      <a:pt x="68" y="89"/>
                    </a:lnTo>
                    <a:lnTo>
                      <a:pt x="83" y="101"/>
                    </a:lnTo>
                    <a:lnTo>
                      <a:pt x="83" y="101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97" y="119"/>
                    </a:lnTo>
                    <a:lnTo>
                      <a:pt x="105" y="136"/>
                    </a:lnTo>
                    <a:lnTo>
                      <a:pt x="108" y="153"/>
                    </a:lnTo>
                    <a:lnTo>
                      <a:pt x="110" y="170"/>
                    </a:lnTo>
                    <a:lnTo>
                      <a:pt x="110" y="170"/>
                    </a:lnTo>
                    <a:lnTo>
                      <a:pt x="112" y="177"/>
                    </a:lnTo>
                    <a:lnTo>
                      <a:pt x="113" y="182"/>
                    </a:lnTo>
                    <a:lnTo>
                      <a:pt x="113" y="182"/>
                    </a:lnTo>
                    <a:lnTo>
                      <a:pt x="118" y="185"/>
                    </a:lnTo>
                    <a:lnTo>
                      <a:pt x="125" y="187"/>
                    </a:lnTo>
                    <a:lnTo>
                      <a:pt x="167" y="189"/>
                    </a:lnTo>
                    <a:lnTo>
                      <a:pt x="167" y="189"/>
                    </a:lnTo>
                    <a:lnTo>
                      <a:pt x="172" y="187"/>
                    </a:lnTo>
                    <a:lnTo>
                      <a:pt x="177" y="183"/>
                    </a:lnTo>
                    <a:lnTo>
                      <a:pt x="181" y="178"/>
                    </a:lnTo>
                    <a:lnTo>
                      <a:pt x="183" y="173"/>
                    </a:lnTo>
                    <a:lnTo>
                      <a:pt x="183" y="173"/>
                    </a:lnTo>
                    <a:lnTo>
                      <a:pt x="183" y="156"/>
                    </a:lnTo>
                    <a:lnTo>
                      <a:pt x="181" y="141"/>
                    </a:lnTo>
                    <a:lnTo>
                      <a:pt x="177" y="126"/>
                    </a:lnTo>
                    <a:lnTo>
                      <a:pt x="172" y="111"/>
                    </a:lnTo>
                    <a:lnTo>
                      <a:pt x="167" y="96"/>
                    </a:lnTo>
                    <a:lnTo>
                      <a:pt x="161" y="82"/>
                    </a:lnTo>
                    <a:lnTo>
                      <a:pt x="152" y="69"/>
                    </a:lnTo>
                    <a:lnTo>
                      <a:pt x="142" y="57"/>
                    </a:lnTo>
                    <a:lnTo>
                      <a:pt x="142" y="57"/>
                    </a:lnTo>
                    <a:lnTo>
                      <a:pt x="135" y="50"/>
                    </a:lnTo>
                    <a:lnTo>
                      <a:pt x="135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  <p:sp>
            <p:nvSpPr>
              <p:cNvPr id="48" name="Freeform 61"/>
              <p:cNvSpPr>
                <a:spLocks noEditPoints="1"/>
              </p:cNvSpPr>
              <p:nvPr/>
            </p:nvSpPr>
            <p:spPr bwMode="auto">
              <a:xfrm>
                <a:off x="15730538" y="3460750"/>
                <a:ext cx="765175" cy="931863"/>
              </a:xfrm>
              <a:custGeom>
                <a:avLst/>
                <a:gdLst/>
                <a:ahLst/>
                <a:cxnLst>
                  <a:cxn ang="0">
                    <a:pos x="157" y="1174"/>
                  </a:cxn>
                  <a:cxn ang="0">
                    <a:pos x="963" y="1174"/>
                  </a:cxn>
                  <a:cxn ang="0">
                    <a:pos x="842" y="1026"/>
                  </a:cxn>
                  <a:cxn ang="0">
                    <a:pos x="579" y="248"/>
                  </a:cxn>
                  <a:cxn ang="0">
                    <a:pos x="590" y="238"/>
                  </a:cxn>
                  <a:cxn ang="0">
                    <a:pos x="611" y="215"/>
                  </a:cxn>
                  <a:cxn ang="0">
                    <a:pos x="626" y="186"/>
                  </a:cxn>
                  <a:cxn ang="0">
                    <a:pos x="634" y="154"/>
                  </a:cxn>
                  <a:cxn ang="0">
                    <a:pos x="634" y="137"/>
                  </a:cxn>
                  <a:cxn ang="0">
                    <a:pos x="633" y="110"/>
                  </a:cxn>
                  <a:cxn ang="0">
                    <a:pos x="624" y="85"/>
                  </a:cxn>
                  <a:cxn ang="0">
                    <a:pos x="611" y="61"/>
                  </a:cxn>
                  <a:cxn ang="0">
                    <a:pos x="594" y="41"/>
                  </a:cxn>
                  <a:cxn ang="0">
                    <a:pos x="573" y="24"/>
                  </a:cxn>
                  <a:cxn ang="0">
                    <a:pos x="552" y="10"/>
                  </a:cxn>
                  <a:cxn ang="0">
                    <a:pos x="525" y="4"/>
                  </a:cxn>
                  <a:cxn ang="0">
                    <a:pos x="498" y="0"/>
                  </a:cxn>
                  <a:cxn ang="0">
                    <a:pos x="484" y="0"/>
                  </a:cxn>
                  <a:cxn ang="0">
                    <a:pos x="457" y="7"/>
                  </a:cxn>
                  <a:cxn ang="0">
                    <a:pos x="432" y="17"/>
                  </a:cxn>
                  <a:cxn ang="0">
                    <a:pos x="410" y="31"/>
                  </a:cxn>
                  <a:cxn ang="0">
                    <a:pos x="391" y="49"/>
                  </a:cxn>
                  <a:cxn ang="0">
                    <a:pos x="376" y="71"/>
                  </a:cxn>
                  <a:cxn ang="0">
                    <a:pos x="366" y="96"/>
                  </a:cxn>
                  <a:cxn ang="0">
                    <a:pos x="361" y="123"/>
                  </a:cxn>
                  <a:cxn ang="0">
                    <a:pos x="359" y="137"/>
                  </a:cxn>
                  <a:cxn ang="0">
                    <a:pos x="364" y="169"/>
                  </a:cxn>
                  <a:cxn ang="0">
                    <a:pos x="374" y="198"/>
                  </a:cxn>
                  <a:cxn ang="0">
                    <a:pos x="391" y="223"/>
                  </a:cxn>
                  <a:cxn ang="0">
                    <a:pos x="412" y="245"/>
                  </a:cxn>
                  <a:cxn ang="0">
                    <a:pos x="121" y="1026"/>
                  </a:cxn>
                  <a:cxn ang="0">
                    <a:pos x="0" y="1174"/>
                  </a:cxn>
                  <a:cxn ang="0">
                    <a:pos x="415" y="977"/>
                  </a:cxn>
                  <a:cxn ang="0">
                    <a:pos x="698" y="1026"/>
                  </a:cxn>
                  <a:cxn ang="0">
                    <a:pos x="442" y="478"/>
                  </a:cxn>
                  <a:cxn ang="0">
                    <a:pos x="410" y="597"/>
                  </a:cxn>
                  <a:cxn ang="0">
                    <a:pos x="467" y="387"/>
                  </a:cxn>
                  <a:cxn ang="0">
                    <a:pos x="533" y="429"/>
                  </a:cxn>
                  <a:cxn ang="0">
                    <a:pos x="582" y="604"/>
                  </a:cxn>
                  <a:cxn ang="0">
                    <a:pos x="450" y="678"/>
                  </a:cxn>
                  <a:cxn ang="0">
                    <a:pos x="369" y="743"/>
                  </a:cxn>
                  <a:cxn ang="0">
                    <a:pos x="324" y="910"/>
                  </a:cxn>
                </a:cxnLst>
                <a:rect l="0" t="0" r="r" b="b"/>
                <a:pathLst>
                  <a:path w="963" h="1174">
                    <a:moveTo>
                      <a:pt x="0" y="1174"/>
                    </a:moveTo>
                    <a:lnTo>
                      <a:pt x="157" y="1174"/>
                    </a:lnTo>
                    <a:lnTo>
                      <a:pt x="833" y="1174"/>
                    </a:lnTo>
                    <a:lnTo>
                      <a:pt x="963" y="1174"/>
                    </a:lnTo>
                    <a:lnTo>
                      <a:pt x="918" y="1120"/>
                    </a:lnTo>
                    <a:lnTo>
                      <a:pt x="842" y="1026"/>
                    </a:lnTo>
                    <a:lnTo>
                      <a:pt x="793" y="1026"/>
                    </a:lnTo>
                    <a:lnTo>
                      <a:pt x="579" y="248"/>
                    </a:lnTo>
                    <a:lnTo>
                      <a:pt x="579" y="248"/>
                    </a:lnTo>
                    <a:lnTo>
                      <a:pt x="590" y="238"/>
                    </a:lnTo>
                    <a:lnTo>
                      <a:pt x="602" y="226"/>
                    </a:lnTo>
                    <a:lnTo>
                      <a:pt x="611" y="215"/>
                    </a:lnTo>
                    <a:lnTo>
                      <a:pt x="619" y="201"/>
                    </a:lnTo>
                    <a:lnTo>
                      <a:pt x="626" y="186"/>
                    </a:lnTo>
                    <a:lnTo>
                      <a:pt x="631" y="171"/>
                    </a:lnTo>
                    <a:lnTo>
                      <a:pt x="634" y="154"/>
                    </a:lnTo>
                    <a:lnTo>
                      <a:pt x="634" y="137"/>
                    </a:lnTo>
                    <a:lnTo>
                      <a:pt x="634" y="137"/>
                    </a:lnTo>
                    <a:lnTo>
                      <a:pt x="634" y="123"/>
                    </a:lnTo>
                    <a:lnTo>
                      <a:pt x="633" y="110"/>
                    </a:lnTo>
                    <a:lnTo>
                      <a:pt x="629" y="96"/>
                    </a:lnTo>
                    <a:lnTo>
                      <a:pt x="624" y="85"/>
                    </a:lnTo>
                    <a:lnTo>
                      <a:pt x="617" y="71"/>
                    </a:lnTo>
                    <a:lnTo>
                      <a:pt x="611" y="61"/>
                    </a:lnTo>
                    <a:lnTo>
                      <a:pt x="604" y="49"/>
                    </a:lnTo>
                    <a:lnTo>
                      <a:pt x="594" y="41"/>
                    </a:lnTo>
                    <a:lnTo>
                      <a:pt x="585" y="31"/>
                    </a:lnTo>
                    <a:lnTo>
                      <a:pt x="573" y="24"/>
                    </a:lnTo>
                    <a:lnTo>
                      <a:pt x="563" y="17"/>
                    </a:lnTo>
                    <a:lnTo>
                      <a:pt x="552" y="10"/>
                    </a:lnTo>
                    <a:lnTo>
                      <a:pt x="538" y="7"/>
                    </a:lnTo>
                    <a:lnTo>
                      <a:pt x="525" y="4"/>
                    </a:lnTo>
                    <a:lnTo>
                      <a:pt x="511" y="0"/>
                    </a:lnTo>
                    <a:lnTo>
                      <a:pt x="498" y="0"/>
                    </a:lnTo>
                    <a:lnTo>
                      <a:pt x="498" y="0"/>
                    </a:lnTo>
                    <a:lnTo>
                      <a:pt x="484" y="0"/>
                    </a:lnTo>
                    <a:lnTo>
                      <a:pt x="469" y="4"/>
                    </a:lnTo>
                    <a:lnTo>
                      <a:pt x="457" y="7"/>
                    </a:lnTo>
                    <a:lnTo>
                      <a:pt x="444" y="10"/>
                    </a:lnTo>
                    <a:lnTo>
                      <a:pt x="432" y="17"/>
                    </a:lnTo>
                    <a:lnTo>
                      <a:pt x="420" y="24"/>
                    </a:lnTo>
                    <a:lnTo>
                      <a:pt x="410" y="31"/>
                    </a:lnTo>
                    <a:lnTo>
                      <a:pt x="400" y="41"/>
                    </a:lnTo>
                    <a:lnTo>
                      <a:pt x="391" y="49"/>
                    </a:lnTo>
                    <a:lnTo>
                      <a:pt x="383" y="61"/>
                    </a:lnTo>
                    <a:lnTo>
                      <a:pt x="376" y="71"/>
                    </a:lnTo>
                    <a:lnTo>
                      <a:pt x="371" y="85"/>
                    </a:lnTo>
                    <a:lnTo>
                      <a:pt x="366" y="96"/>
                    </a:lnTo>
                    <a:lnTo>
                      <a:pt x="363" y="110"/>
                    </a:lnTo>
                    <a:lnTo>
                      <a:pt x="361" y="123"/>
                    </a:lnTo>
                    <a:lnTo>
                      <a:pt x="359" y="137"/>
                    </a:lnTo>
                    <a:lnTo>
                      <a:pt x="359" y="137"/>
                    </a:lnTo>
                    <a:lnTo>
                      <a:pt x="361" y="154"/>
                    </a:lnTo>
                    <a:lnTo>
                      <a:pt x="364" y="169"/>
                    </a:lnTo>
                    <a:lnTo>
                      <a:pt x="368" y="184"/>
                    </a:lnTo>
                    <a:lnTo>
                      <a:pt x="374" y="198"/>
                    </a:lnTo>
                    <a:lnTo>
                      <a:pt x="381" y="211"/>
                    </a:lnTo>
                    <a:lnTo>
                      <a:pt x="391" y="223"/>
                    </a:lnTo>
                    <a:lnTo>
                      <a:pt x="400" y="235"/>
                    </a:lnTo>
                    <a:lnTo>
                      <a:pt x="412" y="245"/>
                    </a:lnTo>
                    <a:lnTo>
                      <a:pt x="197" y="1026"/>
                    </a:lnTo>
                    <a:lnTo>
                      <a:pt x="121" y="1026"/>
                    </a:lnTo>
                    <a:lnTo>
                      <a:pt x="46" y="1120"/>
                    </a:lnTo>
                    <a:lnTo>
                      <a:pt x="0" y="1174"/>
                    </a:lnTo>
                    <a:close/>
                    <a:moveTo>
                      <a:pt x="577" y="1026"/>
                    </a:moveTo>
                    <a:lnTo>
                      <a:pt x="415" y="977"/>
                    </a:lnTo>
                    <a:lnTo>
                      <a:pt x="663" y="898"/>
                    </a:lnTo>
                    <a:lnTo>
                      <a:pt x="698" y="1026"/>
                    </a:lnTo>
                    <a:lnTo>
                      <a:pt x="577" y="1026"/>
                    </a:lnTo>
                    <a:close/>
                    <a:moveTo>
                      <a:pt x="442" y="478"/>
                    </a:moveTo>
                    <a:lnTo>
                      <a:pt x="526" y="532"/>
                    </a:lnTo>
                    <a:lnTo>
                      <a:pt x="410" y="597"/>
                    </a:lnTo>
                    <a:lnTo>
                      <a:pt x="442" y="478"/>
                    </a:lnTo>
                    <a:close/>
                    <a:moveTo>
                      <a:pt x="467" y="387"/>
                    </a:moveTo>
                    <a:lnTo>
                      <a:pt x="494" y="287"/>
                    </a:lnTo>
                    <a:lnTo>
                      <a:pt x="533" y="429"/>
                    </a:lnTo>
                    <a:lnTo>
                      <a:pt x="467" y="387"/>
                    </a:lnTo>
                    <a:close/>
                    <a:moveTo>
                      <a:pt x="582" y="604"/>
                    </a:moveTo>
                    <a:lnTo>
                      <a:pt x="622" y="753"/>
                    </a:lnTo>
                    <a:lnTo>
                      <a:pt x="450" y="678"/>
                    </a:lnTo>
                    <a:lnTo>
                      <a:pt x="582" y="604"/>
                    </a:lnTo>
                    <a:close/>
                    <a:moveTo>
                      <a:pt x="369" y="743"/>
                    </a:moveTo>
                    <a:lnTo>
                      <a:pt x="573" y="830"/>
                    </a:lnTo>
                    <a:lnTo>
                      <a:pt x="324" y="910"/>
                    </a:lnTo>
                    <a:lnTo>
                      <a:pt x="369" y="7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buClr>
                    <a:srgbClr val="CC9900"/>
                  </a:buClr>
                  <a:buFont typeface="Wingdings" pitchFamily="2" charset="2"/>
                  <a:buNone/>
                  <a:defRPr/>
                </a:pPr>
                <a:endParaRPr lang="zh-CN" altLang="en-US" sz="900">
                  <a:cs typeface="Arial" pitchFamily="34" charset="0"/>
                </a:endParaRPr>
              </a:p>
            </p:txBody>
          </p:sp>
        </p:grpSp>
      </p:grpSp>
      <p:grpSp>
        <p:nvGrpSpPr>
          <p:cNvPr id="5" name="组合 106"/>
          <p:cNvGrpSpPr>
            <a:grpSpLocks/>
          </p:cNvGrpSpPr>
          <p:nvPr/>
        </p:nvGrpSpPr>
        <p:grpSpPr bwMode="auto">
          <a:xfrm>
            <a:off x="3113088" y="2079625"/>
            <a:ext cx="2720975" cy="338138"/>
            <a:chOff x="2891728" y="1970314"/>
            <a:chExt cx="3016221" cy="448208"/>
          </a:xfrm>
        </p:grpSpPr>
        <p:sp>
          <p:nvSpPr>
            <p:cNvPr id="11295" name="任意多边形 186"/>
            <p:cNvSpPr>
              <a:spLocks/>
            </p:cNvSpPr>
            <p:nvPr/>
          </p:nvSpPr>
          <p:spPr bwMode="auto">
            <a:xfrm>
              <a:off x="5423666" y="2099704"/>
              <a:ext cx="484283" cy="292941"/>
            </a:xfrm>
            <a:custGeom>
              <a:avLst/>
              <a:gdLst>
                <a:gd name="T0" fmla="*/ 0 w 790223"/>
                <a:gd name="T1" fmla="*/ 1 h 575733"/>
                <a:gd name="T2" fmla="*/ 1 w 790223"/>
                <a:gd name="T3" fmla="*/ 1 h 575733"/>
                <a:gd name="T4" fmla="*/ 4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1296" name="任意多边形 187"/>
            <p:cNvSpPr>
              <a:spLocks/>
            </p:cNvSpPr>
            <p:nvPr/>
          </p:nvSpPr>
          <p:spPr bwMode="auto">
            <a:xfrm>
              <a:off x="5361372" y="2046913"/>
              <a:ext cx="484283" cy="293975"/>
            </a:xfrm>
            <a:custGeom>
              <a:avLst/>
              <a:gdLst>
                <a:gd name="T0" fmla="*/ 0 w 790223"/>
                <a:gd name="T1" fmla="*/ 1 h 575733"/>
                <a:gd name="T2" fmla="*/ 1 w 790223"/>
                <a:gd name="T3" fmla="*/ 1 h 575733"/>
                <a:gd name="T4" fmla="*/ 4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1297" name="任意多边形 188"/>
            <p:cNvSpPr>
              <a:spLocks/>
            </p:cNvSpPr>
            <p:nvPr/>
          </p:nvSpPr>
          <p:spPr bwMode="auto">
            <a:xfrm>
              <a:off x="5327211" y="1970314"/>
              <a:ext cx="483279" cy="293975"/>
            </a:xfrm>
            <a:custGeom>
              <a:avLst/>
              <a:gdLst>
                <a:gd name="T0" fmla="*/ 0 w 790223"/>
                <a:gd name="T1" fmla="*/ 1 h 575733"/>
                <a:gd name="T2" fmla="*/ 1 w 790223"/>
                <a:gd name="T3" fmla="*/ 1 h 575733"/>
                <a:gd name="T4" fmla="*/ 4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1298" name="任意多边形 190"/>
            <p:cNvSpPr>
              <a:spLocks/>
            </p:cNvSpPr>
            <p:nvPr/>
          </p:nvSpPr>
          <p:spPr bwMode="auto">
            <a:xfrm flipH="1">
              <a:off x="2891728" y="2124547"/>
              <a:ext cx="522463" cy="293975"/>
            </a:xfrm>
            <a:custGeom>
              <a:avLst/>
              <a:gdLst>
                <a:gd name="T0" fmla="*/ 0 w 790223"/>
                <a:gd name="T1" fmla="*/ 1 h 575733"/>
                <a:gd name="T2" fmla="*/ 11 w 790223"/>
                <a:gd name="T3" fmla="*/ 1 h 575733"/>
                <a:gd name="T4" fmla="*/ 28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1299" name="任意多边形 191"/>
            <p:cNvSpPr>
              <a:spLocks/>
            </p:cNvSpPr>
            <p:nvPr/>
          </p:nvSpPr>
          <p:spPr bwMode="auto">
            <a:xfrm flipH="1">
              <a:off x="2926894" y="2044843"/>
              <a:ext cx="522463" cy="293975"/>
            </a:xfrm>
            <a:custGeom>
              <a:avLst/>
              <a:gdLst>
                <a:gd name="T0" fmla="*/ 0 w 790223"/>
                <a:gd name="T1" fmla="*/ 1 h 575733"/>
                <a:gd name="T2" fmla="*/ 11 w 790223"/>
                <a:gd name="T3" fmla="*/ 1 h 575733"/>
                <a:gd name="T4" fmla="*/ 28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1300" name="任意多边形 192"/>
            <p:cNvSpPr>
              <a:spLocks/>
            </p:cNvSpPr>
            <p:nvPr/>
          </p:nvSpPr>
          <p:spPr bwMode="auto">
            <a:xfrm flipH="1">
              <a:off x="2973112" y="1977560"/>
              <a:ext cx="522463" cy="293975"/>
            </a:xfrm>
            <a:custGeom>
              <a:avLst/>
              <a:gdLst>
                <a:gd name="T0" fmla="*/ 0 w 790223"/>
                <a:gd name="T1" fmla="*/ 1 h 575733"/>
                <a:gd name="T2" fmla="*/ 11 w 790223"/>
                <a:gd name="T3" fmla="*/ 1 h 575733"/>
                <a:gd name="T4" fmla="*/ 28 w 790223"/>
                <a:gd name="T5" fmla="*/ 0 h 575733"/>
                <a:gd name="T6" fmla="*/ 0 60000 65536"/>
                <a:gd name="T7" fmla="*/ 0 60000 65536"/>
                <a:gd name="T8" fmla="*/ 0 60000 65536"/>
                <a:gd name="T9" fmla="*/ 0 w 790223"/>
                <a:gd name="T10" fmla="*/ 0 h 575733"/>
                <a:gd name="T11" fmla="*/ 790223 w 790223"/>
                <a:gd name="T12" fmla="*/ 575733 h 5757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0223" h="575733">
                  <a:moveTo>
                    <a:pt x="0" y="575733"/>
                  </a:moveTo>
                  <a:cubicBezTo>
                    <a:pt x="92192" y="454377"/>
                    <a:pt x="184385" y="333022"/>
                    <a:pt x="316089" y="237066"/>
                  </a:cubicBezTo>
                  <a:cubicBezTo>
                    <a:pt x="447793" y="141111"/>
                    <a:pt x="619008" y="70555"/>
                    <a:pt x="790223" y="0"/>
                  </a:cubicBezTo>
                </a:path>
              </a:pathLst>
            </a:custGeom>
            <a:noFill/>
            <a:ln w="38100">
              <a:solidFill>
                <a:srgbClr val="0070C0"/>
              </a:solidFill>
              <a:prstDash val="sysDash"/>
              <a:round/>
              <a:headEnd type="none" w="med" len="med"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</p:grpSp>
      <p:pic>
        <p:nvPicPr>
          <p:cNvPr id="11276" name="Picture 6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889375" y="3500438"/>
            <a:ext cx="1057275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77" name="TextBox 37"/>
          <p:cNvSpPr txBox="1">
            <a:spLocks noChangeArrowheads="1"/>
          </p:cNvSpPr>
          <p:nvPr/>
        </p:nvSpPr>
        <p:spPr bwMode="auto">
          <a:xfrm>
            <a:off x="3463925" y="4143375"/>
            <a:ext cx="2609850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marL="139700" indent="-139700" defTabSz="814388"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Group calls setup </a:t>
            </a:r>
            <a:r>
              <a:rPr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&lt;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300ms</a:t>
            </a:r>
          </a:p>
          <a:p>
            <a:pPr marL="139700" indent="-139700" defTabSz="814388"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Pre-emptive call </a:t>
            </a:r>
            <a:r>
              <a:rPr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&lt;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150ms</a:t>
            </a:r>
            <a:endParaRPr lang="zh-CN" altLang="en-US" sz="1400" b="1" dirty="0">
              <a:solidFill>
                <a:schemeClr val="bg1"/>
              </a:solidFill>
              <a:latin typeface="Arial" pitchFamily="34" charset="0"/>
              <a:ea typeface="微软雅黑" pitchFamily="34" charset="-122"/>
            </a:endParaRPr>
          </a:p>
        </p:txBody>
      </p:sp>
      <p:sp>
        <p:nvSpPr>
          <p:cNvPr id="11278" name="TextBox 37"/>
          <p:cNvSpPr txBox="1">
            <a:spLocks noChangeArrowheads="1"/>
          </p:cNvSpPr>
          <p:nvPr/>
        </p:nvSpPr>
        <p:spPr bwMode="auto">
          <a:xfrm>
            <a:off x="655638" y="4165600"/>
            <a:ext cx="2697162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marL="139700" indent="-139700" defTabSz="814388"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Data service latency </a:t>
            </a:r>
            <a:r>
              <a:rPr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&lt;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50ms</a:t>
            </a:r>
          </a:p>
          <a:p>
            <a:pPr marL="139700" indent="-139700" defTabSz="814388">
              <a:buFontTx/>
              <a:buChar char="•"/>
            </a:pPr>
            <a:r>
              <a:rPr lang="en-US" altLang="zh-CN" sz="1400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Voice service latency </a:t>
            </a:r>
            <a:r>
              <a:rPr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&lt;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80ms</a:t>
            </a:r>
            <a:endParaRPr lang="zh-CN" altLang="en-US" sz="1400" b="1" dirty="0">
              <a:solidFill>
                <a:schemeClr val="bg1"/>
              </a:solidFill>
              <a:latin typeface="Arial" pitchFamily="34" charset="0"/>
              <a:ea typeface="微软雅黑" pitchFamily="34" charset="-122"/>
            </a:endParaRPr>
          </a:p>
        </p:txBody>
      </p:sp>
      <p:grpSp>
        <p:nvGrpSpPr>
          <p:cNvPr id="6" name="组合 4"/>
          <p:cNvGrpSpPr>
            <a:grpSpLocks/>
          </p:cNvGrpSpPr>
          <p:nvPr/>
        </p:nvGrpSpPr>
        <p:grpSpPr bwMode="auto">
          <a:xfrm>
            <a:off x="1622425" y="3471863"/>
            <a:ext cx="355600" cy="536575"/>
            <a:chOff x="-2752725" y="1123950"/>
            <a:chExt cx="2752725" cy="3467100"/>
          </a:xfrm>
        </p:grpSpPr>
        <p:pic>
          <p:nvPicPr>
            <p:cNvPr id="11293" name="Picture 3"/>
            <p:cNvPicPr>
              <a:picLocks noChangeAspect="1" noChangeArrowheads="1"/>
            </p:cNvPicPr>
            <p:nvPr/>
          </p:nvPicPr>
          <p:blipFill>
            <a:blip r:embed="rId13" cstate="print"/>
            <a:srcRect l="5009" t="2243" r="4024" b="2274"/>
            <a:stretch>
              <a:fillRect/>
            </a:stretch>
          </p:blipFill>
          <p:spPr bwMode="auto">
            <a:xfrm>
              <a:off x="-2752725" y="1123950"/>
              <a:ext cx="2752725" cy="3467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294" name="Picture 6" descr="http://www.huawei.com/ucmf/groups/public/documents/webasset/hw_000353.jp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-1309203" y="1336537"/>
              <a:ext cx="860072" cy="2144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1280" name="Picture 27" descr="移动终端-正.png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46288" y="3352800"/>
            <a:ext cx="217487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81" name="图片 685" descr="1.2.5 VS-IPC-D12P-P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75225" y="1227138"/>
            <a:ext cx="617538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组合 139"/>
          <p:cNvGrpSpPr>
            <a:grpSpLocks/>
          </p:cNvGrpSpPr>
          <p:nvPr/>
        </p:nvGrpSpPr>
        <p:grpSpPr bwMode="auto">
          <a:xfrm>
            <a:off x="6434138" y="3440113"/>
            <a:ext cx="1033462" cy="604837"/>
            <a:chOff x="6183926" y="3458709"/>
            <a:chExt cx="1225986" cy="586184"/>
          </a:xfrm>
        </p:grpSpPr>
        <p:pic>
          <p:nvPicPr>
            <p:cNvPr id="11291" name="图片 685" descr="1.2.5 VS-IPC-D12P-P.jpg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183926" y="3480480"/>
              <a:ext cx="616386" cy="564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292" name="图片 685" descr="1.2.5 VS-IPC-D12P-P.jpg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793526" y="3458709"/>
              <a:ext cx="616386" cy="564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283" name="TextBox 37"/>
          <p:cNvSpPr txBox="1">
            <a:spLocks noChangeArrowheads="1"/>
          </p:cNvSpPr>
          <p:nvPr/>
        </p:nvSpPr>
        <p:spPr bwMode="auto">
          <a:xfrm>
            <a:off x="6186488" y="4100513"/>
            <a:ext cx="2427287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628" tIns="40814" rIns="81628" bIns="40814">
            <a:spAutoFit/>
          </a:bodyPr>
          <a:lstStyle/>
          <a:p>
            <a:pPr marL="139700" indent="-139700" defTabSz="814388">
              <a:buFontTx/>
              <a:buChar char="•"/>
            </a:pPr>
            <a:r>
              <a:rPr lang="en-US" altLang="zh-CN" sz="14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Downlink: 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100Mbps</a:t>
            </a:r>
          </a:p>
          <a:p>
            <a:pPr marL="139700" indent="-139700" defTabSz="814388">
              <a:buFontTx/>
              <a:buChar char="•"/>
            </a:pPr>
            <a:r>
              <a:rPr lang="en-US" altLang="zh-CN" sz="14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</a:rPr>
              <a:t>Uplink: </a:t>
            </a:r>
            <a:r>
              <a:rPr lang="en-US" altLang="zh-CN" sz="1400" b="1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</a:rPr>
              <a:t>50Mbps</a:t>
            </a:r>
            <a:endParaRPr lang="zh-CN" altLang="en-US" sz="1400" b="1" dirty="0">
              <a:solidFill>
                <a:schemeClr val="bg1"/>
              </a:solidFill>
              <a:latin typeface="Arial" pitchFamily="34" charset="0"/>
              <a:ea typeface="微软雅黑" pitchFamily="34" charset="-122"/>
            </a:endParaRPr>
          </a:p>
        </p:txBody>
      </p:sp>
      <p:sp>
        <p:nvSpPr>
          <p:cNvPr id="43" name="标题 1"/>
          <p:cNvSpPr txBox="1">
            <a:spLocks/>
          </p:cNvSpPr>
          <p:nvPr/>
        </p:nvSpPr>
        <p:spPr bwMode="auto">
          <a:xfrm>
            <a:off x="314325" y="241300"/>
            <a:ext cx="8074099" cy="6540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altLang="zh-CN" sz="2100" b="1" kern="0" dirty="0">
                <a:solidFill>
                  <a:srgbClr val="FFC000"/>
                </a:solidFill>
                <a:latin typeface="FrutigerNext LT Medium" pitchFamily="34" charset="0"/>
                <a:ea typeface="黑体" pitchFamily="49" charset="-122"/>
                <a:sym typeface="Wingdings" pitchFamily="2" charset="2"/>
              </a:rPr>
              <a:t>Professional Performance </a:t>
            </a:r>
            <a:r>
              <a:rPr lang="en-US" altLang="zh-CN" sz="2100" b="1" kern="0" dirty="0" smtClean="0">
                <a:solidFill>
                  <a:srgbClr val="FFC000"/>
                </a:solidFill>
                <a:latin typeface="FrutigerNext LT Medium" pitchFamily="34" charset="0"/>
                <a:ea typeface="黑体" pitchFamily="49" charset="-122"/>
                <a:sym typeface="Wingdings" pitchFamily="2" charset="2"/>
              </a:rPr>
              <a:t>KPI’s to Quickly </a:t>
            </a:r>
            <a:r>
              <a:rPr lang="en-US" altLang="zh-CN" sz="2100" b="1" kern="0" dirty="0">
                <a:solidFill>
                  <a:srgbClr val="FFC000"/>
                </a:solidFill>
                <a:latin typeface="FrutigerNext LT Medium" pitchFamily="34" charset="0"/>
                <a:ea typeface="黑体" pitchFamily="49" charset="-122"/>
                <a:sym typeface="Wingdings" pitchFamily="2" charset="2"/>
              </a:rPr>
              <a:t>Respond to Emergency</a:t>
            </a: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500034" y="642924"/>
            <a:ext cx="3143272" cy="8572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Arial Unicode MS" pitchFamily="34" charset="-122"/>
                <a:cs typeface="Arial" pitchFamily="34" charset="0"/>
              </a:rPr>
              <a:t>CONTENTS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Arial Unicode MS" pitchFamily="34" charset="-122"/>
              <a:cs typeface="Arial" pitchFamily="34" charset="0"/>
            </a:endParaRPr>
          </a:p>
        </p:txBody>
      </p:sp>
      <p:sp>
        <p:nvSpPr>
          <p:cNvPr id="6" name="文本占位符 4"/>
          <p:cNvSpPr txBox="1">
            <a:spLocks/>
          </p:cNvSpPr>
          <p:nvPr/>
        </p:nvSpPr>
        <p:spPr>
          <a:xfrm>
            <a:off x="1214414" y="1785932"/>
            <a:ext cx="7014755" cy="23852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>
              <a:spcBef>
                <a:spcPts val="1800"/>
              </a:spcBef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mergency Challenges 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zh-CN" sz="26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roadband LTE Trunking Standard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Solution Highlights</a:t>
            </a: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uccessful Deployments</a:t>
            </a:r>
          </a:p>
        </p:txBody>
      </p:sp>
      <p:sp>
        <p:nvSpPr>
          <p:cNvPr id="7" name="Freeform 57"/>
          <p:cNvSpPr>
            <a:spLocks noChangeAspect="1" noEditPoints="1"/>
          </p:cNvSpPr>
          <p:nvPr/>
        </p:nvSpPr>
        <p:spPr bwMode="auto">
          <a:xfrm>
            <a:off x="615129" y="3132111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8" name="Freeform 57"/>
          <p:cNvSpPr>
            <a:spLocks noChangeAspect="1" noEditPoints="1"/>
          </p:cNvSpPr>
          <p:nvPr/>
        </p:nvSpPr>
        <p:spPr bwMode="auto">
          <a:xfrm>
            <a:off x="642910" y="182187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9" name="Freeform 57"/>
          <p:cNvSpPr>
            <a:spLocks noChangeAspect="1" noEditPoints="1"/>
          </p:cNvSpPr>
          <p:nvPr/>
        </p:nvSpPr>
        <p:spPr bwMode="auto">
          <a:xfrm>
            <a:off x="615129" y="248916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10" name="Freeform 57"/>
          <p:cNvSpPr>
            <a:spLocks noChangeAspect="1" noEditPoints="1"/>
          </p:cNvSpPr>
          <p:nvPr/>
        </p:nvSpPr>
        <p:spPr bwMode="auto">
          <a:xfrm>
            <a:off x="611560" y="3715585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41"/>
          <p:cNvSpPr>
            <a:spLocks noChangeArrowheads="1"/>
          </p:cNvSpPr>
          <p:nvPr/>
        </p:nvSpPr>
        <p:spPr bwMode="auto">
          <a:xfrm>
            <a:off x="287338" y="2628900"/>
            <a:ext cx="8513762" cy="1895475"/>
          </a:xfrm>
          <a:prstGeom prst="roundRect">
            <a:avLst>
              <a:gd name="adj" fmla="val 2236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34" tIns="45717" rIns="91434" bIns="45717"/>
          <a:lstStyle/>
          <a:p>
            <a:endParaRPr lang="zh-CN" altLang="en-US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47" name="Rounded Rectangle 41"/>
          <p:cNvSpPr>
            <a:spLocks noChangeArrowheads="1"/>
          </p:cNvSpPr>
          <p:nvPr/>
        </p:nvSpPr>
        <p:spPr bwMode="auto">
          <a:xfrm>
            <a:off x="287338" y="790575"/>
            <a:ext cx="8513762" cy="1724025"/>
          </a:xfrm>
          <a:prstGeom prst="roundRect">
            <a:avLst>
              <a:gd name="adj" fmla="val 2236"/>
            </a:avLst>
          </a:prstGeom>
          <a:gradFill>
            <a:gsLst>
              <a:gs pos="12000">
                <a:srgbClr val="00B0F0">
                  <a:alpha val="28000"/>
                </a:srgbClr>
              </a:gs>
              <a:gs pos="38000">
                <a:srgbClr val="0070C0">
                  <a:alpha val="36000"/>
                </a:srgbClr>
              </a:gs>
              <a:gs pos="100000">
                <a:srgbClr val="00B0F0">
                  <a:alpha val="17000"/>
                </a:srgbClr>
              </a:gs>
            </a:gsLst>
            <a:lin ang="5400000" scaled="0"/>
          </a:gra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34" tIns="45717" rIns="91434" bIns="45717"/>
          <a:lstStyle/>
          <a:p>
            <a:endParaRPr lang="zh-CN" altLang="en-US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54276" name="Picture 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1975" y="827088"/>
            <a:ext cx="623888" cy="54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77" name="9e2e4c8f-f0d4-43f9-8dcf-2c9b2844e7a5"/>
          <p:cNvSpPr>
            <a:spLocks noChangeArrowheads="1"/>
          </p:cNvSpPr>
          <p:nvPr/>
        </p:nvSpPr>
        <p:spPr bwMode="auto">
          <a:xfrm>
            <a:off x="1152525" y="950913"/>
            <a:ext cx="671512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</a:pPr>
            <a:r>
              <a:rPr kumimoji="1"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Officially set LTE-TDD broadband trunking as China's national standards</a:t>
            </a:r>
          </a:p>
        </p:txBody>
      </p:sp>
      <p:pic>
        <p:nvPicPr>
          <p:cNvPr id="82945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70850" y="819150"/>
            <a:ext cx="641350" cy="62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7" name="标题 1"/>
          <p:cNvSpPr txBox="1">
            <a:spLocks/>
          </p:cNvSpPr>
          <p:nvPr/>
        </p:nvSpPr>
        <p:spPr bwMode="auto">
          <a:xfrm>
            <a:off x="231775" y="644525"/>
            <a:ext cx="9086850" cy="6540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endParaRPr lang="en-US" altLang="zh-CN" sz="2100" b="1">
              <a:solidFill>
                <a:srgbClr val="990000"/>
              </a:solidFill>
              <a:latin typeface="FrutigerNext LT Medium" pitchFamily="34" charset="0"/>
              <a:ea typeface="黑体" pitchFamily="49" charset="-122"/>
              <a:sym typeface="Wingdings" pitchFamily="2" charset="2"/>
            </a:endParaRPr>
          </a:p>
        </p:txBody>
      </p:sp>
      <p:sp>
        <p:nvSpPr>
          <p:cNvPr id="57" name="Line 4"/>
          <p:cNvSpPr>
            <a:spLocks noChangeShapeType="1"/>
          </p:cNvSpPr>
          <p:nvPr/>
        </p:nvSpPr>
        <p:spPr bwMode="auto">
          <a:xfrm flipV="1">
            <a:off x="563563" y="1860550"/>
            <a:ext cx="8037512" cy="0"/>
          </a:xfrm>
          <a:prstGeom prst="line">
            <a:avLst/>
          </a:prstGeom>
          <a:noFill/>
          <a:ln w="127000">
            <a:solidFill>
              <a:srgbClr val="C00000"/>
            </a:solidFill>
            <a:round/>
            <a:headEnd type="none" w="sm" len="sm"/>
            <a:tailEnd type="stealth" w="med" len="sm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61" name="Line 8"/>
          <p:cNvSpPr>
            <a:spLocks noChangeShapeType="1"/>
          </p:cNvSpPr>
          <p:nvPr/>
        </p:nvSpPr>
        <p:spPr bwMode="auto">
          <a:xfrm flipH="1">
            <a:off x="1263650" y="1652588"/>
            <a:ext cx="3175" cy="344487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58" name="Text Box 18"/>
          <p:cNvSpPr txBox="1">
            <a:spLocks noChangeArrowheads="1"/>
          </p:cNvSpPr>
          <p:nvPr/>
        </p:nvSpPr>
        <p:spPr bwMode="auto">
          <a:xfrm>
            <a:off x="3849688" y="1460500"/>
            <a:ext cx="919162" cy="2159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lg" len="med"/>
          </a:ln>
          <a:effectLst/>
        </p:spPr>
        <p:txBody>
          <a:bodyPr lIns="15424" tIns="15424" rIns="15424" bIns="15424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4.11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2" name="Text Box 18"/>
          <p:cNvSpPr txBox="1">
            <a:spLocks noChangeArrowheads="1"/>
          </p:cNvSpPr>
          <p:nvPr/>
        </p:nvSpPr>
        <p:spPr bwMode="auto">
          <a:xfrm>
            <a:off x="828675" y="1460500"/>
            <a:ext cx="919163" cy="2159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lg" len="med"/>
          </a:ln>
          <a:effectLst/>
        </p:spPr>
        <p:txBody>
          <a:bodyPr lIns="15424" tIns="15424" rIns="15424" bIns="15424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2.12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5" name="Text Box 18"/>
          <p:cNvSpPr txBox="1">
            <a:spLocks noChangeArrowheads="1"/>
          </p:cNvSpPr>
          <p:nvPr/>
        </p:nvSpPr>
        <p:spPr bwMode="auto">
          <a:xfrm>
            <a:off x="7131050" y="1460500"/>
            <a:ext cx="917575" cy="2159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lg" len="med"/>
          </a:ln>
          <a:effectLst/>
        </p:spPr>
        <p:txBody>
          <a:bodyPr lIns="15424" tIns="15424" rIns="15424" bIns="15424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6.03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76" name="Line 8"/>
          <p:cNvSpPr>
            <a:spLocks noChangeShapeType="1"/>
          </p:cNvSpPr>
          <p:nvPr/>
        </p:nvSpPr>
        <p:spPr bwMode="auto">
          <a:xfrm flipH="1">
            <a:off x="7585075" y="1652588"/>
            <a:ext cx="1588" cy="344487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pic>
        <p:nvPicPr>
          <p:cNvPr id="54286" name="Picture 2" descr="C:\Users\PK\Desktop\2013\logos\TCCAlogoCMY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0375" y="2782888"/>
            <a:ext cx="692150" cy="693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287" name="58013380-6151-430e-bec3-57160ceb537b"/>
          <p:cNvSpPr>
            <a:spLocks noChangeArrowheads="1"/>
          </p:cNvSpPr>
          <p:nvPr/>
        </p:nvSpPr>
        <p:spPr bwMode="auto">
          <a:xfrm>
            <a:off x="1150938" y="2879725"/>
            <a:ext cx="63166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CC9900"/>
              </a:buClr>
            </a:pPr>
            <a:r>
              <a:rPr kumimoji="1" lang="en-US" altLang="zh-CN" sz="1400" b="1" dirty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et LTE as the standard for future broadband critical communication</a:t>
            </a:r>
          </a:p>
        </p:txBody>
      </p:sp>
      <p:pic>
        <p:nvPicPr>
          <p:cNvPr id="82" name="图片 8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/>
            </a:extLst>
          </a:blip>
          <a:stretch>
            <a:fillRect/>
          </a:stretch>
        </p:blipFill>
        <p:spPr>
          <a:xfrm>
            <a:off x="8118282" y="2864689"/>
            <a:ext cx="636104" cy="5168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9" name="TextBox 88"/>
          <p:cNvSpPr txBox="1"/>
          <p:nvPr/>
        </p:nvSpPr>
        <p:spPr>
          <a:xfrm>
            <a:off x="1722438" y="4102100"/>
            <a:ext cx="8651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4.12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54450" y="4102100"/>
            <a:ext cx="86518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6.03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6407" name="TextBox 91"/>
          <p:cNvSpPr txBox="1">
            <a:spLocks noChangeArrowheads="1"/>
          </p:cNvSpPr>
          <p:nvPr/>
        </p:nvSpPr>
        <p:spPr bwMode="auto">
          <a:xfrm>
            <a:off x="3162300" y="3262313"/>
            <a:ext cx="2838450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Rel-13</a:t>
            </a:r>
          </a:p>
          <a:p>
            <a:pPr algn="ctr"/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(MCPTT / IOPS, GCSE/PROSE</a:t>
            </a:r>
            <a:r>
              <a:rPr lang="zh-CN" altLang="en-US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nhancement)</a:t>
            </a:r>
            <a:endParaRPr lang="zh-CN" altLang="en-US" sz="1000" dirty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670675" y="4102100"/>
            <a:ext cx="117633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7.06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6409" name="TextBox 94"/>
          <p:cNvSpPr txBox="1">
            <a:spLocks noChangeArrowheads="1"/>
          </p:cNvSpPr>
          <p:nvPr/>
        </p:nvSpPr>
        <p:spPr bwMode="auto">
          <a:xfrm>
            <a:off x="6254750" y="3262313"/>
            <a:ext cx="1782763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Rel-14</a:t>
            </a:r>
          </a:p>
          <a:p>
            <a:pPr algn="ctr">
              <a:defRPr/>
            </a:pPr>
            <a:r>
              <a:rPr lang="en-US" altLang="zh-CN" sz="1000" dirty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(Mission Critical Video/Data)</a:t>
            </a:r>
          </a:p>
        </p:txBody>
      </p:sp>
      <p:sp>
        <p:nvSpPr>
          <p:cNvPr id="96" name="Line 4"/>
          <p:cNvSpPr>
            <a:spLocks noChangeShapeType="1"/>
          </p:cNvSpPr>
          <p:nvPr/>
        </p:nvSpPr>
        <p:spPr bwMode="auto">
          <a:xfrm flipV="1">
            <a:off x="595313" y="4040188"/>
            <a:ext cx="8123237" cy="22225"/>
          </a:xfrm>
          <a:prstGeom prst="line">
            <a:avLst/>
          </a:prstGeom>
          <a:noFill/>
          <a:ln w="127000">
            <a:solidFill>
              <a:srgbClr val="C00000"/>
            </a:solidFill>
            <a:round/>
            <a:headEnd type="none" w="sm" len="sm"/>
            <a:tailEnd type="stealth" w="med" len="sm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solidFill>
                <a:srgbClr val="C00000"/>
              </a:solidFill>
              <a:latin typeface="+mn-ea"/>
              <a:ea typeface="+mn-ea"/>
            </a:endParaRPr>
          </a:p>
        </p:txBody>
      </p:sp>
      <p:sp>
        <p:nvSpPr>
          <p:cNvPr id="97" name="Line 8"/>
          <p:cNvSpPr>
            <a:spLocks noChangeShapeType="1"/>
          </p:cNvSpPr>
          <p:nvPr/>
        </p:nvSpPr>
        <p:spPr bwMode="auto">
          <a:xfrm>
            <a:off x="2130425" y="3863975"/>
            <a:ext cx="9525" cy="26352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16412" name="TextBox 87"/>
          <p:cNvSpPr txBox="1">
            <a:spLocks noChangeArrowheads="1"/>
          </p:cNvSpPr>
          <p:nvPr/>
        </p:nvSpPr>
        <p:spPr bwMode="auto">
          <a:xfrm>
            <a:off x="1381125" y="3262313"/>
            <a:ext cx="1457325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Rel-12</a:t>
            </a:r>
          </a:p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(D2D/ProSe, GSCE)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1" name="Line 8"/>
          <p:cNvSpPr>
            <a:spLocks noChangeShapeType="1"/>
          </p:cNvSpPr>
          <p:nvPr/>
        </p:nvSpPr>
        <p:spPr bwMode="auto">
          <a:xfrm flipH="1">
            <a:off x="4273550" y="1652588"/>
            <a:ext cx="3175" cy="344487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102" name="Line 8"/>
          <p:cNvSpPr>
            <a:spLocks noChangeShapeType="1"/>
          </p:cNvSpPr>
          <p:nvPr/>
        </p:nvSpPr>
        <p:spPr bwMode="auto">
          <a:xfrm>
            <a:off x="4265613" y="3873500"/>
            <a:ext cx="9525" cy="26352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105" name="Line 8"/>
          <p:cNvSpPr>
            <a:spLocks noChangeShapeType="1"/>
          </p:cNvSpPr>
          <p:nvPr/>
        </p:nvSpPr>
        <p:spPr bwMode="auto">
          <a:xfrm>
            <a:off x="7159625" y="3883025"/>
            <a:ext cx="9525" cy="263525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54300" name="9e2e4c8f-f0d4-43f9-8dcf-2c9b2844e7a5"/>
          <p:cNvSpPr>
            <a:spLocks noChangeArrowheads="1"/>
          </p:cNvSpPr>
          <p:nvPr/>
        </p:nvSpPr>
        <p:spPr bwMode="auto">
          <a:xfrm>
            <a:off x="203200" y="4298950"/>
            <a:ext cx="8921750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50000"/>
              </a:lnSpc>
              <a:buClr>
                <a:srgbClr val="990000"/>
              </a:buClr>
              <a:buSzPct val="90000"/>
            </a:pPr>
            <a:r>
              <a:rPr lang="en-US" altLang="zh-CN" sz="7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GCSE</a:t>
            </a:r>
            <a:r>
              <a:rPr lang="en-US" altLang="zh-CN" sz="7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: Group Communication System Enabler. </a:t>
            </a:r>
            <a:r>
              <a:rPr lang="en-US" altLang="zh-CN" sz="7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MCPTT:</a:t>
            </a:r>
            <a:r>
              <a:rPr lang="en-US" altLang="zh-CN" sz="7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Mission Critical Push To Talk . </a:t>
            </a:r>
            <a:r>
              <a:rPr lang="en-US" altLang="zh-CN" sz="7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IOPS: </a:t>
            </a:r>
            <a:r>
              <a:rPr lang="en-US" altLang="zh-CN" sz="7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solated E-UTRAN Operation for Public Safety.  </a:t>
            </a:r>
            <a:r>
              <a:rPr lang="en-US" altLang="zh-CN" sz="7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PROSE:</a:t>
            </a:r>
            <a:r>
              <a:rPr lang="en-US" altLang="zh-CN" sz="7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Proximity-based Service  </a:t>
            </a:r>
            <a:r>
              <a:rPr lang="en-US" altLang="zh-CN" sz="700" b="1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C-PTM: </a:t>
            </a:r>
            <a:r>
              <a:rPr lang="en-US" altLang="zh-CN" sz="7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ingle-Cell Point-to-Multipoint </a:t>
            </a:r>
            <a:endParaRPr lang="zh-CN" altLang="en-US" sz="7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>
              <a:lnSpc>
                <a:spcPct val="150000"/>
              </a:lnSpc>
              <a:buClr>
                <a:srgbClr val="990000"/>
              </a:buClr>
              <a:buSzPct val="90000"/>
            </a:pPr>
            <a:r>
              <a:rPr lang="en-US" altLang="zh-CN" sz="700">
                <a:latin typeface="Arial" pitchFamily="34" charset="0"/>
                <a:ea typeface="微软雅黑" pitchFamily="34" charset="-122"/>
                <a:cs typeface="Arial" pitchFamily="34" charset="0"/>
              </a:rPr>
              <a:t> </a:t>
            </a:r>
          </a:p>
        </p:txBody>
      </p:sp>
      <p:sp>
        <p:nvSpPr>
          <p:cNvPr id="40" name="标题 1"/>
          <p:cNvSpPr txBox="1">
            <a:spLocks/>
          </p:cNvSpPr>
          <p:nvPr/>
        </p:nvSpPr>
        <p:spPr bwMode="auto">
          <a:xfrm>
            <a:off x="238125" y="241300"/>
            <a:ext cx="9086850" cy="6540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endParaRPr lang="en-US" altLang="zh-CN" sz="2000" b="1">
              <a:solidFill>
                <a:srgbClr val="990000"/>
              </a:solidFill>
              <a:latin typeface="FrutigerNext LT Medium" pitchFamily="34" charset="0"/>
              <a:ea typeface="黑体" pitchFamily="49" charset="-122"/>
              <a:sym typeface="Wingdings" pitchFamily="2" charset="2"/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5502275" y="1463675"/>
            <a:ext cx="919163" cy="2159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lg" len="med"/>
          </a:ln>
          <a:effectLst/>
        </p:spPr>
        <p:txBody>
          <a:bodyPr lIns="15424" tIns="15424" rIns="15424" bIns="15424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5.03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4" name="Line 8"/>
          <p:cNvSpPr>
            <a:spLocks noChangeShapeType="1"/>
          </p:cNvSpPr>
          <p:nvPr/>
        </p:nvSpPr>
        <p:spPr bwMode="auto">
          <a:xfrm flipH="1">
            <a:off x="5926138" y="1655763"/>
            <a:ext cx="3175" cy="344487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35" name="TextBox 87"/>
          <p:cNvSpPr txBox="1">
            <a:spLocks noChangeArrowheads="1"/>
          </p:cNvSpPr>
          <p:nvPr/>
        </p:nvSpPr>
        <p:spPr bwMode="auto">
          <a:xfrm>
            <a:off x="555625" y="2022475"/>
            <a:ext cx="1241425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Standardization Initiation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586163" y="2022475"/>
            <a:ext cx="1293812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1000125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tandard included in ITU-R</a:t>
            </a:r>
            <a:endParaRPr lang="zh-CN" altLang="zh-CN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227638" y="2022475"/>
            <a:ext cx="1293812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1000125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-TrunC</a:t>
            </a:r>
            <a:r>
              <a:rPr lang="zh-CN" altLang="en-US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1.0</a:t>
            </a:r>
          </a:p>
          <a:p>
            <a:pPr algn="ctr" defTabSz="1000125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oice, Video, SMS</a:t>
            </a:r>
            <a:endParaRPr lang="zh-CN" altLang="zh-CN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9" name="Line 8"/>
          <p:cNvSpPr>
            <a:spLocks noChangeShapeType="1"/>
          </p:cNvSpPr>
          <p:nvPr/>
        </p:nvSpPr>
        <p:spPr bwMode="auto">
          <a:xfrm flipH="1">
            <a:off x="2743200" y="1655763"/>
            <a:ext cx="4763" cy="325437"/>
          </a:xfrm>
          <a:prstGeom prst="line">
            <a:avLst/>
          </a:prstGeom>
          <a:noFill/>
          <a:ln w="38100">
            <a:solidFill>
              <a:schemeClr val="bg2"/>
            </a:solidFill>
            <a:round/>
            <a:headEnd type="none" w="sm" len="sm"/>
            <a:tailEnd type="none" w="lg" len="med"/>
          </a:ln>
          <a:effectLst/>
        </p:spPr>
        <p:txBody>
          <a:bodyPr lIns="15424" tIns="15424" rIns="15424" bIns="15424"/>
          <a:lstStyle/>
          <a:p>
            <a:pPr>
              <a:defRPr/>
            </a:pPr>
            <a:endParaRPr lang="zh-CN" altLang="en-US" sz="1200" b="1" dirty="0">
              <a:latin typeface="+mn-ea"/>
              <a:ea typeface="+mn-ea"/>
            </a:endParaRP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2309813" y="1463675"/>
            <a:ext cx="919162" cy="215900"/>
          </a:xfrm>
          <a:prstGeom prst="rect">
            <a:avLst/>
          </a:prstGeom>
          <a:noFill/>
          <a:ln w="9525" algn="ctr">
            <a:noFill/>
            <a:miter lim="800000"/>
            <a:headEnd type="none" w="sm" len="sm"/>
            <a:tailEnd type="none" w="lg" len="med"/>
          </a:ln>
          <a:effectLst/>
        </p:spPr>
        <p:txBody>
          <a:bodyPr lIns="15424" tIns="15424" rIns="15424" bIns="15424">
            <a:spAutoFit/>
          </a:bodyPr>
          <a:lstStyle/>
          <a:p>
            <a:pPr algn="ctr">
              <a:spcBef>
                <a:spcPct val="50000"/>
              </a:spcBef>
            </a:pPr>
            <a:r>
              <a:rPr kumimoji="1" lang="en-US" altLang="zh-CN" sz="12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2012.10</a:t>
            </a:r>
            <a:endParaRPr kumimoji="1" lang="zh-CN" altLang="en-US" sz="12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2" name="TextBox 87"/>
          <p:cNvSpPr txBox="1">
            <a:spLocks noChangeArrowheads="1"/>
          </p:cNvSpPr>
          <p:nvPr/>
        </p:nvSpPr>
        <p:spPr bwMode="auto">
          <a:xfrm>
            <a:off x="2005013" y="2022475"/>
            <a:ext cx="1387475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Air Interface Standard Release</a:t>
            </a:r>
            <a:endParaRPr lang="zh-CN" altLang="en-US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73888" y="2022475"/>
            <a:ext cx="1295400" cy="400050"/>
          </a:xfrm>
          <a:prstGeom prst="rect">
            <a:avLst/>
          </a:prstGeom>
          <a:solidFill>
            <a:srgbClr val="001D32">
              <a:alpha val="36863"/>
            </a:srgbClr>
          </a:solidFill>
          <a:ln w="6350">
            <a:solidFill>
              <a:schemeClr val="bg1">
                <a:lumMod val="65000"/>
                <a:alpha val="82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1000125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-TrunC</a:t>
            </a:r>
            <a:r>
              <a:rPr lang="zh-CN" altLang="en-US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 </a:t>
            </a:r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2.0</a:t>
            </a:r>
          </a:p>
          <a:p>
            <a:pPr algn="ctr" defTabSz="1000125"/>
            <a:r>
              <a:rPr lang="en-US" altLang="zh-CN" sz="100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nterconnection</a:t>
            </a:r>
            <a:endParaRPr lang="zh-CN" altLang="zh-CN" sz="100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56359" name="Title 1"/>
          <p:cNvSpPr>
            <a:spLocks noGrp="1"/>
          </p:cNvSpPr>
          <p:nvPr>
            <p:ph type="title"/>
          </p:nvPr>
        </p:nvSpPr>
        <p:spPr>
          <a:xfrm>
            <a:off x="244475" y="339502"/>
            <a:ext cx="8551863" cy="369332"/>
          </a:xfrm>
        </p:spPr>
        <p:txBody>
          <a:bodyPr/>
          <a:lstStyle/>
          <a:p>
            <a:pPr marL="342900" indent="-342900" algn="l">
              <a:lnSpc>
                <a:spcPct val="120000"/>
              </a:lnSpc>
              <a:buClr>
                <a:srgbClr val="5F5F5F"/>
              </a:buClr>
              <a:buSzPct val="80000"/>
            </a:pPr>
            <a:r>
              <a:rPr lang="en-US" altLang="zh-CN" sz="2000" b="1" dirty="0" smtClean="0">
                <a:solidFill>
                  <a:srgbClr val="FFC000"/>
                </a:solidFill>
                <a:sym typeface="Wingdings" pitchFamily="2" charset="2"/>
              </a:rPr>
              <a:t>LTE Broadband Trunking Standardization is Accelerating</a:t>
            </a:r>
            <a:endParaRPr lang="en-US" altLang="zh-CN" sz="2000" b="1" dirty="0" smtClean="0">
              <a:solidFill>
                <a:srgbClr val="FFC000"/>
              </a:solidFill>
              <a:sym typeface="Lucida Grande"/>
            </a:endParaRPr>
          </a:p>
        </p:txBody>
      </p:sp>
    </p:spTree>
  </p:cSld>
  <p:clrMapOvr>
    <a:masterClrMapping/>
  </p:clrMapOvr>
  <p:transition advClick="0"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193BEC-2EA3-4415-A192-112BE42B330C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标题 1"/>
          <p:cNvSpPr txBox="1">
            <a:spLocks/>
          </p:cNvSpPr>
          <p:nvPr/>
        </p:nvSpPr>
        <p:spPr>
          <a:xfrm>
            <a:off x="500034" y="642924"/>
            <a:ext cx="3143272" cy="85725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itchFamily="34" charset="0"/>
                <a:ea typeface="Arial Unicode MS" pitchFamily="34" charset="-122"/>
                <a:cs typeface="Arial" pitchFamily="34" charset="0"/>
              </a:rPr>
              <a:t>CONTENTS</a:t>
            </a:r>
            <a:endParaRPr kumimoji="0" lang="zh-CN" altLang="en-US" sz="4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Arial Unicode MS" pitchFamily="34" charset="-122"/>
              <a:cs typeface="Arial" pitchFamily="34" charset="0"/>
            </a:endParaRPr>
          </a:p>
        </p:txBody>
      </p:sp>
      <p:sp>
        <p:nvSpPr>
          <p:cNvPr id="6" name="文本占位符 4"/>
          <p:cNvSpPr txBox="1">
            <a:spLocks/>
          </p:cNvSpPr>
          <p:nvPr/>
        </p:nvSpPr>
        <p:spPr>
          <a:xfrm>
            <a:off x="1214414" y="1785932"/>
            <a:ext cx="7014755" cy="238526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>
              <a:spcBef>
                <a:spcPts val="1800"/>
              </a:spcBef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mergency Challenges 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18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zh-CN" sz="260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Broadband LTE Trunking Standard</a:t>
            </a:r>
            <a:endParaRPr kumimoji="0" lang="en-US" altLang="zh-CN" sz="26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Solution Highlights</a:t>
            </a:r>
          </a:p>
          <a:p>
            <a:pPr lvl="0">
              <a:spcBef>
                <a:spcPts val="1800"/>
              </a:spcBef>
              <a:defRPr/>
            </a:pPr>
            <a:r>
              <a:rPr lang="en-US" altLang="zh-CN" sz="260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uccessful Deployments</a:t>
            </a:r>
          </a:p>
        </p:txBody>
      </p:sp>
      <p:sp>
        <p:nvSpPr>
          <p:cNvPr id="7" name="Freeform 57"/>
          <p:cNvSpPr>
            <a:spLocks noChangeAspect="1" noEditPoints="1"/>
          </p:cNvSpPr>
          <p:nvPr/>
        </p:nvSpPr>
        <p:spPr bwMode="auto">
          <a:xfrm>
            <a:off x="615129" y="3132111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rgbClr val="FFC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8" name="Freeform 57"/>
          <p:cNvSpPr>
            <a:spLocks noChangeAspect="1" noEditPoints="1"/>
          </p:cNvSpPr>
          <p:nvPr/>
        </p:nvSpPr>
        <p:spPr bwMode="auto">
          <a:xfrm>
            <a:off x="642910" y="182187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9" name="Freeform 57"/>
          <p:cNvSpPr>
            <a:spLocks noChangeAspect="1" noEditPoints="1"/>
          </p:cNvSpPr>
          <p:nvPr/>
        </p:nvSpPr>
        <p:spPr bwMode="auto">
          <a:xfrm>
            <a:off x="615129" y="2489169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  <p:sp>
        <p:nvSpPr>
          <p:cNvPr id="10" name="Freeform 57"/>
          <p:cNvSpPr>
            <a:spLocks noChangeAspect="1" noEditPoints="1"/>
          </p:cNvSpPr>
          <p:nvPr/>
        </p:nvSpPr>
        <p:spPr bwMode="auto">
          <a:xfrm>
            <a:off x="611560" y="3715585"/>
            <a:ext cx="384971" cy="368333"/>
          </a:xfrm>
          <a:custGeom>
            <a:avLst/>
            <a:gdLst>
              <a:gd name="T0" fmla="*/ 279986 w 1365"/>
              <a:gd name="T1" fmla="*/ 84883 h 1307"/>
              <a:gd name="T2" fmla="*/ 135411 w 1365"/>
              <a:gd name="T3" fmla="*/ 174341 h 1307"/>
              <a:gd name="T4" fmla="*/ 293222 w 1365"/>
              <a:gd name="T5" fmla="*/ 117413 h 1307"/>
              <a:gd name="T6" fmla="*/ 331401 w 1365"/>
              <a:gd name="T7" fmla="*/ 78276 h 1307"/>
              <a:gd name="T8" fmla="*/ 190390 w 1365"/>
              <a:gd name="T9" fmla="*/ 223645 h 1307"/>
              <a:gd name="T10" fmla="*/ 173082 w 1365"/>
              <a:gd name="T11" fmla="*/ 307003 h 1307"/>
              <a:gd name="T12" fmla="*/ 331401 w 1365"/>
              <a:gd name="T13" fmla="*/ 307003 h 1307"/>
              <a:gd name="T14" fmla="*/ 175627 w 1365"/>
              <a:gd name="T15" fmla="*/ 385787 h 1307"/>
              <a:gd name="T16" fmla="*/ 99777 w 1365"/>
              <a:gd name="T17" fmla="*/ 428991 h 1307"/>
              <a:gd name="T18" fmla="*/ 230097 w 1365"/>
              <a:gd name="T19" fmla="*/ 428991 h 1307"/>
              <a:gd name="T20" fmla="*/ 243333 w 1365"/>
              <a:gd name="T21" fmla="*/ 534714 h 1307"/>
              <a:gd name="T22" fmla="*/ 140502 w 1365"/>
              <a:gd name="T23" fmla="*/ 493035 h 1307"/>
              <a:gd name="T24" fmla="*/ 246897 w 1365"/>
              <a:gd name="T25" fmla="*/ 569277 h 1307"/>
              <a:gd name="T26" fmla="*/ 263187 w 1365"/>
              <a:gd name="T27" fmla="*/ 503200 h 1307"/>
              <a:gd name="T28" fmla="*/ 240279 w 1365"/>
              <a:gd name="T29" fmla="*/ 463554 h 1307"/>
              <a:gd name="T30" fmla="*/ 494302 w 1365"/>
              <a:gd name="T31" fmla="*/ 192131 h 1307"/>
              <a:gd name="T32" fmla="*/ 481576 w 1365"/>
              <a:gd name="T33" fmla="*/ 110806 h 1307"/>
              <a:gd name="T34" fmla="*/ 440341 w 1365"/>
              <a:gd name="T35" fmla="*/ 173833 h 1307"/>
              <a:gd name="T36" fmla="*/ 365000 w 1365"/>
              <a:gd name="T37" fmla="*/ 78276 h 1307"/>
              <a:gd name="T38" fmla="*/ 588479 w 1365"/>
              <a:gd name="T39" fmla="*/ 223645 h 1307"/>
              <a:gd name="T40" fmla="*/ 612915 w 1365"/>
              <a:gd name="T41" fmla="*/ 307003 h 1307"/>
              <a:gd name="T42" fmla="*/ 463249 w 1365"/>
              <a:gd name="T43" fmla="*/ 223645 h 1307"/>
              <a:gd name="T44" fmla="*/ 521283 w 1365"/>
              <a:gd name="T45" fmla="*/ 385787 h 1307"/>
              <a:gd name="T46" fmla="*/ 608333 w 1365"/>
              <a:gd name="T47" fmla="*/ 381721 h 1307"/>
              <a:gd name="T48" fmla="*/ 481067 w 1365"/>
              <a:gd name="T49" fmla="*/ 377146 h 1307"/>
              <a:gd name="T50" fmla="*/ 473431 w 1365"/>
              <a:gd name="T51" fmla="*/ 413234 h 1307"/>
              <a:gd name="T52" fmla="*/ 452559 w 1365"/>
              <a:gd name="T53" fmla="*/ 567752 h 1307"/>
              <a:gd name="T54" fmla="*/ 552845 w 1365"/>
              <a:gd name="T55" fmla="*/ 493035 h 1307"/>
              <a:gd name="T56" fmla="*/ 436269 w 1365"/>
              <a:gd name="T57" fmla="*/ 501675 h 1307"/>
              <a:gd name="T58" fmla="*/ 390453 w 1365"/>
              <a:gd name="T59" fmla="*/ 562669 h 1307"/>
              <a:gd name="T60" fmla="*/ 676039 w 1365"/>
              <a:gd name="T61" fmla="*/ 228727 h 1307"/>
              <a:gd name="T62" fmla="*/ 579316 w 1365"/>
              <a:gd name="T63" fmla="*/ 83358 h 1307"/>
              <a:gd name="T64" fmla="*/ 418452 w 1365"/>
              <a:gd name="T65" fmla="*/ 6099 h 1307"/>
              <a:gd name="T66" fmla="*/ 237224 w 1365"/>
              <a:gd name="T67" fmla="*/ 16773 h 1307"/>
              <a:gd name="T68" fmla="*/ 87559 w 1365"/>
              <a:gd name="T69" fmla="*/ 110806 h 1307"/>
              <a:gd name="T70" fmla="*/ 7127 w 1365"/>
              <a:gd name="T71" fmla="*/ 265324 h 1307"/>
              <a:gd name="T72" fmla="*/ 18326 w 1365"/>
              <a:gd name="T73" fmla="*/ 438140 h 1307"/>
              <a:gd name="T74" fmla="*/ 118103 w 1365"/>
              <a:gd name="T75" fmla="*/ 580968 h 1307"/>
              <a:gd name="T76" fmla="*/ 278968 w 1365"/>
              <a:gd name="T77" fmla="*/ 657718 h 1307"/>
              <a:gd name="T78" fmla="*/ 458159 w 1365"/>
              <a:gd name="T79" fmla="*/ 646536 h 1307"/>
              <a:gd name="T80" fmla="*/ 608333 w 1365"/>
              <a:gd name="T81" fmla="*/ 550979 h 1307"/>
              <a:gd name="T82" fmla="*/ 687238 w 1365"/>
              <a:gd name="T83" fmla="*/ 396969 h 1307"/>
              <a:gd name="T84" fmla="*/ 651094 w 1365"/>
              <a:gd name="T85" fmla="*/ 374096 h 1307"/>
              <a:gd name="T86" fmla="*/ 581353 w 1365"/>
              <a:gd name="T87" fmla="*/ 521499 h 1307"/>
              <a:gd name="T88" fmla="*/ 441359 w 1365"/>
              <a:gd name="T89" fmla="*/ 610956 h 1307"/>
              <a:gd name="T90" fmla="*/ 271332 w 1365"/>
              <a:gd name="T91" fmla="*/ 617564 h 1307"/>
              <a:gd name="T92" fmla="*/ 124721 w 1365"/>
              <a:gd name="T93" fmla="*/ 534714 h 1307"/>
              <a:gd name="T94" fmla="*/ 46834 w 1365"/>
              <a:gd name="T95" fmla="*/ 391886 h 1307"/>
              <a:gd name="T96" fmla="*/ 58542 w 1365"/>
              <a:gd name="T97" fmla="*/ 230760 h 1307"/>
              <a:gd name="T98" fmla="*/ 157301 w 1365"/>
              <a:gd name="T99" fmla="*/ 100132 h 1307"/>
              <a:gd name="T100" fmla="*/ 316130 w 1365"/>
              <a:gd name="T101" fmla="*/ 39646 h 1307"/>
              <a:gd name="T102" fmla="*/ 481576 w 1365"/>
              <a:gd name="T103" fmla="*/ 68110 h 1307"/>
              <a:gd name="T104" fmla="*/ 606806 w 1365"/>
              <a:gd name="T105" fmla="*/ 175866 h 1307"/>
              <a:gd name="T106" fmla="*/ 653131 w 1365"/>
              <a:gd name="T107" fmla="*/ 330892 h 1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365"/>
              <a:gd name="T163" fmla="*/ 0 h 1307"/>
              <a:gd name="T164" fmla="*/ 1365 w 1365"/>
              <a:gd name="T165" fmla="*/ 1307 h 1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365" h="1307">
                <a:moveTo>
                  <a:pt x="404" y="365"/>
                </a:moveTo>
                <a:lnTo>
                  <a:pt x="443" y="293"/>
                </a:lnTo>
                <a:lnTo>
                  <a:pt x="495" y="225"/>
                </a:lnTo>
                <a:lnTo>
                  <a:pt x="523" y="197"/>
                </a:lnTo>
                <a:lnTo>
                  <a:pt x="550" y="167"/>
                </a:lnTo>
                <a:lnTo>
                  <a:pt x="489" y="185"/>
                </a:lnTo>
                <a:lnTo>
                  <a:pt x="423" y="216"/>
                </a:lnTo>
                <a:lnTo>
                  <a:pt x="364" y="255"/>
                </a:lnTo>
                <a:lnTo>
                  <a:pt x="312" y="297"/>
                </a:lnTo>
                <a:lnTo>
                  <a:pt x="266" y="343"/>
                </a:lnTo>
                <a:lnTo>
                  <a:pt x="245" y="378"/>
                </a:lnTo>
                <a:lnTo>
                  <a:pt x="400" y="378"/>
                </a:lnTo>
                <a:lnTo>
                  <a:pt x="404" y="365"/>
                </a:lnTo>
                <a:close/>
                <a:moveTo>
                  <a:pt x="608" y="192"/>
                </a:moveTo>
                <a:lnTo>
                  <a:pt x="576" y="231"/>
                </a:lnTo>
                <a:lnTo>
                  <a:pt x="540" y="278"/>
                </a:lnTo>
                <a:lnTo>
                  <a:pt x="502" y="342"/>
                </a:lnTo>
                <a:lnTo>
                  <a:pt x="488" y="378"/>
                </a:lnTo>
                <a:lnTo>
                  <a:pt x="651" y="378"/>
                </a:lnTo>
                <a:lnTo>
                  <a:pt x="651" y="154"/>
                </a:lnTo>
                <a:lnTo>
                  <a:pt x="632" y="167"/>
                </a:lnTo>
                <a:lnTo>
                  <a:pt x="608" y="192"/>
                </a:lnTo>
                <a:close/>
                <a:moveTo>
                  <a:pt x="340" y="597"/>
                </a:moveTo>
                <a:lnTo>
                  <a:pt x="353" y="512"/>
                </a:lnTo>
                <a:lnTo>
                  <a:pt x="374" y="440"/>
                </a:lnTo>
                <a:lnTo>
                  <a:pt x="208" y="440"/>
                </a:lnTo>
                <a:lnTo>
                  <a:pt x="188" y="486"/>
                </a:lnTo>
                <a:lnTo>
                  <a:pt x="165" y="553"/>
                </a:lnTo>
                <a:lnTo>
                  <a:pt x="161" y="604"/>
                </a:lnTo>
                <a:lnTo>
                  <a:pt x="340" y="604"/>
                </a:lnTo>
                <a:lnTo>
                  <a:pt x="340" y="597"/>
                </a:lnTo>
                <a:close/>
                <a:moveTo>
                  <a:pt x="439" y="500"/>
                </a:moveTo>
                <a:lnTo>
                  <a:pt x="427" y="555"/>
                </a:lnTo>
                <a:lnTo>
                  <a:pt x="423" y="604"/>
                </a:lnTo>
                <a:lnTo>
                  <a:pt x="651" y="604"/>
                </a:lnTo>
                <a:lnTo>
                  <a:pt x="651" y="440"/>
                </a:lnTo>
                <a:lnTo>
                  <a:pt x="458" y="440"/>
                </a:lnTo>
                <a:lnTo>
                  <a:pt x="439" y="500"/>
                </a:lnTo>
                <a:close/>
                <a:moveTo>
                  <a:pt x="355" y="814"/>
                </a:moveTo>
                <a:lnTo>
                  <a:pt x="345" y="759"/>
                </a:lnTo>
                <a:lnTo>
                  <a:pt x="340" y="679"/>
                </a:lnTo>
                <a:lnTo>
                  <a:pt x="161" y="679"/>
                </a:lnTo>
                <a:lnTo>
                  <a:pt x="165" y="751"/>
                </a:lnTo>
                <a:lnTo>
                  <a:pt x="185" y="816"/>
                </a:lnTo>
                <a:lnTo>
                  <a:pt x="196" y="844"/>
                </a:lnTo>
                <a:lnTo>
                  <a:pt x="366" y="844"/>
                </a:lnTo>
                <a:lnTo>
                  <a:pt x="355" y="814"/>
                </a:lnTo>
                <a:close/>
                <a:moveTo>
                  <a:pt x="427" y="742"/>
                </a:moveTo>
                <a:lnTo>
                  <a:pt x="443" y="820"/>
                </a:lnTo>
                <a:lnTo>
                  <a:pt x="452" y="844"/>
                </a:lnTo>
                <a:lnTo>
                  <a:pt x="651" y="844"/>
                </a:lnTo>
                <a:lnTo>
                  <a:pt x="651" y="679"/>
                </a:lnTo>
                <a:lnTo>
                  <a:pt x="422" y="679"/>
                </a:lnTo>
                <a:lnTo>
                  <a:pt x="427" y="742"/>
                </a:lnTo>
                <a:close/>
                <a:moveTo>
                  <a:pt x="478" y="1052"/>
                </a:moveTo>
                <a:lnTo>
                  <a:pt x="430" y="987"/>
                </a:lnTo>
                <a:lnTo>
                  <a:pt x="390" y="912"/>
                </a:lnTo>
                <a:lnTo>
                  <a:pt x="233" y="912"/>
                </a:lnTo>
                <a:lnTo>
                  <a:pt x="252" y="940"/>
                </a:lnTo>
                <a:lnTo>
                  <a:pt x="276" y="970"/>
                </a:lnTo>
                <a:lnTo>
                  <a:pt x="304" y="1002"/>
                </a:lnTo>
                <a:lnTo>
                  <a:pt x="345" y="1038"/>
                </a:lnTo>
                <a:lnTo>
                  <a:pt x="381" y="1061"/>
                </a:lnTo>
                <a:lnTo>
                  <a:pt x="413" y="1084"/>
                </a:lnTo>
                <a:lnTo>
                  <a:pt x="485" y="1120"/>
                </a:lnTo>
                <a:lnTo>
                  <a:pt x="557" y="1141"/>
                </a:lnTo>
                <a:lnTo>
                  <a:pt x="528" y="1114"/>
                </a:lnTo>
                <a:lnTo>
                  <a:pt x="478" y="1052"/>
                </a:lnTo>
                <a:close/>
                <a:moveTo>
                  <a:pt x="488" y="948"/>
                </a:moveTo>
                <a:lnTo>
                  <a:pt x="517" y="990"/>
                </a:lnTo>
                <a:lnTo>
                  <a:pt x="550" y="1045"/>
                </a:lnTo>
                <a:lnTo>
                  <a:pt x="599" y="1107"/>
                </a:lnTo>
                <a:lnTo>
                  <a:pt x="651" y="1153"/>
                </a:lnTo>
                <a:lnTo>
                  <a:pt x="651" y="912"/>
                </a:lnTo>
                <a:lnTo>
                  <a:pt x="472" y="912"/>
                </a:lnTo>
                <a:lnTo>
                  <a:pt x="488" y="948"/>
                </a:lnTo>
                <a:close/>
                <a:moveTo>
                  <a:pt x="871" y="225"/>
                </a:moveTo>
                <a:lnTo>
                  <a:pt x="923" y="293"/>
                </a:lnTo>
                <a:lnTo>
                  <a:pt x="962" y="365"/>
                </a:lnTo>
                <a:lnTo>
                  <a:pt x="971" y="378"/>
                </a:lnTo>
                <a:lnTo>
                  <a:pt x="1120" y="378"/>
                </a:lnTo>
                <a:lnTo>
                  <a:pt x="1103" y="353"/>
                </a:lnTo>
                <a:lnTo>
                  <a:pt x="1056" y="300"/>
                </a:lnTo>
                <a:lnTo>
                  <a:pt x="1004" y="255"/>
                </a:lnTo>
                <a:lnTo>
                  <a:pt x="946" y="218"/>
                </a:lnTo>
                <a:lnTo>
                  <a:pt x="878" y="187"/>
                </a:lnTo>
                <a:lnTo>
                  <a:pt x="819" y="167"/>
                </a:lnTo>
                <a:lnTo>
                  <a:pt x="848" y="199"/>
                </a:lnTo>
                <a:lnTo>
                  <a:pt x="871" y="225"/>
                </a:lnTo>
                <a:close/>
                <a:moveTo>
                  <a:pt x="865" y="342"/>
                </a:moveTo>
                <a:lnTo>
                  <a:pt x="829" y="278"/>
                </a:lnTo>
                <a:lnTo>
                  <a:pt x="778" y="216"/>
                </a:lnTo>
                <a:lnTo>
                  <a:pt x="756" y="192"/>
                </a:lnTo>
                <a:lnTo>
                  <a:pt x="734" y="170"/>
                </a:lnTo>
                <a:lnTo>
                  <a:pt x="717" y="154"/>
                </a:lnTo>
                <a:lnTo>
                  <a:pt x="717" y="378"/>
                </a:lnTo>
                <a:lnTo>
                  <a:pt x="880" y="378"/>
                </a:lnTo>
                <a:lnTo>
                  <a:pt x="865" y="342"/>
                </a:lnTo>
                <a:close/>
                <a:moveTo>
                  <a:pt x="1174" y="480"/>
                </a:moveTo>
                <a:lnTo>
                  <a:pt x="1156" y="440"/>
                </a:lnTo>
                <a:lnTo>
                  <a:pt x="997" y="440"/>
                </a:lnTo>
                <a:lnTo>
                  <a:pt x="1018" y="512"/>
                </a:lnTo>
                <a:lnTo>
                  <a:pt x="1028" y="597"/>
                </a:lnTo>
                <a:lnTo>
                  <a:pt x="1028" y="604"/>
                </a:lnTo>
                <a:lnTo>
                  <a:pt x="1204" y="604"/>
                </a:lnTo>
                <a:lnTo>
                  <a:pt x="1195" y="543"/>
                </a:lnTo>
                <a:lnTo>
                  <a:pt x="1174" y="480"/>
                </a:lnTo>
                <a:close/>
                <a:moveTo>
                  <a:pt x="942" y="559"/>
                </a:moveTo>
                <a:lnTo>
                  <a:pt x="930" y="500"/>
                </a:lnTo>
                <a:lnTo>
                  <a:pt x="910" y="440"/>
                </a:lnTo>
                <a:lnTo>
                  <a:pt x="717" y="440"/>
                </a:lnTo>
                <a:lnTo>
                  <a:pt x="717" y="604"/>
                </a:lnTo>
                <a:lnTo>
                  <a:pt x="946" y="604"/>
                </a:lnTo>
                <a:lnTo>
                  <a:pt x="942" y="559"/>
                </a:lnTo>
                <a:close/>
                <a:moveTo>
                  <a:pt x="1024" y="759"/>
                </a:moveTo>
                <a:lnTo>
                  <a:pt x="1015" y="814"/>
                </a:lnTo>
                <a:lnTo>
                  <a:pt x="1004" y="844"/>
                </a:lnTo>
                <a:lnTo>
                  <a:pt x="1164" y="844"/>
                </a:lnTo>
                <a:lnTo>
                  <a:pt x="1177" y="816"/>
                </a:lnTo>
                <a:lnTo>
                  <a:pt x="1195" y="751"/>
                </a:lnTo>
                <a:lnTo>
                  <a:pt x="1204" y="679"/>
                </a:lnTo>
                <a:lnTo>
                  <a:pt x="1028" y="679"/>
                </a:lnTo>
                <a:lnTo>
                  <a:pt x="1024" y="759"/>
                </a:lnTo>
                <a:close/>
                <a:moveTo>
                  <a:pt x="930" y="813"/>
                </a:moveTo>
                <a:lnTo>
                  <a:pt x="945" y="742"/>
                </a:lnTo>
                <a:lnTo>
                  <a:pt x="949" y="679"/>
                </a:lnTo>
                <a:lnTo>
                  <a:pt x="717" y="679"/>
                </a:lnTo>
                <a:lnTo>
                  <a:pt x="717" y="844"/>
                </a:lnTo>
                <a:lnTo>
                  <a:pt x="919" y="844"/>
                </a:lnTo>
                <a:lnTo>
                  <a:pt x="930" y="813"/>
                </a:lnTo>
                <a:close/>
                <a:moveTo>
                  <a:pt x="940" y="987"/>
                </a:moveTo>
                <a:lnTo>
                  <a:pt x="896" y="1055"/>
                </a:lnTo>
                <a:lnTo>
                  <a:pt x="851" y="1108"/>
                </a:lnTo>
                <a:lnTo>
                  <a:pt x="819" y="1140"/>
                </a:lnTo>
                <a:lnTo>
                  <a:pt x="889" y="1117"/>
                </a:lnTo>
                <a:lnTo>
                  <a:pt x="955" y="1081"/>
                </a:lnTo>
                <a:lnTo>
                  <a:pt x="989" y="1058"/>
                </a:lnTo>
                <a:lnTo>
                  <a:pt x="1024" y="1033"/>
                </a:lnTo>
                <a:lnTo>
                  <a:pt x="1067" y="997"/>
                </a:lnTo>
                <a:lnTo>
                  <a:pt x="1086" y="970"/>
                </a:lnTo>
                <a:lnTo>
                  <a:pt x="1112" y="940"/>
                </a:lnTo>
                <a:lnTo>
                  <a:pt x="1129" y="912"/>
                </a:lnTo>
                <a:lnTo>
                  <a:pt x="978" y="912"/>
                </a:lnTo>
                <a:lnTo>
                  <a:pt x="940" y="987"/>
                </a:lnTo>
                <a:close/>
                <a:moveTo>
                  <a:pt x="857" y="987"/>
                </a:moveTo>
                <a:lnTo>
                  <a:pt x="880" y="944"/>
                </a:lnTo>
                <a:lnTo>
                  <a:pt x="893" y="912"/>
                </a:lnTo>
                <a:lnTo>
                  <a:pt x="717" y="912"/>
                </a:lnTo>
                <a:lnTo>
                  <a:pt x="717" y="1153"/>
                </a:lnTo>
                <a:lnTo>
                  <a:pt x="767" y="1107"/>
                </a:lnTo>
                <a:lnTo>
                  <a:pt x="819" y="1045"/>
                </a:lnTo>
                <a:lnTo>
                  <a:pt x="857" y="987"/>
                </a:lnTo>
                <a:close/>
                <a:moveTo>
                  <a:pt x="1360" y="584"/>
                </a:moveTo>
                <a:lnTo>
                  <a:pt x="1348" y="516"/>
                </a:lnTo>
                <a:lnTo>
                  <a:pt x="1328" y="450"/>
                </a:lnTo>
                <a:lnTo>
                  <a:pt x="1303" y="388"/>
                </a:lnTo>
                <a:lnTo>
                  <a:pt x="1272" y="324"/>
                </a:lnTo>
                <a:lnTo>
                  <a:pt x="1233" y="268"/>
                </a:lnTo>
                <a:lnTo>
                  <a:pt x="1190" y="216"/>
                </a:lnTo>
                <a:lnTo>
                  <a:pt x="1138" y="164"/>
                </a:lnTo>
                <a:lnTo>
                  <a:pt x="1080" y="124"/>
                </a:lnTo>
                <a:lnTo>
                  <a:pt x="1021" y="87"/>
                </a:lnTo>
                <a:lnTo>
                  <a:pt x="956" y="56"/>
                </a:lnTo>
                <a:lnTo>
                  <a:pt x="889" y="30"/>
                </a:lnTo>
                <a:lnTo>
                  <a:pt x="822" y="12"/>
                </a:lnTo>
                <a:lnTo>
                  <a:pt x="752" y="3"/>
                </a:lnTo>
                <a:lnTo>
                  <a:pt x="678" y="0"/>
                </a:lnTo>
                <a:lnTo>
                  <a:pt x="608" y="4"/>
                </a:lnTo>
                <a:lnTo>
                  <a:pt x="537" y="15"/>
                </a:lnTo>
                <a:lnTo>
                  <a:pt x="466" y="33"/>
                </a:lnTo>
                <a:lnTo>
                  <a:pt x="402" y="58"/>
                </a:lnTo>
                <a:lnTo>
                  <a:pt x="338" y="88"/>
                </a:lnTo>
                <a:lnTo>
                  <a:pt x="278" y="125"/>
                </a:lnTo>
                <a:lnTo>
                  <a:pt x="224" y="170"/>
                </a:lnTo>
                <a:lnTo>
                  <a:pt x="172" y="218"/>
                </a:lnTo>
                <a:lnTo>
                  <a:pt x="128" y="271"/>
                </a:lnTo>
                <a:lnTo>
                  <a:pt x="89" y="332"/>
                </a:lnTo>
                <a:lnTo>
                  <a:pt x="57" y="391"/>
                </a:lnTo>
                <a:lnTo>
                  <a:pt x="30" y="457"/>
                </a:lnTo>
                <a:lnTo>
                  <a:pt x="14" y="522"/>
                </a:lnTo>
                <a:lnTo>
                  <a:pt x="4" y="591"/>
                </a:lnTo>
                <a:lnTo>
                  <a:pt x="0" y="660"/>
                </a:lnTo>
                <a:lnTo>
                  <a:pt x="5" y="728"/>
                </a:lnTo>
                <a:lnTo>
                  <a:pt x="15" y="794"/>
                </a:lnTo>
                <a:lnTo>
                  <a:pt x="36" y="862"/>
                </a:lnTo>
                <a:lnTo>
                  <a:pt x="62" y="925"/>
                </a:lnTo>
                <a:lnTo>
                  <a:pt x="93" y="984"/>
                </a:lnTo>
                <a:lnTo>
                  <a:pt x="134" y="1043"/>
                </a:lnTo>
                <a:lnTo>
                  <a:pt x="180" y="1095"/>
                </a:lnTo>
                <a:lnTo>
                  <a:pt x="232" y="1143"/>
                </a:lnTo>
                <a:lnTo>
                  <a:pt x="286" y="1186"/>
                </a:lnTo>
                <a:lnTo>
                  <a:pt x="348" y="1222"/>
                </a:lnTo>
                <a:lnTo>
                  <a:pt x="412" y="1254"/>
                </a:lnTo>
                <a:lnTo>
                  <a:pt x="478" y="1280"/>
                </a:lnTo>
                <a:lnTo>
                  <a:pt x="548" y="1294"/>
                </a:lnTo>
                <a:lnTo>
                  <a:pt x="618" y="1306"/>
                </a:lnTo>
                <a:lnTo>
                  <a:pt x="691" y="1307"/>
                </a:lnTo>
                <a:lnTo>
                  <a:pt x="760" y="1303"/>
                </a:lnTo>
                <a:lnTo>
                  <a:pt x="831" y="1291"/>
                </a:lnTo>
                <a:lnTo>
                  <a:pt x="900" y="1272"/>
                </a:lnTo>
                <a:lnTo>
                  <a:pt x="968" y="1246"/>
                </a:lnTo>
                <a:lnTo>
                  <a:pt x="1030" y="1215"/>
                </a:lnTo>
                <a:lnTo>
                  <a:pt x="1090" y="1176"/>
                </a:lnTo>
                <a:lnTo>
                  <a:pt x="1144" y="1136"/>
                </a:lnTo>
                <a:lnTo>
                  <a:pt x="1195" y="1084"/>
                </a:lnTo>
                <a:lnTo>
                  <a:pt x="1240" y="1029"/>
                </a:lnTo>
                <a:lnTo>
                  <a:pt x="1279" y="973"/>
                </a:lnTo>
                <a:lnTo>
                  <a:pt x="1309" y="911"/>
                </a:lnTo>
                <a:lnTo>
                  <a:pt x="1335" y="844"/>
                </a:lnTo>
                <a:lnTo>
                  <a:pt x="1350" y="781"/>
                </a:lnTo>
                <a:lnTo>
                  <a:pt x="1363" y="710"/>
                </a:lnTo>
                <a:lnTo>
                  <a:pt x="1365" y="651"/>
                </a:lnTo>
                <a:lnTo>
                  <a:pt x="1360" y="584"/>
                </a:lnTo>
                <a:close/>
                <a:moveTo>
                  <a:pt x="1283" y="672"/>
                </a:moveTo>
                <a:lnTo>
                  <a:pt x="1279" y="736"/>
                </a:lnTo>
                <a:lnTo>
                  <a:pt x="1266" y="798"/>
                </a:lnTo>
                <a:lnTo>
                  <a:pt x="1246" y="859"/>
                </a:lnTo>
                <a:lnTo>
                  <a:pt x="1217" y="919"/>
                </a:lnTo>
                <a:lnTo>
                  <a:pt x="1182" y="974"/>
                </a:lnTo>
                <a:lnTo>
                  <a:pt x="1142" y="1026"/>
                </a:lnTo>
                <a:lnTo>
                  <a:pt x="1097" y="1074"/>
                </a:lnTo>
                <a:lnTo>
                  <a:pt x="1046" y="1117"/>
                </a:lnTo>
                <a:lnTo>
                  <a:pt x="989" y="1149"/>
                </a:lnTo>
                <a:lnTo>
                  <a:pt x="930" y="1180"/>
                </a:lnTo>
                <a:lnTo>
                  <a:pt x="867" y="1202"/>
                </a:lnTo>
                <a:lnTo>
                  <a:pt x="801" y="1219"/>
                </a:lnTo>
                <a:lnTo>
                  <a:pt x="734" y="1229"/>
                </a:lnTo>
                <a:lnTo>
                  <a:pt x="668" y="1231"/>
                </a:lnTo>
                <a:lnTo>
                  <a:pt x="602" y="1228"/>
                </a:lnTo>
                <a:lnTo>
                  <a:pt x="533" y="1215"/>
                </a:lnTo>
                <a:lnTo>
                  <a:pt x="471" y="1195"/>
                </a:lnTo>
                <a:lnTo>
                  <a:pt x="409" y="1167"/>
                </a:lnTo>
                <a:lnTo>
                  <a:pt x="350" y="1137"/>
                </a:lnTo>
                <a:lnTo>
                  <a:pt x="298" y="1098"/>
                </a:lnTo>
                <a:lnTo>
                  <a:pt x="245" y="1052"/>
                </a:lnTo>
                <a:lnTo>
                  <a:pt x="203" y="1006"/>
                </a:lnTo>
                <a:lnTo>
                  <a:pt x="164" y="951"/>
                </a:lnTo>
                <a:lnTo>
                  <a:pt x="134" y="895"/>
                </a:lnTo>
                <a:lnTo>
                  <a:pt x="108" y="836"/>
                </a:lnTo>
                <a:lnTo>
                  <a:pt x="92" y="771"/>
                </a:lnTo>
                <a:lnTo>
                  <a:pt x="83" y="709"/>
                </a:lnTo>
                <a:lnTo>
                  <a:pt x="77" y="643"/>
                </a:lnTo>
                <a:lnTo>
                  <a:pt x="83" y="579"/>
                </a:lnTo>
                <a:lnTo>
                  <a:pt x="95" y="516"/>
                </a:lnTo>
                <a:lnTo>
                  <a:pt x="115" y="454"/>
                </a:lnTo>
                <a:lnTo>
                  <a:pt x="141" y="395"/>
                </a:lnTo>
                <a:lnTo>
                  <a:pt x="177" y="339"/>
                </a:lnTo>
                <a:lnTo>
                  <a:pt x="213" y="287"/>
                </a:lnTo>
                <a:lnTo>
                  <a:pt x="260" y="241"/>
                </a:lnTo>
                <a:lnTo>
                  <a:pt x="309" y="197"/>
                </a:lnTo>
                <a:lnTo>
                  <a:pt x="366" y="160"/>
                </a:lnTo>
                <a:lnTo>
                  <a:pt x="426" y="130"/>
                </a:lnTo>
                <a:lnTo>
                  <a:pt x="488" y="104"/>
                </a:lnTo>
                <a:lnTo>
                  <a:pt x="551" y="88"/>
                </a:lnTo>
                <a:lnTo>
                  <a:pt x="621" y="78"/>
                </a:lnTo>
                <a:lnTo>
                  <a:pt x="684" y="76"/>
                </a:lnTo>
                <a:lnTo>
                  <a:pt x="753" y="78"/>
                </a:lnTo>
                <a:lnTo>
                  <a:pt x="819" y="88"/>
                </a:lnTo>
                <a:lnTo>
                  <a:pt x="886" y="110"/>
                </a:lnTo>
                <a:lnTo>
                  <a:pt x="946" y="134"/>
                </a:lnTo>
                <a:lnTo>
                  <a:pt x="1004" y="164"/>
                </a:lnTo>
                <a:lnTo>
                  <a:pt x="1059" y="200"/>
                </a:lnTo>
                <a:lnTo>
                  <a:pt x="1112" y="246"/>
                </a:lnTo>
                <a:lnTo>
                  <a:pt x="1155" y="294"/>
                </a:lnTo>
                <a:lnTo>
                  <a:pt x="1192" y="346"/>
                </a:lnTo>
                <a:lnTo>
                  <a:pt x="1226" y="405"/>
                </a:lnTo>
                <a:lnTo>
                  <a:pt x="1252" y="463"/>
                </a:lnTo>
                <a:lnTo>
                  <a:pt x="1270" y="526"/>
                </a:lnTo>
                <a:lnTo>
                  <a:pt x="1282" y="591"/>
                </a:lnTo>
                <a:lnTo>
                  <a:pt x="1283" y="651"/>
                </a:lnTo>
                <a:lnTo>
                  <a:pt x="1283" y="67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200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直接连接符 30"/>
          <p:cNvCxnSpPr/>
          <p:nvPr/>
        </p:nvCxnSpPr>
        <p:spPr bwMode="auto">
          <a:xfrm flipV="1">
            <a:off x="2939492" y="3021498"/>
            <a:ext cx="4720" cy="251739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Rectangle 69"/>
          <p:cNvSpPr>
            <a:spLocks noChangeArrowheads="1"/>
          </p:cNvSpPr>
          <p:nvPr/>
        </p:nvSpPr>
        <p:spPr bwMode="auto">
          <a:xfrm>
            <a:off x="6496700" y="2865389"/>
            <a:ext cx="2179756" cy="1719643"/>
          </a:xfrm>
          <a:prstGeom prst="rect">
            <a:avLst/>
          </a:prstGeom>
          <a:solidFill>
            <a:srgbClr val="FFFFFF">
              <a:lumMod val="85000"/>
            </a:srgbClr>
          </a:solidFill>
          <a:ln w="19050" algn="ctr">
            <a:noFill/>
            <a:prstDash val="lg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466" tIns="41733" rIns="83466" bIns="41733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sp>
        <p:nvSpPr>
          <p:cNvPr id="7" name="Rectangle 69"/>
          <p:cNvSpPr>
            <a:spLocks noChangeArrowheads="1"/>
          </p:cNvSpPr>
          <p:nvPr/>
        </p:nvSpPr>
        <p:spPr bwMode="auto">
          <a:xfrm>
            <a:off x="323528" y="3237522"/>
            <a:ext cx="2899081" cy="1314327"/>
          </a:xfrm>
          <a:prstGeom prst="rect">
            <a:avLst/>
          </a:prstGeom>
          <a:solidFill>
            <a:srgbClr val="FFFFFF">
              <a:lumMod val="85000"/>
            </a:srgbClr>
          </a:solidFill>
          <a:ln w="19050" algn="ctr">
            <a:noFill/>
            <a:prstDash val="lg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466" tIns="41733" rIns="83466" bIns="41733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sp>
        <p:nvSpPr>
          <p:cNvPr id="11" name="Rectangle 69"/>
          <p:cNvSpPr>
            <a:spLocks noChangeArrowheads="1"/>
          </p:cNvSpPr>
          <p:nvPr/>
        </p:nvSpPr>
        <p:spPr bwMode="auto">
          <a:xfrm>
            <a:off x="347156" y="1275606"/>
            <a:ext cx="2111570" cy="1165298"/>
          </a:xfrm>
          <a:prstGeom prst="rect">
            <a:avLst/>
          </a:prstGeom>
          <a:solidFill>
            <a:srgbClr val="FFFFFF">
              <a:lumMod val="85000"/>
            </a:srgbClr>
          </a:solidFill>
          <a:ln w="19050" algn="ctr">
            <a:noFill/>
            <a:prstDash val="lg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466" tIns="41733" rIns="83466" bIns="41733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sp>
        <p:nvSpPr>
          <p:cNvPr id="12" name="Rectangle 69"/>
          <p:cNvSpPr>
            <a:spLocks noChangeArrowheads="1"/>
          </p:cNvSpPr>
          <p:nvPr/>
        </p:nvSpPr>
        <p:spPr bwMode="auto">
          <a:xfrm>
            <a:off x="2939443" y="821628"/>
            <a:ext cx="5825922" cy="1316735"/>
          </a:xfrm>
          <a:prstGeom prst="rect">
            <a:avLst/>
          </a:prstGeom>
          <a:solidFill>
            <a:srgbClr val="FFFFFF">
              <a:lumMod val="85000"/>
            </a:srgbClr>
          </a:solidFill>
          <a:ln w="19050" algn="ctr">
            <a:noFill/>
            <a:prstDash val="lg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466" tIns="41733" rIns="83466" bIns="41733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grpSp>
        <p:nvGrpSpPr>
          <p:cNvPr id="2" name="组合 2556"/>
          <p:cNvGrpSpPr/>
          <p:nvPr/>
        </p:nvGrpSpPr>
        <p:grpSpPr>
          <a:xfrm>
            <a:off x="2306741" y="2661458"/>
            <a:ext cx="1231746" cy="432047"/>
            <a:chOff x="2278774" y="2213103"/>
            <a:chExt cx="2989560" cy="1210348"/>
          </a:xfrm>
        </p:grpSpPr>
        <p:grpSp>
          <p:nvGrpSpPr>
            <p:cNvPr id="3" name="组合 2386"/>
            <p:cNvGrpSpPr/>
            <p:nvPr/>
          </p:nvGrpSpPr>
          <p:grpSpPr>
            <a:xfrm>
              <a:off x="2388358" y="2213103"/>
              <a:ext cx="2621678" cy="1115472"/>
              <a:chOff x="3617223" y="2276753"/>
              <a:chExt cx="1448247" cy="926365"/>
            </a:xfrm>
          </p:grpSpPr>
          <p:sp>
            <p:nvSpPr>
              <p:cNvPr id="267" name="Freeform 27"/>
              <p:cNvSpPr>
                <a:spLocks noEditPoints="1"/>
              </p:cNvSpPr>
              <p:nvPr/>
            </p:nvSpPr>
            <p:spPr bwMode="auto">
              <a:xfrm>
                <a:off x="3996674" y="2276753"/>
                <a:ext cx="1068796" cy="920415"/>
              </a:xfrm>
              <a:custGeom>
                <a:avLst/>
                <a:gdLst/>
                <a:ahLst/>
                <a:cxnLst>
                  <a:cxn ang="0">
                    <a:pos x="8324" y="38"/>
                  </a:cxn>
                  <a:cxn ang="0">
                    <a:pos x="9087" y="203"/>
                  </a:cxn>
                  <a:cxn ang="0">
                    <a:pos x="9799" y="487"/>
                  </a:cxn>
                  <a:cxn ang="0">
                    <a:pos x="10451" y="880"/>
                  </a:cxn>
                  <a:cxn ang="0">
                    <a:pos x="11031" y="1370"/>
                  </a:cxn>
                  <a:cxn ang="0">
                    <a:pos x="11529" y="1947"/>
                  </a:cxn>
                  <a:cxn ang="0">
                    <a:pos x="11934" y="2598"/>
                  </a:cxn>
                  <a:cxn ang="0">
                    <a:pos x="12234" y="3314"/>
                  </a:cxn>
                  <a:cxn ang="0">
                    <a:pos x="12378" y="3497"/>
                  </a:cxn>
                  <a:cxn ang="0">
                    <a:pos x="12496" y="3494"/>
                  </a:cxn>
                  <a:cxn ang="0">
                    <a:pos x="13119" y="3540"/>
                  </a:cxn>
                  <a:cxn ang="0">
                    <a:pos x="13870" y="3738"/>
                  </a:cxn>
                  <a:cxn ang="0">
                    <a:pos x="14554" y="4074"/>
                  </a:cxn>
                  <a:cxn ang="0">
                    <a:pos x="15156" y="4535"/>
                  </a:cxn>
                  <a:cxn ang="0">
                    <a:pos x="15663" y="5102"/>
                  </a:cxn>
                  <a:cxn ang="0">
                    <a:pos x="16056" y="5761"/>
                  </a:cxn>
                  <a:cxn ang="0">
                    <a:pos x="16320" y="6494"/>
                  </a:cxn>
                  <a:cxn ang="0">
                    <a:pos x="16438" y="7286"/>
                  </a:cxn>
                  <a:cxn ang="0">
                    <a:pos x="16401" y="8075"/>
                  </a:cxn>
                  <a:cxn ang="0">
                    <a:pos x="16222" y="8813"/>
                  </a:cxn>
                  <a:cxn ang="0">
                    <a:pos x="15915" y="9491"/>
                  </a:cxn>
                  <a:cxn ang="0">
                    <a:pos x="15494" y="10093"/>
                  </a:cxn>
                  <a:cxn ang="0">
                    <a:pos x="14974" y="10606"/>
                  </a:cxn>
                  <a:cxn ang="0">
                    <a:pos x="14369" y="11014"/>
                  </a:cxn>
                  <a:cxn ang="0">
                    <a:pos x="13693" y="11305"/>
                  </a:cxn>
                  <a:cxn ang="0">
                    <a:pos x="12960" y="11462"/>
                  </a:cxn>
                  <a:cxn ang="0">
                    <a:pos x="3341" y="11487"/>
                  </a:cxn>
                  <a:cxn ang="0">
                    <a:pos x="2760" y="11436"/>
                  </a:cxn>
                  <a:cxn ang="0">
                    <a:pos x="2156" y="11265"/>
                  </a:cxn>
                  <a:cxn ang="0">
                    <a:pos x="1603" y="10987"/>
                  </a:cxn>
                  <a:cxn ang="0">
                    <a:pos x="1113" y="10615"/>
                  </a:cxn>
                  <a:cxn ang="0">
                    <a:pos x="697" y="10159"/>
                  </a:cxn>
                  <a:cxn ang="0">
                    <a:pos x="368" y="9631"/>
                  </a:cxn>
                  <a:cxn ang="0">
                    <a:pos x="137" y="9044"/>
                  </a:cxn>
                  <a:cxn ang="0">
                    <a:pos x="15" y="8410"/>
                  </a:cxn>
                  <a:cxn ang="0">
                    <a:pos x="15" y="7754"/>
                  </a:cxn>
                  <a:cxn ang="0">
                    <a:pos x="132" y="7132"/>
                  </a:cxn>
                  <a:cxn ang="0">
                    <a:pos x="354" y="6556"/>
                  </a:cxn>
                  <a:cxn ang="0">
                    <a:pos x="671" y="6034"/>
                  </a:cxn>
                  <a:cxn ang="0">
                    <a:pos x="1072" y="5582"/>
                  </a:cxn>
                  <a:cxn ang="0">
                    <a:pos x="1546" y="5208"/>
                  </a:cxn>
                  <a:cxn ang="0">
                    <a:pos x="2082" y="4924"/>
                  </a:cxn>
                  <a:cxn ang="0">
                    <a:pos x="2668" y="4741"/>
                  </a:cxn>
                  <a:cxn ang="0">
                    <a:pos x="3015" y="4212"/>
                  </a:cxn>
                  <a:cxn ang="0">
                    <a:pos x="3225" y="3295"/>
                  </a:cxn>
                  <a:cxn ang="0">
                    <a:pos x="3597" y="2453"/>
                  </a:cxn>
                  <a:cxn ang="0">
                    <a:pos x="4113" y="1704"/>
                  </a:cxn>
                  <a:cxn ang="0">
                    <a:pos x="4754" y="1069"/>
                  </a:cxn>
                  <a:cxn ang="0">
                    <a:pos x="5503" y="565"/>
                  </a:cxn>
                  <a:cxn ang="0">
                    <a:pos x="6342" y="211"/>
                  </a:cxn>
                  <a:cxn ang="0">
                    <a:pos x="7250" y="25"/>
                  </a:cxn>
                  <a:cxn ang="0">
                    <a:pos x="9148" y="9515"/>
                  </a:cxn>
                  <a:cxn ang="0">
                    <a:pos x="9106" y="9484"/>
                  </a:cxn>
                  <a:cxn ang="0">
                    <a:pos x="9023" y="9509"/>
                  </a:cxn>
                  <a:cxn ang="0">
                    <a:pos x="9156" y="9528"/>
                  </a:cxn>
                  <a:cxn ang="0">
                    <a:pos x="6408" y="9503"/>
                  </a:cxn>
                  <a:cxn ang="0">
                    <a:pos x="6368" y="9519"/>
                  </a:cxn>
                </a:cxnLst>
                <a:rect l="0" t="0" r="r" b="b"/>
                <a:pathLst>
                  <a:path w="16443" h="11487">
                    <a:moveTo>
                      <a:pt x="7726" y="0"/>
                    </a:moveTo>
                    <a:lnTo>
                      <a:pt x="7928" y="4"/>
                    </a:lnTo>
                    <a:lnTo>
                      <a:pt x="8127" y="17"/>
                    </a:lnTo>
                    <a:lnTo>
                      <a:pt x="8324" y="38"/>
                    </a:lnTo>
                    <a:lnTo>
                      <a:pt x="8519" y="68"/>
                    </a:lnTo>
                    <a:lnTo>
                      <a:pt x="8711" y="105"/>
                    </a:lnTo>
                    <a:lnTo>
                      <a:pt x="8900" y="150"/>
                    </a:lnTo>
                    <a:lnTo>
                      <a:pt x="9087" y="203"/>
                    </a:lnTo>
                    <a:lnTo>
                      <a:pt x="9270" y="263"/>
                    </a:lnTo>
                    <a:lnTo>
                      <a:pt x="9450" y="331"/>
                    </a:lnTo>
                    <a:lnTo>
                      <a:pt x="9626" y="406"/>
                    </a:lnTo>
                    <a:lnTo>
                      <a:pt x="9799" y="487"/>
                    </a:lnTo>
                    <a:lnTo>
                      <a:pt x="9969" y="576"/>
                    </a:lnTo>
                    <a:lnTo>
                      <a:pt x="10133" y="670"/>
                    </a:lnTo>
                    <a:lnTo>
                      <a:pt x="10294" y="772"/>
                    </a:lnTo>
                    <a:lnTo>
                      <a:pt x="10451" y="880"/>
                    </a:lnTo>
                    <a:lnTo>
                      <a:pt x="10604" y="994"/>
                    </a:lnTo>
                    <a:lnTo>
                      <a:pt x="10751" y="1113"/>
                    </a:lnTo>
                    <a:lnTo>
                      <a:pt x="10893" y="1239"/>
                    </a:lnTo>
                    <a:lnTo>
                      <a:pt x="11031" y="1370"/>
                    </a:lnTo>
                    <a:lnTo>
                      <a:pt x="11164" y="1507"/>
                    </a:lnTo>
                    <a:lnTo>
                      <a:pt x="11291" y="1648"/>
                    </a:lnTo>
                    <a:lnTo>
                      <a:pt x="11412" y="1795"/>
                    </a:lnTo>
                    <a:lnTo>
                      <a:pt x="11529" y="1947"/>
                    </a:lnTo>
                    <a:lnTo>
                      <a:pt x="11640" y="2102"/>
                    </a:lnTo>
                    <a:lnTo>
                      <a:pt x="11743" y="2264"/>
                    </a:lnTo>
                    <a:lnTo>
                      <a:pt x="11842" y="2429"/>
                    </a:lnTo>
                    <a:lnTo>
                      <a:pt x="11934" y="2598"/>
                    </a:lnTo>
                    <a:lnTo>
                      <a:pt x="12019" y="2772"/>
                    </a:lnTo>
                    <a:lnTo>
                      <a:pt x="12097" y="2948"/>
                    </a:lnTo>
                    <a:lnTo>
                      <a:pt x="12169" y="3129"/>
                    </a:lnTo>
                    <a:lnTo>
                      <a:pt x="12234" y="3314"/>
                    </a:lnTo>
                    <a:lnTo>
                      <a:pt x="12291" y="3501"/>
                    </a:lnTo>
                    <a:lnTo>
                      <a:pt x="12320" y="3499"/>
                    </a:lnTo>
                    <a:lnTo>
                      <a:pt x="12349" y="3498"/>
                    </a:lnTo>
                    <a:lnTo>
                      <a:pt x="12378" y="3497"/>
                    </a:lnTo>
                    <a:lnTo>
                      <a:pt x="12407" y="3496"/>
                    </a:lnTo>
                    <a:lnTo>
                      <a:pt x="12437" y="3495"/>
                    </a:lnTo>
                    <a:lnTo>
                      <a:pt x="12466" y="3494"/>
                    </a:lnTo>
                    <a:lnTo>
                      <a:pt x="12496" y="3494"/>
                    </a:lnTo>
                    <a:lnTo>
                      <a:pt x="12524" y="3494"/>
                    </a:lnTo>
                    <a:lnTo>
                      <a:pt x="12726" y="3499"/>
                    </a:lnTo>
                    <a:lnTo>
                      <a:pt x="12924" y="3515"/>
                    </a:lnTo>
                    <a:lnTo>
                      <a:pt x="13119" y="3540"/>
                    </a:lnTo>
                    <a:lnTo>
                      <a:pt x="13313" y="3575"/>
                    </a:lnTo>
                    <a:lnTo>
                      <a:pt x="13502" y="3621"/>
                    </a:lnTo>
                    <a:lnTo>
                      <a:pt x="13688" y="3674"/>
                    </a:lnTo>
                    <a:lnTo>
                      <a:pt x="13870" y="3738"/>
                    </a:lnTo>
                    <a:lnTo>
                      <a:pt x="14047" y="3809"/>
                    </a:lnTo>
                    <a:lnTo>
                      <a:pt x="14221" y="3889"/>
                    </a:lnTo>
                    <a:lnTo>
                      <a:pt x="14390" y="3977"/>
                    </a:lnTo>
                    <a:lnTo>
                      <a:pt x="14554" y="4074"/>
                    </a:lnTo>
                    <a:lnTo>
                      <a:pt x="14712" y="4179"/>
                    </a:lnTo>
                    <a:lnTo>
                      <a:pt x="14867" y="4290"/>
                    </a:lnTo>
                    <a:lnTo>
                      <a:pt x="15015" y="4409"/>
                    </a:lnTo>
                    <a:lnTo>
                      <a:pt x="15156" y="4535"/>
                    </a:lnTo>
                    <a:lnTo>
                      <a:pt x="15293" y="4667"/>
                    </a:lnTo>
                    <a:lnTo>
                      <a:pt x="15423" y="4806"/>
                    </a:lnTo>
                    <a:lnTo>
                      <a:pt x="15546" y="4951"/>
                    </a:lnTo>
                    <a:lnTo>
                      <a:pt x="15663" y="5102"/>
                    </a:lnTo>
                    <a:lnTo>
                      <a:pt x="15772" y="5259"/>
                    </a:lnTo>
                    <a:lnTo>
                      <a:pt x="15875" y="5421"/>
                    </a:lnTo>
                    <a:lnTo>
                      <a:pt x="15969" y="5588"/>
                    </a:lnTo>
                    <a:lnTo>
                      <a:pt x="16056" y="5761"/>
                    </a:lnTo>
                    <a:lnTo>
                      <a:pt x="16134" y="5938"/>
                    </a:lnTo>
                    <a:lnTo>
                      <a:pt x="16205" y="6119"/>
                    </a:lnTo>
                    <a:lnTo>
                      <a:pt x="16266" y="6305"/>
                    </a:lnTo>
                    <a:lnTo>
                      <a:pt x="16320" y="6494"/>
                    </a:lnTo>
                    <a:lnTo>
                      <a:pt x="16363" y="6687"/>
                    </a:lnTo>
                    <a:lnTo>
                      <a:pt x="16398" y="6884"/>
                    </a:lnTo>
                    <a:lnTo>
                      <a:pt x="16422" y="7083"/>
                    </a:lnTo>
                    <a:lnTo>
                      <a:pt x="16438" y="7286"/>
                    </a:lnTo>
                    <a:lnTo>
                      <a:pt x="16443" y="7490"/>
                    </a:lnTo>
                    <a:lnTo>
                      <a:pt x="16438" y="7688"/>
                    </a:lnTo>
                    <a:lnTo>
                      <a:pt x="16425" y="7883"/>
                    </a:lnTo>
                    <a:lnTo>
                      <a:pt x="16401" y="8075"/>
                    </a:lnTo>
                    <a:lnTo>
                      <a:pt x="16369" y="8264"/>
                    </a:lnTo>
                    <a:lnTo>
                      <a:pt x="16328" y="8451"/>
                    </a:lnTo>
                    <a:lnTo>
                      <a:pt x="16280" y="8634"/>
                    </a:lnTo>
                    <a:lnTo>
                      <a:pt x="16222" y="8813"/>
                    </a:lnTo>
                    <a:lnTo>
                      <a:pt x="16156" y="8989"/>
                    </a:lnTo>
                    <a:lnTo>
                      <a:pt x="16083" y="9161"/>
                    </a:lnTo>
                    <a:lnTo>
                      <a:pt x="16003" y="9328"/>
                    </a:lnTo>
                    <a:lnTo>
                      <a:pt x="15915" y="9491"/>
                    </a:lnTo>
                    <a:lnTo>
                      <a:pt x="15820" y="9649"/>
                    </a:lnTo>
                    <a:lnTo>
                      <a:pt x="15717" y="9802"/>
                    </a:lnTo>
                    <a:lnTo>
                      <a:pt x="15610" y="9950"/>
                    </a:lnTo>
                    <a:lnTo>
                      <a:pt x="15494" y="10093"/>
                    </a:lnTo>
                    <a:lnTo>
                      <a:pt x="15373" y="10230"/>
                    </a:lnTo>
                    <a:lnTo>
                      <a:pt x="15246" y="10361"/>
                    </a:lnTo>
                    <a:lnTo>
                      <a:pt x="15113" y="10487"/>
                    </a:lnTo>
                    <a:lnTo>
                      <a:pt x="14974" y="10606"/>
                    </a:lnTo>
                    <a:lnTo>
                      <a:pt x="14831" y="10718"/>
                    </a:lnTo>
                    <a:lnTo>
                      <a:pt x="14682" y="10824"/>
                    </a:lnTo>
                    <a:lnTo>
                      <a:pt x="14527" y="10923"/>
                    </a:lnTo>
                    <a:lnTo>
                      <a:pt x="14369" y="11014"/>
                    </a:lnTo>
                    <a:lnTo>
                      <a:pt x="14206" y="11098"/>
                    </a:lnTo>
                    <a:lnTo>
                      <a:pt x="14039" y="11176"/>
                    </a:lnTo>
                    <a:lnTo>
                      <a:pt x="13868" y="11244"/>
                    </a:lnTo>
                    <a:lnTo>
                      <a:pt x="13693" y="11305"/>
                    </a:lnTo>
                    <a:lnTo>
                      <a:pt x="13514" y="11357"/>
                    </a:lnTo>
                    <a:lnTo>
                      <a:pt x="13332" y="11401"/>
                    </a:lnTo>
                    <a:lnTo>
                      <a:pt x="13147" y="11436"/>
                    </a:lnTo>
                    <a:lnTo>
                      <a:pt x="12960" y="11462"/>
                    </a:lnTo>
                    <a:lnTo>
                      <a:pt x="12770" y="11479"/>
                    </a:lnTo>
                    <a:lnTo>
                      <a:pt x="12770" y="11487"/>
                    </a:lnTo>
                    <a:lnTo>
                      <a:pt x="12524" y="11487"/>
                    </a:lnTo>
                    <a:lnTo>
                      <a:pt x="3341" y="11487"/>
                    </a:lnTo>
                    <a:lnTo>
                      <a:pt x="3079" y="11487"/>
                    </a:lnTo>
                    <a:lnTo>
                      <a:pt x="3079" y="11477"/>
                    </a:lnTo>
                    <a:lnTo>
                      <a:pt x="2919" y="11459"/>
                    </a:lnTo>
                    <a:lnTo>
                      <a:pt x="2760" y="11436"/>
                    </a:lnTo>
                    <a:lnTo>
                      <a:pt x="2605" y="11404"/>
                    </a:lnTo>
                    <a:lnTo>
                      <a:pt x="2453" y="11365"/>
                    </a:lnTo>
                    <a:lnTo>
                      <a:pt x="2303" y="11318"/>
                    </a:lnTo>
                    <a:lnTo>
                      <a:pt x="2156" y="11265"/>
                    </a:lnTo>
                    <a:lnTo>
                      <a:pt x="2013" y="11205"/>
                    </a:lnTo>
                    <a:lnTo>
                      <a:pt x="1872" y="11139"/>
                    </a:lnTo>
                    <a:lnTo>
                      <a:pt x="1736" y="11067"/>
                    </a:lnTo>
                    <a:lnTo>
                      <a:pt x="1603" y="10987"/>
                    </a:lnTo>
                    <a:lnTo>
                      <a:pt x="1474" y="10903"/>
                    </a:lnTo>
                    <a:lnTo>
                      <a:pt x="1349" y="10813"/>
                    </a:lnTo>
                    <a:lnTo>
                      <a:pt x="1229" y="10716"/>
                    </a:lnTo>
                    <a:lnTo>
                      <a:pt x="1113" y="10615"/>
                    </a:lnTo>
                    <a:lnTo>
                      <a:pt x="1001" y="10508"/>
                    </a:lnTo>
                    <a:lnTo>
                      <a:pt x="895" y="10396"/>
                    </a:lnTo>
                    <a:lnTo>
                      <a:pt x="793" y="10280"/>
                    </a:lnTo>
                    <a:lnTo>
                      <a:pt x="697" y="10159"/>
                    </a:lnTo>
                    <a:lnTo>
                      <a:pt x="606" y="10033"/>
                    </a:lnTo>
                    <a:lnTo>
                      <a:pt x="521" y="9903"/>
                    </a:lnTo>
                    <a:lnTo>
                      <a:pt x="441" y="9769"/>
                    </a:lnTo>
                    <a:lnTo>
                      <a:pt x="368" y="9631"/>
                    </a:lnTo>
                    <a:lnTo>
                      <a:pt x="300" y="9490"/>
                    </a:lnTo>
                    <a:lnTo>
                      <a:pt x="239" y="9345"/>
                    </a:lnTo>
                    <a:lnTo>
                      <a:pt x="185" y="9197"/>
                    </a:lnTo>
                    <a:lnTo>
                      <a:pt x="137" y="9044"/>
                    </a:lnTo>
                    <a:lnTo>
                      <a:pt x="96" y="8890"/>
                    </a:lnTo>
                    <a:lnTo>
                      <a:pt x="62" y="8733"/>
                    </a:lnTo>
                    <a:lnTo>
                      <a:pt x="35" y="8573"/>
                    </a:lnTo>
                    <a:lnTo>
                      <a:pt x="15" y="8410"/>
                    </a:lnTo>
                    <a:lnTo>
                      <a:pt x="4" y="8246"/>
                    </a:lnTo>
                    <a:lnTo>
                      <a:pt x="0" y="8079"/>
                    </a:lnTo>
                    <a:lnTo>
                      <a:pt x="4" y="7916"/>
                    </a:lnTo>
                    <a:lnTo>
                      <a:pt x="15" y="7754"/>
                    </a:lnTo>
                    <a:lnTo>
                      <a:pt x="34" y="7596"/>
                    </a:lnTo>
                    <a:lnTo>
                      <a:pt x="60" y="7439"/>
                    </a:lnTo>
                    <a:lnTo>
                      <a:pt x="92" y="7284"/>
                    </a:lnTo>
                    <a:lnTo>
                      <a:pt x="132" y="7132"/>
                    </a:lnTo>
                    <a:lnTo>
                      <a:pt x="178" y="6983"/>
                    </a:lnTo>
                    <a:lnTo>
                      <a:pt x="230" y="6837"/>
                    </a:lnTo>
                    <a:lnTo>
                      <a:pt x="289" y="6694"/>
                    </a:lnTo>
                    <a:lnTo>
                      <a:pt x="354" y="6556"/>
                    </a:lnTo>
                    <a:lnTo>
                      <a:pt x="424" y="6420"/>
                    </a:lnTo>
                    <a:lnTo>
                      <a:pt x="502" y="6287"/>
                    </a:lnTo>
                    <a:lnTo>
                      <a:pt x="584" y="6159"/>
                    </a:lnTo>
                    <a:lnTo>
                      <a:pt x="671" y="6034"/>
                    </a:lnTo>
                    <a:lnTo>
                      <a:pt x="765" y="5914"/>
                    </a:lnTo>
                    <a:lnTo>
                      <a:pt x="862" y="5799"/>
                    </a:lnTo>
                    <a:lnTo>
                      <a:pt x="965" y="5688"/>
                    </a:lnTo>
                    <a:lnTo>
                      <a:pt x="1072" y="5582"/>
                    </a:lnTo>
                    <a:lnTo>
                      <a:pt x="1184" y="5480"/>
                    </a:lnTo>
                    <a:lnTo>
                      <a:pt x="1301" y="5384"/>
                    </a:lnTo>
                    <a:lnTo>
                      <a:pt x="1421" y="5293"/>
                    </a:lnTo>
                    <a:lnTo>
                      <a:pt x="1546" y="5208"/>
                    </a:lnTo>
                    <a:lnTo>
                      <a:pt x="1675" y="5128"/>
                    </a:lnTo>
                    <a:lnTo>
                      <a:pt x="1807" y="5054"/>
                    </a:lnTo>
                    <a:lnTo>
                      <a:pt x="1942" y="4986"/>
                    </a:lnTo>
                    <a:lnTo>
                      <a:pt x="2082" y="4924"/>
                    </a:lnTo>
                    <a:lnTo>
                      <a:pt x="2224" y="4869"/>
                    </a:lnTo>
                    <a:lnTo>
                      <a:pt x="2369" y="4819"/>
                    </a:lnTo>
                    <a:lnTo>
                      <a:pt x="2517" y="4777"/>
                    </a:lnTo>
                    <a:lnTo>
                      <a:pt x="2668" y="4741"/>
                    </a:lnTo>
                    <a:lnTo>
                      <a:pt x="2821" y="4713"/>
                    </a:lnTo>
                    <a:lnTo>
                      <a:pt x="2976" y="4692"/>
                    </a:lnTo>
                    <a:lnTo>
                      <a:pt x="2990" y="4450"/>
                    </a:lnTo>
                    <a:lnTo>
                      <a:pt x="3015" y="4212"/>
                    </a:lnTo>
                    <a:lnTo>
                      <a:pt x="3051" y="3976"/>
                    </a:lnTo>
                    <a:lnTo>
                      <a:pt x="3098" y="3744"/>
                    </a:lnTo>
                    <a:lnTo>
                      <a:pt x="3156" y="3517"/>
                    </a:lnTo>
                    <a:lnTo>
                      <a:pt x="3225" y="3295"/>
                    </a:lnTo>
                    <a:lnTo>
                      <a:pt x="3303" y="3076"/>
                    </a:lnTo>
                    <a:lnTo>
                      <a:pt x="3391" y="2863"/>
                    </a:lnTo>
                    <a:lnTo>
                      <a:pt x="3489" y="2655"/>
                    </a:lnTo>
                    <a:lnTo>
                      <a:pt x="3597" y="2453"/>
                    </a:lnTo>
                    <a:lnTo>
                      <a:pt x="3713" y="2256"/>
                    </a:lnTo>
                    <a:lnTo>
                      <a:pt x="3837" y="2065"/>
                    </a:lnTo>
                    <a:lnTo>
                      <a:pt x="3971" y="1882"/>
                    </a:lnTo>
                    <a:lnTo>
                      <a:pt x="4113" y="1704"/>
                    </a:lnTo>
                    <a:lnTo>
                      <a:pt x="4262" y="1535"/>
                    </a:lnTo>
                    <a:lnTo>
                      <a:pt x="4419" y="1371"/>
                    </a:lnTo>
                    <a:lnTo>
                      <a:pt x="4583" y="1216"/>
                    </a:lnTo>
                    <a:lnTo>
                      <a:pt x="4754" y="1069"/>
                    </a:lnTo>
                    <a:lnTo>
                      <a:pt x="4932" y="930"/>
                    </a:lnTo>
                    <a:lnTo>
                      <a:pt x="5117" y="800"/>
                    </a:lnTo>
                    <a:lnTo>
                      <a:pt x="5307" y="677"/>
                    </a:lnTo>
                    <a:lnTo>
                      <a:pt x="5503" y="565"/>
                    </a:lnTo>
                    <a:lnTo>
                      <a:pt x="5705" y="462"/>
                    </a:lnTo>
                    <a:lnTo>
                      <a:pt x="5912" y="368"/>
                    </a:lnTo>
                    <a:lnTo>
                      <a:pt x="6124" y="284"/>
                    </a:lnTo>
                    <a:lnTo>
                      <a:pt x="6342" y="211"/>
                    </a:lnTo>
                    <a:lnTo>
                      <a:pt x="6563" y="147"/>
                    </a:lnTo>
                    <a:lnTo>
                      <a:pt x="6788" y="95"/>
                    </a:lnTo>
                    <a:lnTo>
                      <a:pt x="7018" y="54"/>
                    </a:lnTo>
                    <a:lnTo>
                      <a:pt x="7250" y="25"/>
                    </a:lnTo>
                    <a:lnTo>
                      <a:pt x="7487" y="6"/>
                    </a:lnTo>
                    <a:lnTo>
                      <a:pt x="7726" y="0"/>
                    </a:lnTo>
                    <a:close/>
                    <a:moveTo>
                      <a:pt x="9156" y="9528"/>
                    </a:moveTo>
                    <a:lnTo>
                      <a:pt x="9148" y="9515"/>
                    </a:lnTo>
                    <a:lnTo>
                      <a:pt x="9141" y="9503"/>
                    </a:lnTo>
                    <a:lnTo>
                      <a:pt x="9134" y="9491"/>
                    </a:lnTo>
                    <a:lnTo>
                      <a:pt x="9127" y="9478"/>
                    </a:lnTo>
                    <a:lnTo>
                      <a:pt x="9106" y="9484"/>
                    </a:lnTo>
                    <a:lnTo>
                      <a:pt x="9086" y="9491"/>
                    </a:lnTo>
                    <a:lnTo>
                      <a:pt x="9065" y="9498"/>
                    </a:lnTo>
                    <a:lnTo>
                      <a:pt x="9045" y="9503"/>
                    </a:lnTo>
                    <a:lnTo>
                      <a:pt x="9023" y="9509"/>
                    </a:lnTo>
                    <a:lnTo>
                      <a:pt x="9003" y="9515"/>
                    </a:lnTo>
                    <a:lnTo>
                      <a:pt x="8982" y="9521"/>
                    </a:lnTo>
                    <a:lnTo>
                      <a:pt x="8961" y="9528"/>
                    </a:lnTo>
                    <a:lnTo>
                      <a:pt x="9156" y="9528"/>
                    </a:lnTo>
                    <a:close/>
                    <a:moveTo>
                      <a:pt x="6492" y="9528"/>
                    </a:moveTo>
                    <a:lnTo>
                      <a:pt x="6464" y="9519"/>
                    </a:lnTo>
                    <a:lnTo>
                      <a:pt x="6435" y="9511"/>
                    </a:lnTo>
                    <a:lnTo>
                      <a:pt x="6408" y="9503"/>
                    </a:lnTo>
                    <a:lnTo>
                      <a:pt x="6379" y="9495"/>
                    </a:lnTo>
                    <a:lnTo>
                      <a:pt x="6376" y="9503"/>
                    </a:lnTo>
                    <a:lnTo>
                      <a:pt x="6372" y="9511"/>
                    </a:lnTo>
                    <a:lnTo>
                      <a:pt x="6368" y="9519"/>
                    </a:lnTo>
                    <a:lnTo>
                      <a:pt x="6364" y="9528"/>
                    </a:lnTo>
                    <a:lnTo>
                      <a:pt x="6492" y="9528"/>
                    </a:lnTo>
                    <a:close/>
                  </a:path>
                </a:pathLst>
              </a:custGeom>
              <a:solidFill>
                <a:srgbClr val="000000">
                  <a:lumMod val="50000"/>
                  <a:lumOff val="5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8" name="Freeform 27"/>
              <p:cNvSpPr>
                <a:spLocks noEditPoints="1"/>
              </p:cNvSpPr>
              <p:nvPr/>
            </p:nvSpPr>
            <p:spPr bwMode="auto">
              <a:xfrm>
                <a:off x="3617223" y="2426051"/>
                <a:ext cx="843353" cy="777067"/>
              </a:xfrm>
              <a:custGeom>
                <a:avLst/>
                <a:gdLst/>
                <a:ahLst/>
                <a:cxnLst>
                  <a:cxn ang="0">
                    <a:pos x="8324" y="38"/>
                  </a:cxn>
                  <a:cxn ang="0">
                    <a:pos x="9087" y="203"/>
                  </a:cxn>
                  <a:cxn ang="0">
                    <a:pos x="9799" y="487"/>
                  </a:cxn>
                  <a:cxn ang="0">
                    <a:pos x="10451" y="880"/>
                  </a:cxn>
                  <a:cxn ang="0">
                    <a:pos x="11031" y="1370"/>
                  </a:cxn>
                  <a:cxn ang="0">
                    <a:pos x="11529" y="1947"/>
                  </a:cxn>
                  <a:cxn ang="0">
                    <a:pos x="11934" y="2598"/>
                  </a:cxn>
                  <a:cxn ang="0">
                    <a:pos x="12234" y="3314"/>
                  </a:cxn>
                  <a:cxn ang="0">
                    <a:pos x="12378" y="3497"/>
                  </a:cxn>
                  <a:cxn ang="0">
                    <a:pos x="12496" y="3494"/>
                  </a:cxn>
                  <a:cxn ang="0">
                    <a:pos x="13119" y="3540"/>
                  </a:cxn>
                  <a:cxn ang="0">
                    <a:pos x="13870" y="3738"/>
                  </a:cxn>
                  <a:cxn ang="0">
                    <a:pos x="14554" y="4074"/>
                  </a:cxn>
                  <a:cxn ang="0">
                    <a:pos x="15156" y="4535"/>
                  </a:cxn>
                  <a:cxn ang="0">
                    <a:pos x="15663" y="5102"/>
                  </a:cxn>
                  <a:cxn ang="0">
                    <a:pos x="16056" y="5761"/>
                  </a:cxn>
                  <a:cxn ang="0">
                    <a:pos x="16320" y="6494"/>
                  </a:cxn>
                  <a:cxn ang="0">
                    <a:pos x="16438" y="7286"/>
                  </a:cxn>
                  <a:cxn ang="0">
                    <a:pos x="16401" y="8075"/>
                  </a:cxn>
                  <a:cxn ang="0">
                    <a:pos x="16222" y="8813"/>
                  </a:cxn>
                  <a:cxn ang="0">
                    <a:pos x="15915" y="9491"/>
                  </a:cxn>
                  <a:cxn ang="0">
                    <a:pos x="15494" y="10093"/>
                  </a:cxn>
                  <a:cxn ang="0">
                    <a:pos x="14974" y="10606"/>
                  </a:cxn>
                  <a:cxn ang="0">
                    <a:pos x="14369" y="11014"/>
                  </a:cxn>
                  <a:cxn ang="0">
                    <a:pos x="13693" y="11305"/>
                  </a:cxn>
                  <a:cxn ang="0">
                    <a:pos x="12960" y="11462"/>
                  </a:cxn>
                  <a:cxn ang="0">
                    <a:pos x="3341" y="11487"/>
                  </a:cxn>
                  <a:cxn ang="0">
                    <a:pos x="2760" y="11436"/>
                  </a:cxn>
                  <a:cxn ang="0">
                    <a:pos x="2156" y="11265"/>
                  </a:cxn>
                  <a:cxn ang="0">
                    <a:pos x="1603" y="10987"/>
                  </a:cxn>
                  <a:cxn ang="0">
                    <a:pos x="1113" y="10615"/>
                  </a:cxn>
                  <a:cxn ang="0">
                    <a:pos x="697" y="10159"/>
                  </a:cxn>
                  <a:cxn ang="0">
                    <a:pos x="368" y="9631"/>
                  </a:cxn>
                  <a:cxn ang="0">
                    <a:pos x="137" y="9044"/>
                  </a:cxn>
                  <a:cxn ang="0">
                    <a:pos x="15" y="8410"/>
                  </a:cxn>
                  <a:cxn ang="0">
                    <a:pos x="15" y="7754"/>
                  </a:cxn>
                  <a:cxn ang="0">
                    <a:pos x="132" y="7132"/>
                  </a:cxn>
                  <a:cxn ang="0">
                    <a:pos x="354" y="6556"/>
                  </a:cxn>
                  <a:cxn ang="0">
                    <a:pos x="671" y="6034"/>
                  </a:cxn>
                  <a:cxn ang="0">
                    <a:pos x="1072" y="5582"/>
                  </a:cxn>
                  <a:cxn ang="0">
                    <a:pos x="1546" y="5208"/>
                  </a:cxn>
                  <a:cxn ang="0">
                    <a:pos x="2082" y="4924"/>
                  </a:cxn>
                  <a:cxn ang="0">
                    <a:pos x="2668" y="4741"/>
                  </a:cxn>
                  <a:cxn ang="0">
                    <a:pos x="3015" y="4212"/>
                  </a:cxn>
                  <a:cxn ang="0">
                    <a:pos x="3225" y="3295"/>
                  </a:cxn>
                  <a:cxn ang="0">
                    <a:pos x="3597" y="2453"/>
                  </a:cxn>
                  <a:cxn ang="0">
                    <a:pos x="4113" y="1704"/>
                  </a:cxn>
                  <a:cxn ang="0">
                    <a:pos x="4754" y="1069"/>
                  </a:cxn>
                  <a:cxn ang="0">
                    <a:pos x="5503" y="565"/>
                  </a:cxn>
                  <a:cxn ang="0">
                    <a:pos x="6342" y="211"/>
                  </a:cxn>
                  <a:cxn ang="0">
                    <a:pos x="7250" y="25"/>
                  </a:cxn>
                  <a:cxn ang="0">
                    <a:pos x="9148" y="9515"/>
                  </a:cxn>
                  <a:cxn ang="0">
                    <a:pos x="9106" y="9484"/>
                  </a:cxn>
                  <a:cxn ang="0">
                    <a:pos x="9023" y="9509"/>
                  </a:cxn>
                  <a:cxn ang="0">
                    <a:pos x="9156" y="9528"/>
                  </a:cxn>
                  <a:cxn ang="0">
                    <a:pos x="6408" y="9503"/>
                  </a:cxn>
                  <a:cxn ang="0">
                    <a:pos x="6368" y="9519"/>
                  </a:cxn>
                </a:cxnLst>
                <a:rect l="0" t="0" r="r" b="b"/>
                <a:pathLst>
                  <a:path w="16443" h="11487">
                    <a:moveTo>
                      <a:pt x="7726" y="0"/>
                    </a:moveTo>
                    <a:lnTo>
                      <a:pt x="7928" y="4"/>
                    </a:lnTo>
                    <a:lnTo>
                      <a:pt x="8127" y="17"/>
                    </a:lnTo>
                    <a:lnTo>
                      <a:pt x="8324" y="38"/>
                    </a:lnTo>
                    <a:lnTo>
                      <a:pt x="8519" y="68"/>
                    </a:lnTo>
                    <a:lnTo>
                      <a:pt x="8711" y="105"/>
                    </a:lnTo>
                    <a:lnTo>
                      <a:pt x="8900" y="150"/>
                    </a:lnTo>
                    <a:lnTo>
                      <a:pt x="9087" y="203"/>
                    </a:lnTo>
                    <a:lnTo>
                      <a:pt x="9270" y="263"/>
                    </a:lnTo>
                    <a:lnTo>
                      <a:pt x="9450" y="331"/>
                    </a:lnTo>
                    <a:lnTo>
                      <a:pt x="9626" y="406"/>
                    </a:lnTo>
                    <a:lnTo>
                      <a:pt x="9799" y="487"/>
                    </a:lnTo>
                    <a:lnTo>
                      <a:pt x="9969" y="576"/>
                    </a:lnTo>
                    <a:lnTo>
                      <a:pt x="10133" y="670"/>
                    </a:lnTo>
                    <a:lnTo>
                      <a:pt x="10294" y="772"/>
                    </a:lnTo>
                    <a:lnTo>
                      <a:pt x="10451" y="880"/>
                    </a:lnTo>
                    <a:lnTo>
                      <a:pt x="10604" y="994"/>
                    </a:lnTo>
                    <a:lnTo>
                      <a:pt x="10751" y="1113"/>
                    </a:lnTo>
                    <a:lnTo>
                      <a:pt x="10893" y="1239"/>
                    </a:lnTo>
                    <a:lnTo>
                      <a:pt x="11031" y="1370"/>
                    </a:lnTo>
                    <a:lnTo>
                      <a:pt x="11164" y="1507"/>
                    </a:lnTo>
                    <a:lnTo>
                      <a:pt x="11291" y="1648"/>
                    </a:lnTo>
                    <a:lnTo>
                      <a:pt x="11412" y="1795"/>
                    </a:lnTo>
                    <a:lnTo>
                      <a:pt x="11529" y="1947"/>
                    </a:lnTo>
                    <a:lnTo>
                      <a:pt x="11640" y="2102"/>
                    </a:lnTo>
                    <a:lnTo>
                      <a:pt x="11743" y="2264"/>
                    </a:lnTo>
                    <a:lnTo>
                      <a:pt x="11842" y="2429"/>
                    </a:lnTo>
                    <a:lnTo>
                      <a:pt x="11934" y="2598"/>
                    </a:lnTo>
                    <a:lnTo>
                      <a:pt x="12019" y="2772"/>
                    </a:lnTo>
                    <a:lnTo>
                      <a:pt x="12097" y="2948"/>
                    </a:lnTo>
                    <a:lnTo>
                      <a:pt x="12169" y="3129"/>
                    </a:lnTo>
                    <a:lnTo>
                      <a:pt x="12234" y="3314"/>
                    </a:lnTo>
                    <a:lnTo>
                      <a:pt x="12291" y="3501"/>
                    </a:lnTo>
                    <a:lnTo>
                      <a:pt x="12320" y="3499"/>
                    </a:lnTo>
                    <a:lnTo>
                      <a:pt x="12349" y="3498"/>
                    </a:lnTo>
                    <a:lnTo>
                      <a:pt x="12378" y="3497"/>
                    </a:lnTo>
                    <a:lnTo>
                      <a:pt x="12407" y="3496"/>
                    </a:lnTo>
                    <a:lnTo>
                      <a:pt x="12437" y="3495"/>
                    </a:lnTo>
                    <a:lnTo>
                      <a:pt x="12466" y="3494"/>
                    </a:lnTo>
                    <a:lnTo>
                      <a:pt x="12496" y="3494"/>
                    </a:lnTo>
                    <a:lnTo>
                      <a:pt x="12524" y="3494"/>
                    </a:lnTo>
                    <a:lnTo>
                      <a:pt x="12726" y="3499"/>
                    </a:lnTo>
                    <a:lnTo>
                      <a:pt x="12924" y="3515"/>
                    </a:lnTo>
                    <a:lnTo>
                      <a:pt x="13119" y="3540"/>
                    </a:lnTo>
                    <a:lnTo>
                      <a:pt x="13313" y="3575"/>
                    </a:lnTo>
                    <a:lnTo>
                      <a:pt x="13502" y="3621"/>
                    </a:lnTo>
                    <a:lnTo>
                      <a:pt x="13688" y="3674"/>
                    </a:lnTo>
                    <a:lnTo>
                      <a:pt x="13870" y="3738"/>
                    </a:lnTo>
                    <a:lnTo>
                      <a:pt x="14047" y="3809"/>
                    </a:lnTo>
                    <a:lnTo>
                      <a:pt x="14221" y="3889"/>
                    </a:lnTo>
                    <a:lnTo>
                      <a:pt x="14390" y="3977"/>
                    </a:lnTo>
                    <a:lnTo>
                      <a:pt x="14554" y="4074"/>
                    </a:lnTo>
                    <a:lnTo>
                      <a:pt x="14712" y="4179"/>
                    </a:lnTo>
                    <a:lnTo>
                      <a:pt x="14867" y="4290"/>
                    </a:lnTo>
                    <a:lnTo>
                      <a:pt x="15015" y="4409"/>
                    </a:lnTo>
                    <a:lnTo>
                      <a:pt x="15156" y="4535"/>
                    </a:lnTo>
                    <a:lnTo>
                      <a:pt x="15293" y="4667"/>
                    </a:lnTo>
                    <a:lnTo>
                      <a:pt x="15423" y="4806"/>
                    </a:lnTo>
                    <a:lnTo>
                      <a:pt x="15546" y="4951"/>
                    </a:lnTo>
                    <a:lnTo>
                      <a:pt x="15663" y="5102"/>
                    </a:lnTo>
                    <a:lnTo>
                      <a:pt x="15772" y="5259"/>
                    </a:lnTo>
                    <a:lnTo>
                      <a:pt x="15875" y="5421"/>
                    </a:lnTo>
                    <a:lnTo>
                      <a:pt x="15969" y="5588"/>
                    </a:lnTo>
                    <a:lnTo>
                      <a:pt x="16056" y="5761"/>
                    </a:lnTo>
                    <a:lnTo>
                      <a:pt x="16134" y="5938"/>
                    </a:lnTo>
                    <a:lnTo>
                      <a:pt x="16205" y="6119"/>
                    </a:lnTo>
                    <a:lnTo>
                      <a:pt x="16266" y="6305"/>
                    </a:lnTo>
                    <a:lnTo>
                      <a:pt x="16320" y="6494"/>
                    </a:lnTo>
                    <a:lnTo>
                      <a:pt x="16363" y="6687"/>
                    </a:lnTo>
                    <a:lnTo>
                      <a:pt x="16398" y="6884"/>
                    </a:lnTo>
                    <a:lnTo>
                      <a:pt x="16422" y="7083"/>
                    </a:lnTo>
                    <a:lnTo>
                      <a:pt x="16438" y="7286"/>
                    </a:lnTo>
                    <a:lnTo>
                      <a:pt x="16443" y="7490"/>
                    </a:lnTo>
                    <a:lnTo>
                      <a:pt x="16438" y="7688"/>
                    </a:lnTo>
                    <a:lnTo>
                      <a:pt x="16425" y="7883"/>
                    </a:lnTo>
                    <a:lnTo>
                      <a:pt x="16401" y="8075"/>
                    </a:lnTo>
                    <a:lnTo>
                      <a:pt x="16369" y="8264"/>
                    </a:lnTo>
                    <a:lnTo>
                      <a:pt x="16328" y="8451"/>
                    </a:lnTo>
                    <a:lnTo>
                      <a:pt x="16280" y="8634"/>
                    </a:lnTo>
                    <a:lnTo>
                      <a:pt x="16222" y="8813"/>
                    </a:lnTo>
                    <a:lnTo>
                      <a:pt x="16156" y="8989"/>
                    </a:lnTo>
                    <a:lnTo>
                      <a:pt x="16083" y="9161"/>
                    </a:lnTo>
                    <a:lnTo>
                      <a:pt x="16003" y="9328"/>
                    </a:lnTo>
                    <a:lnTo>
                      <a:pt x="15915" y="9491"/>
                    </a:lnTo>
                    <a:lnTo>
                      <a:pt x="15820" y="9649"/>
                    </a:lnTo>
                    <a:lnTo>
                      <a:pt x="15717" y="9802"/>
                    </a:lnTo>
                    <a:lnTo>
                      <a:pt x="15610" y="9950"/>
                    </a:lnTo>
                    <a:lnTo>
                      <a:pt x="15494" y="10093"/>
                    </a:lnTo>
                    <a:lnTo>
                      <a:pt x="15373" y="10230"/>
                    </a:lnTo>
                    <a:lnTo>
                      <a:pt x="15246" y="10361"/>
                    </a:lnTo>
                    <a:lnTo>
                      <a:pt x="15113" y="10487"/>
                    </a:lnTo>
                    <a:lnTo>
                      <a:pt x="14974" y="10606"/>
                    </a:lnTo>
                    <a:lnTo>
                      <a:pt x="14831" y="10718"/>
                    </a:lnTo>
                    <a:lnTo>
                      <a:pt x="14682" y="10824"/>
                    </a:lnTo>
                    <a:lnTo>
                      <a:pt x="14527" y="10923"/>
                    </a:lnTo>
                    <a:lnTo>
                      <a:pt x="14369" y="11014"/>
                    </a:lnTo>
                    <a:lnTo>
                      <a:pt x="14206" y="11098"/>
                    </a:lnTo>
                    <a:lnTo>
                      <a:pt x="14039" y="11176"/>
                    </a:lnTo>
                    <a:lnTo>
                      <a:pt x="13868" y="11244"/>
                    </a:lnTo>
                    <a:lnTo>
                      <a:pt x="13693" y="11305"/>
                    </a:lnTo>
                    <a:lnTo>
                      <a:pt x="13514" y="11357"/>
                    </a:lnTo>
                    <a:lnTo>
                      <a:pt x="13332" y="11401"/>
                    </a:lnTo>
                    <a:lnTo>
                      <a:pt x="13147" y="11436"/>
                    </a:lnTo>
                    <a:lnTo>
                      <a:pt x="12960" y="11462"/>
                    </a:lnTo>
                    <a:lnTo>
                      <a:pt x="12770" y="11479"/>
                    </a:lnTo>
                    <a:lnTo>
                      <a:pt x="12770" y="11487"/>
                    </a:lnTo>
                    <a:lnTo>
                      <a:pt x="12524" y="11487"/>
                    </a:lnTo>
                    <a:lnTo>
                      <a:pt x="3341" y="11487"/>
                    </a:lnTo>
                    <a:lnTo>
                      <a:pt x="3079" y="11487"/>
                    </a:lnTo>
                    <a:lnTo>
                      <a:pt x="3079" y="11477"/>
                    </a:lnTo>
                    <a:lnTo>
                      <a:pt x="2919" y="11459"/>
                    </a:lnTo>
                    <a:lnTo>
                      <a:pt x="2760" y="11436"/>
                    </a:lnTo>
                    <a:lnTo>
                      <a:pt x="2605" y="11404"/>
                    </a:lnTo>
                    <a:lnTo>
                      <a:pt x="2453" y="11365"/>
                    </a:lnTo>
                    <a:lnTo>
                      <a:pt x="2303" y="11318"/>
                    </a:lnTo>
                    <a:lnTo>
                      <a:pt x="2156" y="11265"/>
                    </a:lnTo>
                    <a:lnTo>
                      <a:pt x="2013" y="11205"/>
                    </a:lnTo>
                    <a:lnTo>
                      <a:pt x="1872" y="11139"/>
                    </a:lnTo>
                    <a:lnTo>
                      <a:pt x="1736" y="11067"/>
                    </a:lnTo>
                    <a:lnTo>
                      <a:pt x="1603" y="10987"/>
                    </a:lnTo>
                    <a:lnTo>
                      <a:pt x="1474" y="10903"/>
                    </a:lnTo>
                    <a:lnTo>
                      <a:pt x="1349" y="10813"/>
                    </a:lnTo>
                    <a:lnTo>
                      <a:pt x="1229" y="10716"/>
                    </a:lnTo>
                    <a:lnTo>
                      <a:pt x="1113" y="10615"/>
                    </a:lnTo>
                    <a:lnTo>
                      <a:pt x="1001" y="10508"/>
                    </a:lnTo>
                    <a:lnTo>
                      <a:pt x="895" y="10396"/>
                    </a:lnTo>
                    <a:lnTo>
                      <a:pt x="793" y="10280"/>
                    </a:lnTo>
                    <a:lnTo>
                      <a:pt x="697" y="10159"/>
                    </a:lnTo>
                    <a:lnTo>
                      <a:pt x="606" y="10033"/>
                    </a:lnTo>
                    <a:lnTo>
                      <a:pt x="521" y="9903"/>
                    </a:lnTo>
                    <a:lnTo>
                      <a:pt x="441" y="9769"/>
                    </a:lnTo>
                    <a:lnTo>
                      <a:pt x="368" y="9631"/>
                    </a:lnTo>
                    <a:lnTo>
                      <a:pt x="300" y="9490"/>
                    </a:lnTo>
                    <a:lnTo>
                      <a:pt x="239" y="9345"/>
                    </a:lnTo>
                    <a:lnTo>
                      <a:pt x="185" y="9197"/>
                    </a:lnTo>
                    <a:lnTo>
                      <a:pt x="137" y="9044"/>
                    </a:lnTo>
                    <a:lnTo>
                      <a:pt x="96" y="8890"/>
                    </a:lnTo>
                    <a:lnTo>
                      <a:pt x="62" y="8733"/>
                    </a:lnTo>
                    <a:lnTo>
                      <a:pt x="35" y="8573"/>
                    </a:lnTo>
                    <a:lnTo>
                      <a:pt x="15" y="8410"/>
                    </a:lnTo>
                    <a:lnTo>
                      <a:pt x="4" y="8246"/>
                    </a:lnTo>
                    <a:lnTo>
                      <a:pt x="0" y="8079"/>
                    </a:lnTo>
                    <a:lnTo>
                      <a:pt x="4" y="7916"/>
                    </a:lnTo>
                    <a:lnTo>
                      <a:pt x="15" y="7754"/>
                    </a:lnTo>
                    <a:lnTo>
                      <a:pt x="34" y="7596"/>
                    </a:lnTo>
                    <a:lnTo>
                      <a:pt x="60" y="7439"/>
                    </a:lnTo>
                    <a:lnTo>
                      <a:pt x="92" y="7284"/>
                    </a:lnTo>
                    <a:lnTo>
                      <a:pt x="132" y="7132"/>
                    </a:lnTo>
                    <a:lnTo>
                      <a:pt x="178" y="6983"/>
                    </a:lnTo>
                    <a:lnTo>
                      <a:pt x="230" y="6837"/>
                    </a:lnTo>
                    <a:lnTo>
                      <a:pt x="289" y="6694"/>
                    </a:lnTo>
                    <a:lnTo>
                      <a:pt x="354" y="6556"/>
                    </a:lnTo>
                    <a:lnTo>
                      <a:pt x="424" y="6420"/>
                    </a:lnTo>
                    <a:lnTo>
                      <a:pt x="502" y="6287"/>
                    </a:lnTo>
                    <a:lnTo>
                      <a:pt x="584" y="6159"/>
                    </a:lnTo>
                    <a:lnTo>
                      <a:pt x="671" y="6034"/>
                    </a:lnTo>
                    <a:lnTo>
                      <a:pt x="765" y="5914"/>
                    </a:lnTo>
                    <a:lnTo>
                      <a:pt x="862" y="5799"/>
                    </a:lnTo>
                    <a:lnTo>
                      <a:pt x="965" y="5688"/>
                    </a:lnTo>
                    <a:lnTo>
                      <a:pt x="1072" y="5582"/>
                    </a:lnTo>
                    <a:lnTo>
                      <a:pt x="1184" y="5480"/>
                    </a:lnTo>
                    <a:lnTo>
                      <a:pt x="1301" y="5384"/>
                    </a:lnTo>
                    <a:lnTo>
                      <a:pt x="1421" y="5293"/>
                    </a:lnTo>
                    <a:lnTo>
                      <a:pt x="1546" y="5208"/>
                    </a:lnTo>
                    <a:lnTo>
                      <a:pt x="1675" y="5128"/>
                    </a:lnTo>
                    <a:lnTo>
                      <a:pt x="1807" y="5054"/>
                    </a:lnTo>
                    <a:lnTo>
                      <a:pt x="1942" y="4986"/>
                    </a:lnTo>
                    <a:lnTo>
                      <a:pt x="2082" y="4924"/>
                    </a:lnTo>
                    <a:lnTo>
                      <a:pt x="2224" y="4869"/>
                    </a:lnTo>
                    <a:lnTo>
                      <a:pt x="2369" y="4819"/>
                    </a:lnTo>
                    <a:lnTo>
                      <a:pt x="2517" y="4777"/>
                    </a:lnTo>
                    <a:lnTo>
                      <a:pt x="2668" y="4741"/>
                    </a:lnTo>
                    <a:lnTo>
                      <a:pt x="2821" y="4713"/>
                    </a:lnTo>
                    <a:lnTo>
                      <a:pt x="2976" y="4692"/>
                    </a:lnTo>
                    <a:lnTo>
                      <a:pt x="2990" y="4450"/>
                    </a:lnTo>
                    <a:lnTo>
                      <a:pt x="3015" y="4212"/>
                    </a:lnTo>
                    <a:lnTo>
                      <a:pt x="3051" y="3976"/>
                    </a:lnTo>
                    <a:lnTo>
                      <a:pt x="3098" y="3744"/>
                    </a:lnTo>
                    <a:lnTo>
                      <a:pt x="3156" y="3517"/>
                    </a:lnTo>
                    <a:lnTo>
                      <a:pt x="3225" y="3295"/>
                    </a:lnTo>
                    <a:lnTo>
                      <a:pt x="3303" y="3076"/>
                    </a:lnTo>
                    <a:lnTo>
                      <a:pt x="3391" y="2863"/>
                    </a:lnTo>
                    <a:lnTo>
                      <a:pt x="3489" y="2655"/>
                    </a:lnTo>
                    <a:lnTo>
                      <a:pt x="3597" y="2453"/>
                    </a:lnTo>
                    <a:lnTo>
                      <a:pt x="3713" y="2256"/>
                    </a:lnTo>
                    <a:lnTo>
                      <a:pt x="3837" y="2065"/>
                    </a:lnTo>
                    <a:lnTo>
                      <a:pt x="3971" y="1882"/>
                    </a:lnTo>
                    <a:lnTo>
                      <a:pt x="4113" y="1704"/>
                    </a:lnTo>
                    <a:lnTo>
                      <a:pt x="4262" y="1535"/>
                    </a:lnTo>
                    <a:lnTo>
                      <a:pt x="4419" y="1371"/>
                    </a:lnTo>
                    <a:lnTo>
                      <a:pt x="4583" y="1216"/>
                    </a:lnTo>
                    <a:lnTo>
                      <a:pt x="4754" y="1069"/>
                    </a:lnTo>
                    <a:lnTo>
                      <a:pt x="4932" y="930"/>
                    </a:lnTo>
                    <a:lnTo>
                      <a:pt x="5117" y="800"/>
                    </a:lnTo>
                    <a:lnTo>
                      <a:pt x="5307" y="677"/>
                    </a:lnTo>
                    <a:lnTo>
                      <a:pt x="5503" y="565"/>
                    </a:lnTo>
                    <a:lnTo>
                      <a:pt x="5705" y="462"/>
                    </a:lnTo>
                    <a:lnTo>
                      <a:pt x="5912" y="368"/>
                    </a:lnTo>
                    <a:lnTo>
                      <a:pt x="6124" y="284"/>
                    </a:lnTo>
                    <a:lnTo>
                      <a:pt x="6342" y="211"/>
                    </a:lnTo>
                    <a:lnTo>
                      <a:pt x="6563" y="147"/>
                    </a:lnTo>
                    <a:lnTo>
                      <a:pt x="6788" y="95"/>
                    </a:lnTo>
                    <a:lnTo>
                      <a:pt x="7018" y="54"/>
                    </a:lnTo>
                    <a:lnTo>
                      <a:pt x="7250" y="25"/>
                    </a:lnTo>
                    <a:lnTo>
                      <a:pt x="7487" y="6"/>
                    </a:lnTo>
                    <a:lnTo>
                      <a:pt x="7726" y="0"/>
                    </a:lnTo>
                    <a:close/>
                    <a:moveTo>
                      <a:pt x="9156" y="9528"/>
                    </a:moveTo>
                    <a:lnTo>
                      <a:pt x="9148" y="9515"/>
                    </a:lnTo>
                    <a:lnTo>
                      <a:pt x="9141" y="9503"/>
                    </a:lnTo>
                    <a:lnTo>
                      <a:pt x="9134" y="9491"/>
                    </a:lnTo>
                    <a:lnTo>
                      <a:pt x="9127" y="9478"/>
                    </a:lnTo>
                    <a:lnTo>
                      <a:pt x="9106" y="9484"/>
                    </a:lnTo>
                    <a:lnTo>
                      <a:pt x="9086" y="9491"/>
                    </a:lnTo>
                    <a:lnTo>
                      <a:pt x="9065" y="9498"/>
                    </a:lnTo>
                    <a:lnTo>
                      <a:pt x="9045" y="9503"/>
                    </a:lnTo>
                    <a:lnTo>
                      <a:pt x="9023" y="9509"/>
                    </a:lnTo>
                    <a:lnTo>
                      <a:pt x="9003" y="9515"/>
                    </a:lnTo>
                    <a:lnTo>
                      <a:pt x="8982" y="9521"/>
                    </a:lnTo>
                    <a:lnTo>
                      <a:pt x="8961" y="9528"/>
                    </a:lnTo>
                    <a:lnTo>
                      <a:pt x="9156" y="9528"/>
                    </a:lnTo>
                    <a:close/>
                    <a:moveTo>
                      <a:pt x="6492" y="9528"/>
                    </a:moveTo>
                    <a:lnTo>
                      <a:pt x="6464" y="9519"/>
                    </a:lnTo>
                    <a:lnTo>
                      <a:pt x="6435" y="9511"/>
                    </a:lnTo>
                    <a:lnTo>
                      <a:pt x="6408" y="9503"/>
                    </a:lnTo>
                    <a:lnTo>
                      <a:pt x="6379" y="9495"/>
                    </a:lnTo>
                    <a:lnTo>
                      <a:pt x="6376" y="9503"/>
                    </a:lnTo>
                    <a:lnTo>
                      <a:pt x="6372" y="9511"/>
                    </a:lnTo>
                    <a:lnTo>
                      <a:pt x="6368" y="9519"/>
                    </a:lnTo>
                    <a:lnTo>
                      <a:pt x="6364" y="9528"/>
                    </a:lnTo>
                    <a:lnTo>
                      <a:pt x="6492" y="9528"/>
                    </a:lnTo>
                    <a:close/>
                  </a:path>
                </a:pathLst>
              </a:custGeom>
              <a:solidFill>
                <a:srgbClr val="000000">
                  <a:lumMod val="50000"/>
                  <a:lumOff val="50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66" name="Rectangle 267"/>
            <p:cNvSpPr>
              <a:spLocks noChangeArrowheads="1"/>
            </p:cNvSpPr>
            <p:nvPr/>
          </p:nvSpPr>
          <p:spPr bwMode="auto">
            <a:xfrm>
              <a:off x="2278774" y="2354668"/>
              <a:ext cx="2989560" cy="106878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73025" tIns="36512" rIns="73025" bIns="36512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000" kern="0" dirty="0" smtClean="0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rPr>
                <a:t>Transmission Network</a:t>
              </a:r>
            </a:p>
          </p:txBody>
        </p:sp>
      </p:grpSp>
      <p:pic>
        <p:nvPicPr>
          <p:cNvPr id="16" name="Picture 7" descr="20070509101400"/>
          <p:cNvPicPr>
            <a:picLocks noChangeAspect="1" noChangeArrowheads="1"/>
          </p:cNvPicPr>
          <p:nvPr/>
        </p:nvPicPr>
        <p:blipFill>
          <a:blip r:embed="rId3" cstate="email"/>
          <a:stretch>
            <a:fillRect/>
          </a:stretch>
        </p:blipFill>
        <p:spPr bwMode="auto">
          <a:xfrm>
            <a:off x="4233048" y="1107035"/>
            <a:ext cx="1404613" cy="5052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cxnSp>
        <p:nvCxnSpPr>
          <p:cNvPr id="17" name="直接连接符 16"/>
          <p:cNvCxnSpPr/>
          <p:nvPr/>
        </p:nvCxnSpPr>
        <p:spPr bwMode="auto">
          <a:xfrm>
            <a:off x="3947556" y="1995686"/>
            <a:ext cx="3960440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直接连接符 17"/>
          <p:cNvCxnSpPr/>
          <p:nvPr/>
        </p:nvCxnSpPr>
        <p:spPr bwMode="auto">
          <a:xfrm flipV="1">
            <a:off x="4840285" y="1779662"/>
            <a:ext cx="0" cy="174722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直接连接符 18"/>
          <p:cNvCxnSpPr/>
          <p:nvPr/>
        </p:nvCxnSpPr>
        <p:spPr bwMode="auto">
          <a:xfrm flipV="1">
            <a:off x="3606553" y="1790014"/>
            <a:ext cx="0" cy="155772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组合 178"/>
          <p:cNvGrpSpPr/>
          <p:nvPr/>
        </p:nvGrpSpPr>
        <p:grpSpPr>
          <a:xfrm>
            <a:off x="3462013" y="1312571"/>
            <a:ext cx="313722" cy="267741"/>
            <a:chOff x="5854743" y="2949533"/>
            <a:chExt cx="747713" cy="687388"/>
          </a:xfrm>
          <a:solidFill>
            <a:srgbClr val="000000">
              <a:lumMod val="50000"/>
              <a:lumOff val="50000"/>
            </a:srgbClr>
          </a:solidFill>
        </p:grpSpPr>
        <p:grpSp>
          <p:nvGrpSpPr>
            <p:cNvPr id="5" name="组合 173"/>
            <p:cNvGrpSpPr/>
            <p:nvPr/>
          </p:nvGrpSpPr>
          <p:grpSpPr>
            <a:xfrm>
              <a:off x="5854743" y="2949533"/>
              <a:ext cx="747713" cy="687388"/>
              <a:chOff x="15468600" y="1463675"/>
              <a:chExt cx="747713" cy="687388"/>
            </a:xfrm>
            <a:grpFill/>
          </p:grpSpPr>
          <p:sp>
            <p:nvSpPr>
              <p:cNvPr id="262" name="Freeform 19"/>
              <p:cNvSpPr>
                <a:spLocks/>
              </p:cNvSpPr>
              <p:nvPr/>
            </p:nvSpPr>
            <p:spPr bwMode="auto">
              <a:xfrm>
                <a:off x="15468600" y="1477962"/>
                <a:ext cx="101600" cy="646113"/>
              </a:xfrm>
              <a:custGeom>
                <a:avLst/>
                <a:gdLst/>
                <a:ahLst/>
                <a:cxnLst>
                  <a:cxn ang="0">
                    <a:pos x="64" y="47"/>
                  </a:cxn>
                  <a:cxn ang="0">
                    <a:pos x="64" y="47"/>
                  </a:cxn>
                  <a:cxn ang="0">
                    <a:pos x="64" y="0"/>
                  </a:cxn>
                  <a:cxn ang="0">
                    <a:pos x="64" y="0"/>
                  </a:cxn>
                  <a:cxn ang="0">
                    <a:pos x="38" y="4"/>
                  </a:cxn>
                  <a:cxn ang="0">
                    <a:pos x="17" y="17"/>
                  </a:cxn>
                  <a:cxn ang="0">
                    <a:pos x="4" y="26"/>
                  </a:cxn>
                  <a:cxn ang="0">
                    <a:pos x="0" y="43"/>
                  </a:cxn>
                  <a:cxn ang="0">
                    <a:pos x="0" y="368"/>
                  </a:cxn>
                  <a:cxn ang="0">
                    <a:pos x="0" y="368"/>
                  </a:cxn>
                  <a:cxn ang="0">
                    <a:pos x="4" y="381"/>
                  </a:cxn>
                  <a:cxn ang="0">
                    <a:pos x="17" y="394"/>
                  </a:cxn>
                  <a:cxn ang="0">
                    <a:pos x="38" y="402"/>
                  </a:cxn>
                  <a:cxn ang="0">
                    <a:pos x="64" y="407"/>
                  </a:cxn>
                  <a:cxn ang="0">
                    <a:pos x="64" y="407"/>
                  </a:cxn>
                  <a:cxn ang="0">
                    <a:pos x="64" y="376"/>
                  </a:cxn>
                  <a:cxn ang="0">
                    <a:pos x="64" y="47"/>
                  </a:cxn>
                </a:cxnLst>
                <a:rect l="0" t="0" r="r" b="b"/>
                <a:pathLst>
                  <a:path w="64" h="407">
                    <a:moveTo>
                      <a:pt x="64" y="47"/>
                    </a:moveTo>
                    <a:lnTo>
                      <a:pt x="64" y="47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38" y="4"/>
                    </a:lnTo>
                    <a:lnTo>
                      <a:pt x="17" y="17"/>
                    </a:lnTo>
                    <a:lnTo>
                      <a:pt x="4" y="26"/>
                    </a:lnTo>
                    <a:lnTo>
                      <a:pt x="0" y="43"/>
                    </a:lnTo>
                    <a:lnTo>
                      <a:pt x="0" y="368"/>
                    </a:lnTo>
                    <a:lnTo>
                      <a:pt x="0" y="368"/>
                    </a:lnTo>
                    <a:lnTo>
                      <a:pt x="4" y="381"/>
                    </a:lnTo>
                    <a:lnTo>
                      <a:pt x="17" y="394"/>
                    </a:lnTo>
                    <a:lnTo>
                      <a:pt x="38" y="402"/>
                    </a:lnTo>
                    <a:lnTo>
                      <a:pt x="64" y="407"/>
                    </a:lnTo>
                    <a:lnTo>
                      <a:pt x="64" y="407"/>
                    </a:lnTo>
                    <a:lnTo>
                      <a:pt x="64" y="376"/>
                    </a:lnTo>
                    <a:lnTo>
                      <a:pt x="64" y="4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3" name="Freeform 20"/>
              <p:cNvSpPr>
                <a:spLocks noEditPoints="1"/>
              </p:cNvSpPr>
              <p:nvPr/>
            </p:nvSpPr>
            <p:spPr bwMode="auto">
              <a:xfrm>
                <a:off x="15797213" y="1477962"/>
                <a:ext cx="419100" cy="646113"/>
              </a:xfrm>
              <a:custGeom>
                <a:avLst/>
                <a:gdLst/>
                <a:ahLst/>
                <a:cxnLst>
                  <a:cxn ang="0">
                    <a:pos x="5" y="376"/>
                  </a:cxn>
                  <a:cxn ang="0">
                    <a:pos x="217" y="407"/>
                  </a:cxn>
                  <a:cxn ang="0">
                    <a:pos x="264" y="43"/>
                  </a:cxn>
                  <a:cxn ang="0">
                    <a:pos x="217" y="4"/>
                  </a:cxn>
                  <a:cxn ang="0">
                    <a:pos x="44" y="60"/>
                  </a:cxn>
                  <a:cxn ang="0">
                    <a:pos x="195" y="30"/>
                  </a:cxn>
                  <a:cxn ang="0">
                    <a:pos x="221" y="60"/>
                  </a:cxn>
                  <a:cxn ang="0">
                    <a:pos x="208" y="108"/>
                  </a:cxn>
                  <a:cxn ang="0">
                    <a:pos x="48" y="104"/>
                  </a:cxn>
                  <a:cxn ang="0">
                    <a:pos x="225" y="160"/>
                  </a:cxn>
                  <a:cxn ang="0">
                    <a:pos x="165" y="173"/>
                  </a:cxn>
                  <a:cxn ang="0">
                    <a:pos x="160" y="143"/>
                  </a:cxn>
                  <a:cxn ang="0">
                    <a:pos x="225" y="147"/>
                  </a:cxn>
                  <a:cxn ang="0">
                    <a:pos x="130" y="169"/>
                  </a:cxn>
                  <a:cxn ang="0">
                    <a:pos x="61" y="160"/>
                  </a:cxn>
                  <a:cxn ang="0">
                    <a:pos x="121" y="138"/>
                  </a:cxn>
                  <a:cxn ang="0">
                    <a:pos x="83" y="359"/>
                  </a:cxn>
                  <a:cxn ang="0">
                    <a:pos x="57" y="337"/>
                  </a:cxn>
                  <a:cxn ang="0">
                    <a:pos x="83" y="312"/>
                  </a:cxn>
                  <a:cxn ang="0">
                    <a:pos x="104" y="337"/>
                  </a:cxn>
                  <a:cxn ang="0">
                    <a:pos x="83" y="359"/>
                  </a:cxn>
                  <a:cxn ang="0">
                    <a:pos x="65" y="290"/>
                  </a:cxn>
                  <a:cxn ang="0">
                    <a:pos x="65" y="255"/>
                  </a:cxn>
                  <a:cxn ang="0">
                    <a:pos x="100" y="255"/>
                  </a:cxn>
                  <a:cxn ang="0">
                    <a:pos x="100" y="290"/>
                  </a:cxn>
                  <a:cxn ang="0">
                    <a:pos x="83" y="238"/>
                  </a:cxn>
                  <a:cxn ang="0">
                    <a:pos x="57" y="216"/>
                  </a:cxn>
                  <a:cxn ang="0">
                    <a:pos x="83" y="190"/>
                  </a:cxn>
                  <a:cxn ang="0">
                    <a:pos x="104" y="216"/>
                  </a:cxn>
                  <a:cxn ang="0">
                    <a:pos x="83" y="238"/>
                  </a:cxn>
                  <a:cxn ang="0">
                    <a:pos x="121" y="346"/>
                  </a:cxn>
                  <a:cxn ang="0">
                    <a:pos x="130" y="312"/>
                  </a:cxn>
                  <a:cxn ang="0">
                    <a:pos x="165" y="324"/>
                  </a:cxn>
                  <a:cxn ang="0">
                    <a:pos x="152" y="359"/>
                  </a:cxn>
                  <a:cxn ang="0">
                    <a:pos x="130" y="294"/>
                  </a:cxn>
                  <a:cxn ang="0">
                    <a:pos x="121" y="264"/>
                  </a:cxn>
                  <a:cxn ang="0">
                    <a:pos x="152" y="251"/>
                  </a:cxn>
                  <a:cxn ang="0">
                    <a:pos x="165" y="281"/>
                  </a:cxn>
                  <a:cxn ang="0">
                    <a:pos x="143" y="238"/>
                  </a:cxn>
                  <a:cxn ang="0">
                    <a:pos x="117" y="216"/>
                  </a:cxn>
                  <a:cxn ang="0">
                    <a:pos x="143" y="190"/>
                  </a:cxn>
                  <a:cxn ang="0">
                    <a:pos x="165" y="216"/>
                  </a:cxn>
                  <a:cxn ang="0">
                    <a:pos x="143" y="238"/>
                  </a:cxn>
                  <a:cxn ang="0">
                    <a:pos x="186" y="355"/>
                  </a:cxn>
                  <a:cxn ang="0">
                    <a:pos x="186" y="320"/>
                  </a:cxn>
                  <a:cxn ang="0">
                    <a:pos x="217" y="320"/>
                  </a:cxn>
                  <a:cxn ang="0">
                    <a:pos x="217" y="355"/>
                  </a:cxn>
                  <a:cxn ang="0">
                    <a:pos x="204" y="299"/>
                  </a:cxn>
                  <a:cxn ang="0">
                    <a:pos x="178" y="273"/>
                  </a:cxn>
                  <a:cxn ang="0">
                    <a:pos x="204" y="247"/>
                  </a:cxn>
                  <a:cxn ang="0">
                    <a:pos x="225" y="273"/>
                  </a:cxn>
                  <a:cxn ang="0">
                    <a:pos x="204" y="299"/>
                  </a:cxn>
                  <a:cxn ang="0">
                    <a:pos x="178" y="225"/>
                  </a:cxn>
                  <a:cxn ang="0">
                    <a:pos x="191" y="195"/>
                  </a:cxn>
                  <a:cxn ang="0">
                    <a:pos x="225" y="208"/>
                  </a:cxn>
                  <a:cxn ang="0">
                    <a:pos x="212" y="238"/>
                  </a:cxn>
                </a:cxnLst>
                <a:rect l="0" t="0" r="r" b="b"/>
                <a:pathLst>
                  <a:path w="264" h="407">
                    <a:moveTo>
                      <a:pt x="18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5" y="47"/>
                    </a:lnTo>
                    <a:lnTo>
                      <a:pt x="5" y="376"/>
                    </a:lnTo>
                    <a:lnTo>
                      <a:pt x="5" y="376"/>
                    </a:lnTo>
                    <a:lnTo>
                      <a:pt x="5" y="407"/>
                    </a:lnTo>
                    <a:lnTo>
                      <a:pt x="182" y="407"/>
                    </a:lnTo>
                    <a:lnTo>
                      <a:pt x="182" y="407"/>
                    </a:lnTo>
                    <a:lnTo>
                      <a:pt x="217" y="407"/>
                    </a:lnTo>
                    <a:lnTo>
                      <a:pt x="238" y="398"/>
                    </a:lnTo>
                    <a:lnTo>
                      <a:pt x="256" y="385"/>
                    </a:lnTo>
                    <a:lnTo>
                      <a:pt x="260" y="376"/>
                    </a:lnTo>
                    <a:lnTo>
                      <a:pt x="264" y="368"/>
                    </a:lnTo>
                    <a:lnTo>
                      <a:pt x="264" y="43"/>
                    </a:lnTo>
                    <a:lnTo>
                      <a:pt x="264" y="43"/>
                    </a:lnTo>
                    <a:lnTo>
                      <a:pt x="260" y="34"/>
                    </a:lnTo>
                    <a:lnTo>
                      <a:pt x="256" y="26"/>
                    </a:lnTo>
                    <a:lnTo>
                      <a:pt x="238" y="13"/>
                    </a:lnTo>
                    <a:lnTo>
                      <a:pt x="217" y="4"/>
                    </a:lnTo>
                    <a:lnTo>
                      <a:pt x="182" y="0"/>
                    </a:lnTo>
                    <a:lnTo>
                      <a:pt x="182" y="0"/>
                    </a:lnTo>
                    <a:close/>
                    <a:moveTo>
                      <a:pt x="44" y="82"/>
                    </a:moveTo>
                    <a:lnTo>
                      <a:pt x="44" y="60"/>
                    </a:lnTo>
                    <a:lnTo>
                      <a:pt x="44" y="60"/>
                    </a:lnTo>
                    <a:lnTo>
                      <a:pt x="44" y="47"/>
                    </a:lnTo>
                    <a:lnTo>
                      <a:pt x="48" y="39"/>
                    </a:lnTo>
                    <a:lnTo>
                      <a:pt x="57" y="30"/>
                    </a:lnTo>
                    <a:lnTo>
                      <a:pt x="70" y="30"/>
                    </a:lnTo>
                    <a:lnTo>
                      <a:pt x="195" y="30"/>
                    </a:lnTo>
                    <a:lnTo>
                      <a:pt x="195" y="30"/>
                    </a:lnTo>
                    <a:lnTo>
                      <a:pt x="208" y="30"/>
                    </a:lnTo>
                    <a:lnTo>
                      <a:pt x="217" y="39"/>
                    </a:lnTo>
                    <a:lnTo>
                      <a:pt x="221" y="47"/>
                    </a:lnTo>
                    <a:lnTo>
                      <a:pt x="221" y="60"/>
                    </a:lnTo>
                    <a:lnTo>
                      <a:pt x="221" y="82"/>
                    </a:lnTo>
                    <a:lnTo>
                      <a:pt x="221" y="82"/>
                    </a:lnTo>
                    <a:lnTo>
                      <a:pt x="221" y="95"/>
                    </a:lnTo>
                    <a:lnTo>
                      <a:pt x="217" y="104"/>
                    </a:lnTo>
                    <a:lnTo>
                      <a:pt x="208" y="108"/>
                    </a:lnTo>
                    <a:lnTo>
                      <a:pt x="195" y="112"/>
                    </a:lnTo>
                    <a:lnTo>
                      <a:pt x="70" y="112"/>
                    </a:lnTo>
                    <a:lnTo>
                      <a:pt x="70" y="112"/>
                    </a:lnTo>
                    <a:lnTo>
                      <a:pt x="57" y="108"/>
                    </a:lnTo>
                    <a:lnTo>
                      <a:pt x="48" y="104"/>
                    </a:lnTo>
                    <a:lnTo>
                      <a:pt x="44" y="95"/>
                    </a:lnTo>
                    <a:lnTo>
                      <a:pt x="44" y="82"/>
                    </a:lnTo>
                    <a:lnTo>
                      <a:pt x="44" y="82"/>
                    </a:lnTo>
                    <a:close/>
                    <a:moveTo>
                      <a:pt x="225" y="147"/>
                    </a:moveTo>
                    <a:lnTo>
                      <a:pt x="225" y="160"/>
                    </a:lnTo>
                    <a:lnTo>
                      <a:pt x="225" y="160"/>
                    </a:lnTo>
                    <a:lnTo>
                      <a:pt x="221" y="169"/>
                    </a:lnTo>
                    <a:lnTo>
                      <a:pt x="212" y="173"/>
                    </a:lnTo>
                    <a:lnTo>
                      <a:pt x="165" y="173"/>
                    </a:lnTo>
                    <a:lnTo>
                      <a:pt x="165" y="173"/>
                    </a:lnTo>
                    <a:lnTo>
                      <a:pt x="160" y="169"/>
                    </a:lnTo>
                    <a:lnTo>
                      <a:pt x="156" y="160"/>
                    </a:lnTo>
                    <a:lnTo>
                      <a:pt x="156" y="147"/>
                    </a:lnTo>
                    <a:lnTo>
                      <a:pt x="156" y="147"/>
                    </a:lnTo>
                    <a:lnTo>
                      <a:pt x="160" y="143"/>
                    </a:lnTo>
                    <a:lnTo>
                      <a:pt x="165" y="138"/>
                    </a:lnTo>
                    <a:lnTo>
                      <a:pt x="212" y="138"/>
                    </a:lnTo>
                    <a:lnTo>
                      <a:pt x="212" y="138"/>
                    </a:lnTo>
                    <a:lnTo>
                      <a:pt x="221" y="143"/>
                    </a:lnTo>
                    <a:lnTo>
                      <a:pt x="225" y="147"/>
                    </a:lnTo>
                    <a:lnTo>
                      <a:pt x="225" y="147"/>
                    </a:lnTo>
                    <a:close/>
                    <a:moveTo>
                      <a:pt x="130" y="147"/>
                    </a:move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9"/>
                    </a:lnTo>
                    <a:lnTo>
                      <a:pt x="121" y="173"/>
                    </a:lnTo>
                    <a:lnTo>
                      <a:pt x="70" y="173"/>
                    </a:lnTo>
                    <a:lnTo>
                      <a:pt x="70" y="173"/>
                    </a:lnTo>
                    <a:lnTo>
                      <a:pt x="65" y="169"/>
                    </a:lnTo>
                    <a:lnTo>
                      <a:pt x="61" y="160"/>
                    </a:lnTo>
                    <a:lnTo>
                      <a:pt x="61" y="147"/>
                    </a:lnTo>
                    <a:lnTo>
                      <a:pt x="61" y="147"/>
                    </a:lnTo>
                    <a:lnTo>
                      <a:pt x="65" y="143"/>
                    </a:lnTo>
                    <a:lnTo>
                      <a:pt x="70" y="138"/>
                    </a:lnTo>
                    <a:lnTo>
                      <a:pt x="121" y="138"/>
                    </a:lnTo>
                    <a:lnTo>
                      <a:pt x="121" y="138"/>
                    </a:lnTo>
                    <a:lnTo>
                      <a:pt x="130" y="143"/>
                    </a:lnTo>
                    <a:lnTo>
                      <a:pt x="130" y="147"/>
                    </a:lnTo>
                    <a:lnTo>
                      <a:pt x="130" y="147"/>
                    </a:lnTo>
                    <a:close/>
                    <a:moveTo>
                      <a:pt x="83" y="359"/>
                    </a:moveTo>
                    <a:lnTo>
                      <a:pt x="83" y="359"/>
                    </a:lnTo>
                    <a:lnTo>
                      <a:pt x="74" y="359"/>
                    </a:lnTo>
                    <a:lnTo>
                      <a:pt x="65" y="355"/>
                    </a:lnTo>
                    <a:lnTo>
                      <a:pt x="61" y="346"/>
                    </a:lnTo>
                    <a:lnTo>
                      <a:pt x="57" y="337"/>
                    </a:lnTo>
                    <a:lnTo>
                      <a:pt x="57" y="337"/>
                    </a:lnTo>
                    <a:lnTo>
                      <a:pt x="61" y="324"/>
                    </a:lnTo>
                    <a:lnTo>
                      <a:pt x="65" y="320"/>
                    </a:lnTo>
                    <a:lnTo>
                      <a:pt x="74" y="312"/>
                    </a:lnTo>
                    <a:lnTo>
                      <a:pt x="83" y="312"/>
                    </a:lnTo>
                    <a:lnTo>
                      <a:pt x="83" y="312"/>
                    </a:lnTo>
                    <a:lnTo>
                      <a:pt x="91" y="312"/>
                    </a:lnTo>
                    <a:lnTo>
                      <a:pt x="100" y="320"/>
                    </a:lnTo>
                    <a:lnTo>
                      <a:pt x="104" y="324"/>
                    </a:lnTo>
                    <a:lnTo>
                      <a:pt x="104" y="337"/>
                    </a:lnTo>
                    <a:lnTo>
                      <a:pt x="104" y="337"/>
                    </a:lnTo>
                    <a:lnTo>
                      <a:pt x="104" y="346"/>
                    </a:lnTo>
                    <a:lnTo>
                      <a:pt x="100" y="355"/>
                    </a:lnTo>
                    <a:lnTo>
                      <a:pt x="91" y="359"/>
                    </a:lnTo>
                    <a:lnTo>
                      <a:pt x="83" y="359"/>
                    </a:lnTo>
                    <a:lnTo>
                      <a:pt x="83" y="359"/>
                    </a:lnTo>
                    <a:close/>
                    <a:moveTo>
                      <a:pt x="83" y="299"/>
                    </a:moveTo>
                    <a:lnTo>
                      <a:pt x="83" y="299"/>
                    </a:lnTo>
                    <a:lnTo>
                      <a:pt x="74" y="294"/>
                    </a:lnTo>
                    <a:lnTo>
                      <a:pt x="65" y="290"/>
                    </a:lnTo>
                    <a:lnTo>
                      <a:pt x="61" y="281"/>
                    </a:lnTo>
                    <a:lnTo>
                      <a:pt x="57" y="273"/>
                    </a:lnTo>
                    <a:lnTo>
                      <a:pt x="57" y="273"/>
                    </a:lnTo>
                    <a:lnTo>
                      <a:pt x="61" y="264"/>
                    </a:lnTo>
                    <a:lnTo>
                      <a:pt x="65" y="255"/>
                    </a:lnTo>
                    <a:lnTo>
                      <a:pt x="74" y="251"/>
                    </a:lnTo>
                    <a:lnTo>
                      <a:pt x="83" y="247"/>
                    </a:lnTo>
                    <a:lnTo>
                      <a:pt x="83" y="247"/>
                    </a:lnTo>
                    <a:lnTo>
                      <a:pt x="91" y="251"/>
                    </a:lnTo>
                    <a:lnTo>
                      <a:pt x="100" y="255"/>
                    </a:lnTo>
                    <a:lnTo>
                      <a:pt x="104" y="264"/>
                    </a:lnTo>
                    <a:lnTo>
                      <a:pt x="104" y="273"/>
                    </a:lnTo>
                    <a:lnTo>
                      <a:pt x="104" y="273"/>
                    </a:lnTo>
                    <a:lnTo>
                      <a:pt x="104" y="281"/>
                    </a:lnTo>
                    <a:lnTo>
                      <a:pt x="100" y="290"/>
                    </a:lnTo>
                    <a:lnTo>
                      <a:pt x="91" y="294"/>
                    </a:lnTo>
                    <a:lnTo>
                      <a:pt x="83" y="299"/>
                    </a:lnTo>
                    <a:lnTo>
                      <a:pt x="83" y="299"/>
                    </a:lnTo>
                    <a:close/>
                    <a:moveTo>
                      <a:pt x="83" y="238"/>
                    </a:moveTo>
                    <a:lnTo>
                      <a:pt x="83" y="238"/>
                    </a:lnTo>
                    <a:lnTo>
                      <a:pt x="74" y="238"/>
                    </a:lnTo>
                    <a:lnTo>
                      <a:pt x="65" y="234"/>
                    </a:lnTo>
                    <a:lnTo>
                      <a:pt x="61" y="225"/>
                    </a:lnTo>
                    <a:lnTo>
                      <a:pt x="57" y="216"/>
                    </a:lnTo>
                    <a:lnTo>
                      <a:pt x="57" y="216"/>
                    </a:lnTo>
                    <a:lnTo>
                      <a:pt x="61" y="208"/>
                    </a:lnTo>
                    <a:lnTo>
                      <a:pt x="65" y="199"/>
                    </a:lnTo>
                    <a:lnTo>
                      <a:pt x="74" y="195"/>
                    </a:lnTo>
                    <a:lnTo>
                      <a:pt x="83" y="190"/>
                    </a:lnTo>
                    <a:lnTo>
                      <a:pt x="83" y="190"/>
                    </a:lnTo>
                    <a:lnTo>
                      <a:pt x="91" y="195"/>
                    </a:lnTo>
                    <a:lnTo>
                      <a:pt x="100" y="199"/>
                    </a:lnTo>
                    <a:lnTo>
                      <a:pt x="104" y="208"/>
                    </a:lnTo>
                    <a:lnTo>
                      <a:pt x="104" y="216"/>
                    </a:lnTo>
                    <a:lnTo>
                      <a:pt x="104" y="216"/>
                    </a:lnTo>
                    <a:lnTo>
                      <a:pt x="104" y="225"/>
                    </a:lnTo>
                    <a:lnTo>
                      <a:pt x="100" y="234"/>
                    </a:lnTo>
                    <a:lnTo>
                      <a:pt x="91" y="238"/>
                    </a:lnTo>
                    <a:lnTo>
                      <a:pt x="83" y="238"/>
                    </a:lnTo>
                    <a:lnTo>
                      <a:pt x="83" y="238"/>
                    </a:lnTo>
                    <a:close/>
                    <a:moveTo>
                      <a:pt x="143" y="359"/>
                    </a:moveTo>
                    <a:lnTo>
                      <a:pt x="143" y="359"/>
                    </a:lnTo>
                    <a:lnTo>
                      <a:pt x="130" y="359"/>
                    </a:lnTo>
                    <a:lnTo>
                      <a:pt x="126" y="355"/>
                    </a:lnTo>
                    <a:lnTo>
                      <a:pt x="121" y="346"/>
                    </a:lnTo>
                    <a:lnTo>
                      <a:pt x="117" y="337"/>
                    </a:lnTo>
                    <a:lnTo>
                      <a:pt x="117" y="337"/>
                    </a:lnTo>
                    <a:lnTo>
                      <a:pt x="121" y="324"/>
                    </a:lnTo>
                    <a:lnTo>
                      <a:pt x="126" y="320"/>
                    </a:lnTo>
                    <a:lnTo>
                      <a:pt x="130" y="312"/>
                    </a:lnTo>
                    <a:lnTo>
                      <a:pt x="143" y="312"/>
                    </a:lnTo>
                    <a:lnTo>
                      <a:pt x="143" y="312"/>
                    </a:lnTo>
                    <a:lnTo>
                      <a:pt x="152" y="312"/>
                    </a:lnTo>
                    <a:lnTo>
                      <a:pt x="160" y="320"/>
                    </a:lnTo>
                    <a:lnTo>
                      <a:pt x="165" y="324"/>
                    </a:lnTo>
                    <a:lnTo>
                      <a:pt x="165" y="337"/>
                    </a:lnTo>
                    <a:lnTo>
                      <a:pt x="165" y="337"/>
                    </a:lnTo>
                    <a:lnTo>
                      <a:pt x="165" y="346"/>
                    </a:lnTo>
                    <a:lnTo>
                      <a:pt x="160" y="355"/>
                    </a:lnTo>
                    <a:lnTo>
                      <a:pt x="152" y="359"/>
                    </a:lnTo>
                    <a:lnTo>
                      <a:pt x="143" y="359"/>
                    </a:lnTo>
                    <a:lnTo>
                      <a:pt x="143" y="359"/>
                    </a:lnTo>
                    <a:close/>
                    <a:moveTo>
                      <a:pt x="143" y="299"/>
                    </a:moveTo>
                    <a:lnTo>
                      <a:pt x="143" y="299"/>
                    </a:lnTo>
                    <a:lnTo>
                      <a:pt x="130" y="294"/>
                    </a:lnTo>
                    <a:lnTo>
                      <a:pt x="126" y="290"/>
                    </a:lnTo>
                    <a:lnTo>
                      <a:pt x="121" y="281"/>
                    </a:lnTo>
                    <a:lnTo>
                      <a:pt x="117" y="273"/>
                    </a:lnTo>
                    <a:lnTo>
                      <a:pt x="117" y="273"/>
                    </a:lnTo>
                    <a:lnTo>
                      <a:pt x="121" y="264"/>
                    </a:lnTo>
                    <a:lnTo>
                      <a:pt x="126" y="255"/>
                    </a:lnTo>
                    <a:lnTo>
                      <a:pt x="130" y="251"/>
                    </a:lnTo>
                    <a:lnTo>
                      <a:pt x="143" y="247"/>
                    </a:lnTo>
                    <a:lnTo>
                      <a:pt x="143" y="247"/>
                    </a:lnTo>
                    <a:lnTo>
                      <a:pt x="152" y="251"/>
                    </a:lnTo>
                    <a:lnTo>
                      <a:pt x="160" y="255"/>
                    </a:lnTo>
                    <a:lnTo>
                      <a:pt x="165" y="264"/>
                    </a:lnTo>
                    <a:lnTo>
                      <a:pt x="165" y="273"/>
                    </a:lnTo>
                    <a:lnTo>
                      <a:pt x="165" y="273"/>
                    </a:lnTo>
                    <a:lnTo>
                      <a:pt x="165" y="281"/>
                    </a:lnTo>
                    <a:lnTo>
                      <a:pt x="160" y="290"/>
                    </a:lnTo>
                    <a:lnTo>
                      <a:pt x="152" y="294"/>
                    </a:lnTo>
                    <a:lnTo>
                      <a:pt x="143" y="299"/>
                    </a:lnTo>
                    <a:lnTo>
                      <a:pt x="143" y="299"/>
                    </a:lnTo>
                    <a:close/>
                    <a:moveTo>
                      <a:pt x="143" y="238"/>
                    </a:moveTo>
                    <a:lnTo>
                      <a:pt x="143" y="238"/>
                    </a:lnTo>
                    <a:lnTo>
                      <a:pt x="130" y="238"/>
                    </a:lnTo>
                    <a:lnTo>
                      <a:pt x="126" y="234"/>
                    </a:lnTo>
                    <a:lnTo>
                      <a:pt x="121" y="225"/>
                    </a:lnTo>
                    <a:lnTo>
                      <a:pt x="117" y="216"/>
                    </a:lnTo>
                    <a:lnTo>
                      <a:pt x="117" y="216"/>
                    </a:lnTo>
                    <a:lnTo>
                      <a:pt x="121" y="208"/>
                    </a:lnTo>
                    <a:lnTo>
                      <a:pt x="126" y="199"/>
                    </a:lnTo>
                    <a:lnTo>
                      <a:pt x="130" y="195"/>
                    </a:lnTo>
                    <a:lnTo>
                      <a:pt x="143" y="190"/>
                    </a:lnTo>
                    <a:lnTo>
                      <a:pt x="143" y="190"/>
                    </a:lnTo>
                    <a:lnTo>
                      <a:pt x="152" y="195"/>
                    </a:lnTo>
                    <a:lnTo>
                      <a:pt x="160" y="199"/>
                    </a:lnTo>
                    <a:lnTo>
                      <a:pt x="165" y="208"/>
                    </a:lnTo>
                    <a:lnTo>
                      <a:pt x="165" y="216"/>
                    </a:lnTo>
                    <a:lnTo>
                      <a:pt x="165" y="216"/>
                    </a:lnTo>
                    <a:lnTo>
                      <a:pt x="165" y="225"/>
                    </a:lnTo>
                    <a:lnTo>
                      <a:pt x="160" y="234"/>
                    </a:lnTo>
                    <a:lnTo>
                      <a:pt x="152" y="238"/>
                    </a:lnTo>
                    <a:lnTo>
                      <a:pt x="143" y="238"/>
                    </a:lnTo>
                    <a:lnTo>
                      <a:pt x="143" y="238"/>
                    </a:lnTo>
                    <a:close/>
                    <a:moveTo>
                      <a:pt x="204" y="359"/>
                    </a:moveTo>
                    <a:lnTo>
                      <a:pt x="204" y="359"/>
                    </a:lnTo>
                    <a:lnTo>
                      <a:pt x="191" y="359"/>
                    </a:lnTo>
                    <a:lnTo>
                      <a:pt x="186" y="355"/>
                    </a:lnTo>
                    <a:lnTo>
                      <a:pt x="178" y="346"/>
                    </a:lnTo>
                    <a:lnTo>
                      <a:pt x="178" y="337"/>
                    </a:lnTo>
                    <a:lnTo>
                      <a:pt x="178" y="337"/>
                    </a:lnTo>
                    <a:lnTo>
                      <a:pt x="178" y="324"/>
                    </a:lnTo>
                    <a:lnTo>
                      <a:pt x="186" y="320"/>
                    </a:lnTo>
                    <a:lnTo>
                      <a:pt x="191" y="312"/>
                    </a:lnTo>
                    <a:lnTo>
                      <a:pt x="204" y="312"/>
                    </a:lnTo>
                    <a:lnTo>
                      <a:pt x="204" y="312"/>
                    </a:lnTo>
                    <a:lnTo>
                      <a:pt x="212" y="312"/>
                    </a:lnTo>
                    <a:lnTo>
                      <a:pt x="217" y="320"/>
                    </a:lnTo>
                    <a:lnTo>
                      <a:pt x="225" y="324"/>
                    </a:lnTo>
                    <a:lnTo>
                      <a:pt x="225" y="337"/>
                    </a:lnTo>
                    <a:lnTo>
                      <a:pt x="225" y="337"/>
                    </a:lnTo>
                    <a:lnTo>
                      <a:pt x="225" y="346"/>
                    </a:lnTo>
                    <a:lnTo>
                      <a:pt x="217" y="355"/>
                    </a:lnTo>
                    <a:lnTo>
                      <a:pt x="212" y="359"/>
                    </a:lnTo>
                    <a:lnTo>
                      <a:pt x="204" y="359"/>
                    </a:lnTo>
                    <a:lnTo>
                      <a:pt x="204" y="359"/>
                    </a:lnTo>
                    <a:close/>
                    <a:moveTo>
                      <a:pt x="204" y="299"/>
                    </a:moveTo>
                    <a:lnTo>
                      <a:pt x="204" y="299"/>
                    </a:lnTo>
                    <a:lnTo>
                      <a:pt x="191" y="294"/>
                    </a:lnTo>
                    <a:lnTo>
                      <a:pt x="186" y="290"/>
                    </a:lnTo>
                    <a:lnTo>
                      <a:pt x="178" y="281"/>
                    </a:lnTo>
                    <a:lnTo>
                      <a:pt x="178" y="273"/>
                    </a:lnTo>
                    <a:lnTo>
                      <a:pt x="178" y="273"/>
                    </a:lnTo>
                    <a:lnTo>
                      <a:pt x="178" y="264"/>
                    </a:lnTo>
                    <a:lnTo>
                      <a:pt x="186" y="255"/>
                    </a:lnTo>
                    <a:lnTo>
                      <a:pt x="191" y="251"/>
                    </a:lnTo>
                    <a:lnTo>
                      <a:pt x="204" y="247"/>
                    </a:lnTo>
                    <a:lnTo>
                      <a:pt x="204" y="247"/>
                    </a:lnTo>
                    <a:lnTo>
                      <a:pt x="212" y="251"/>
                    </a:lnTo>
                    <a:lnTo>
                      <a:pt x="217" y="255"/>
                    </a:lnTo>
                    <a:lnTo>
                      <a:pt x="225" y="264"/>
                    </a:lnTo>
                    <a:lnTo>
                      <a:pt x="225" y="273"/>
                    </a:lnTo>
                    <a:lnTo>
                      <a:pt x="225" y="273"/>
                    </a:lnTo>
                    <a:lnTo>
                      <a:pt x="225" y="281"/>
                    </a:lnTo>
                    <a:lnTo>
                      <a:pt x="217" y="290"/>
                    </a:lnTo>
                    <a:lnTo>
                      <a:pt x="212" y="294"/>
                    </a:lnTo>
                    <a:lnTo>
                      <a:pt x="204" y="299"/>
                    </a:lnTo>
                    <a:lnTo>
                      <a:pt x="204" y="299"/>
                    </a:lnTo>
                    <a:close/>
                    <a:moveTo>
                      <a:pt x="204" y="238"/>
                    </a:moveTo>
                    <a:lnTo>
                      <a:pt x="204" y="238"/>
                    </a:lnTo>
                    <a:lnTo>
                      <a:pt x="191" y="238"/>
                    </a:lnTo>
                    <a:lnTo>
                      <a:pt x="186" y="234"/>
                    </a:lnTo>
                    <a:lnTo>
                      <a:pt x="178" y="225"/>
                    </a:lnTo>
                    <a:lnTo>
                      <a:pt x="178" y="216"/>
                    </a:lnTo>
                    <a:lnTo>
                      <a:pt x="178" y="216"/>
                    </a:lnTo>
                    <a:lnTo>
                      <a:pt x="178" y="208"/>
                    </a:lnTo>
                    <a:lnTo>
                      <a:pt x="186" y="199"/>
                    </a:lnTo>
                    <a:lnTo>
                      <a:pt x="191" y="195"/>
                    </a:lnTo>
                    <a:lnTo>
                      <a:pt x="204" y="190"/>
                    </a:lnTo>
                    <a:lnTo>
                      <a:pt x="204" y="190"/>
                    </a:lnTo>
                    <a:lnTo>
                      <a:pt x="212" y="195"/>
                    </a:lnTo>
                    <a:lnTo>
                      <a:pt x="217" y="199"/>
                    </a:lnTo>
                    <a:lnTo>
                      <a:pt x="225" y="208"/>
                    </a:lnTo>
                    <a:lnTo>
                      <a:pt x="225" y="216"/>
                    </a:lnTo>
                    <a:lnTo>
                      <a:pt x="225" y="216"/>
                    </a:lnTo>
                    <a:lnTo>
                      <a:pt x="225" y="225"/>
                    </a:lnTo>
                    <a:lnTo>
                      <a:pt x="217" y="234"/>
                    </a:lnTo>
                    <a:lnTo>
                      <a:pt x="212" y="238"/>
                    </a:lnTo>
                    <a:lnTo>
                      <a:pt x="204" y="238"/>
                    </a:lnTo>
                    <a:lnTo>
                      <a:pt x="204" y="2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4" name="Freeform 21"/>
              <p:cNvSpPr>
                <a:spLocks noEditPoints="1"/>
              </p:cNvSpPr>
              <p:nvPr/>
            </p:nvSpPr>
            <p:spPr bwMode="auto">
              <a:xfrm>
                <a:off x="15578138" y="1463675"/>
                <a:ext cx="212725" cy="687388"/>
              </a:xfrm>
              <a:custGeom>
                <a:avLst/>
                <a:gdLst/>
                <a:ahLst/>
                <a:cxnLst>
                  <a:cxn ang="0">
                    <a:pos x="130" y="0"/>
                  </a:cxn>
                  <a:cxn ang="0">
                    <a:pos x="130" y="0"/>
                  </a:cxn>
                  <a:cxn ang="0">
                    <a:pos x="69" y="0"/>
                  </a:cxn>
                  <a:cxn ang="0">
                    <a:pos x="69" y="0"/>
                  </a:cxn>
                  <a:cxn ang="0">
                    <a:pos x="26" y="0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0" y="82"/>
                  </a:cxn>
                  <a:cxn ang="0">
                    <a:pos x="0" y="346"/>
                  </a:cxn>
                  <a:cxn ang="0">
                    <a:pos x="0" y="346"/>
                  </a:cxn>
                  <a:cxn ang="0">
                    <a:pos x="4" y="403"/>
                  </a:cxn>
                  <a:cxn ang="0">
                    <a:pos x="4" y="429"/>
                  </a:cxn>
                  <a:cxn ang="0">
                    <a:pos x="4" y="429"/>
                  </a:cxn>
                  <a:cxn ang="0">
                    <a:pos x="69" y="433"/>
                  </a:cxn>
                  <a:cxn ang="0">
                    <a:pos x="69" y="433"/>
                  </a:cxn>
                  <a:cxn ang="0">
                    <a:pos x="112" y="429"/>
                  </a:cxn>
                  <a:cxn ang="0">
                    <a:pos x="130" y="429"/>
                  </a:cxn>
                  <a:cxn ang="0">
                    <a:pos x="130" y="429"/>
                  </a:cxn>
                  <a:cxn ang="0">
                    <a:pos x="134" y="346"/>
                  </a:cxn>
                  <a:cxn ang="0">
                    <a:pos x="134" y="82"/>
                  </a:cxn>
                  <a:cxn ang="0">
                    <a:pos x="134" y="82"/>
                  </a:cxn>
                  <a:cxn ang="0">
                    <a:pos x="134" y="26"/>
                  </a:cxn>
                  <a:cxn ang="0">
                    <a:pos x="130" y="0"/>
                  </a:cxn>
                  <a:cxn ang="0">
                    <a:pos x="130" y="0"/>
                  </a:cxn>
                  <a:cxn ang="0">
                    <a:pos x="99" y="199"/>
                  </a:cxn>
                  <a:cxn ang="0">
                    <a:pos x="39" y="199"/>
                  </a:cxn>
                  <a:cxn ang="0">
                    <a:pos x="39" y="199"/>
                  </a:cxn>
                  <a:cxn ang="0">
                    <a:pos x="30" y="195"/>
                  </a:cxn>
                  <a:cxn ang="0">
                    <a:pos x="26" y="186"/>
                  </a:cxn>
                  <a:cxn ang="0">
                    <a:pos x="26" y="186"/>
                  </a:cxn>
                  <a:cxn ang="0">
                    <a:pos x="30" y="178"/>
                  </a:cxn>
                  <a:cxn ang="0">
                    <a:pos x="39" y="178"/>
                  </a:cxn>
                  <a:cxn ang="0">
                    <a:pos x="99" y="178"/>
                  </a:cxn>
                  <a:cxn ang="0">
                    <a:pos x="99" y="178"/>
                  </a:cxn>
                  <a:cxn ang="0">
                    <a:pos x="108" y="178"/>
                  </a:cxn>
                  <a:cxn ang="0">
                    <a:pos x="112" y="186"/>
                  </a:cxn>
                  <a:cxn ang="0">
                    <a:pos x="112" y="186"/>
                  </a:cxn>
                  <a:cxn ang="0">
                    <a:pos x="108" y="195"/>
                  </a:cxn>
                  <a:cxn ang="0">
                    <a:pos x="99" y="199"/>
                  </a:cxn>
                  <a:cxn ang="0">
                    <a:pos x="99" y="199"/>
                  </a:cxn>
                  <a:cxn ang="0">
                    <a:pos x="99" y="165"/>
                  </a:cxn>
                  <a:cxn ang="0">
                    <a:pos x="39" y="165"/>
                  </a:cxn>
                  <a:cxn ang="0">
                    <a:pos x="39" y="165"/>
                  </a:cxn>
                  <a:cxn ang="0">
                    <a:pos x="30" y="160"/>
                  </a:cxn>
                  <a:cxn ang="0">
                    <a:pos x="26" y="152"/>
                  </a:cxn>
                  <a:cxn ang="0">
                    <a:pos x="26" y="152"/>
                  </a:cxn>
                  <a:cxn ang="0">
                    <a:pos x="30" y="143"/>
                  </a:cxn>
                  <a:cxn ang="0">
                    <a:pos x="39" y="139"/>
                  </a:cxn>
                  <a:cxn ang="0">
                    <a:pos x="99" y="139"/>
                  </a:cxn>
                  <a:cxn ang="0">
                    <a:pos x="99" y="139"/>
                  </a:cxn>
                  <a:cxn ang="0">
                    <a:pos x="108" y="143"/>
                  </a:cxn>
                  <a:cxn ang="0">
                    <a:pos x="112" y="152"/>
                  </a:cxn>
                  <a:cxn ang="0">
                    <a:pos x="112" y="152"/>
                  </a:cxn>
                  <a:cxn ang="0">
                    <a:pos x="108" y="160"/>
                  </a:cxn>
                  <a:cxn ang="0">
                    <a:pos x="99" y="165"/>
                  </a:cxn>
                  <a:cxn ang="0">
                    <a:pos x="99" y="165"/>
                  </a:cxn>
                </a:cxnLst>
                <a:rect l="0" t="0" r="r" b="b"/>
                <a:pathLst>
                  <a:path w="134" h="433">
                    <a:moveTo>
                      <a:pt x="130" y="0"/>
                    </a:moveTo>
                    <a:lnTo>
                      <a:pt x="130" y="0"/>
                    </a:lnTo>
                    <a:lnTo>
                      <a:pt x="69" y="0"/>
                    </a:lnTo>
                    <a:lnTo>
                      <a:pt x="69" y="0"/>
                    </a:lnTo>
                    <a:lnTo>
                      <a:pt x="26" y="0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82"/>
                    </a:lnTo>
                    <a:lnTo>
                      <a:pt x="0" y="346"/>
                    </a:lnTo>
                    <a:lnTo>
                      <a:pt x="0" y="346"/>
                    </a:lnTo>
                    <a:lnTo>
                      <a:pt x="4" y="403"/>
                    </a:lnTo>
                    <a:lnTo>
                      <a:pt x="4" y="429"/>
                    </a:lnTo>
                    <a:lnTo>
                      <a:pt x="4" y="429"/>
                    </a:lnTo>
                    <a:lnTo>
                      <a:pt x="69" y="433"/>
                    </a:lnTo>
                    <a:lnTo>
                      <a:pt x="69" y="433"/>
                    </a:lnTo>
                    <a:lnTo>
                      <a:pt x="112" y="429"/>
                    </a:lnTo>
                    <a:lnTo>
                      <a:pt x="130" y="429"/>
                    </a:lnTo>
                    <a:lnTo>
                      <a:pt x="130" y="429"/>
                    </a:lnTo>
                    <a:lnTo>
                      <a:pt x="134" y="346"/>
                    </a:lnTo>
                    <a:lnTo>
                      <a:pt x="134" y="82"/>
                    </a:lnTo>
                    <a:lnTo>
                      <a:pt x="134" y="82"/>
                    </a:lnTo>
                    <a:lnTo>
                      <a:pt x="134" y="26"/>
                    </a:lnTo>
                    <a:lnTo>
                      <a:pt x="130" y="0"/>
                    </a:lnTo>
                    <a:lnTo>
                      <a:pt x="130" y="0"/>
                    </a:lnTo>
                    <a:close/>
                    <a:moveTo>
                      <a:pt x="99" y="199"/>
                    </a:moveTo>
                    <a:lnTo>
                      <a:pt x="39" y="199"/>
                    </a:lnTo>
                    <a:lnTo>
                      <a:pt x="39" y="199"/>
                    </a:lnTo>
                    <a:lnTo>
                      <a:pt x="30" y="195"/>
                    </a:lnTo>
                    <a:lnTo>
                      <a:pt x="26" y="186"/>
                    </a:lnTo>
                    <a:lnTo>
                      <a:pt x="26" y="186"/>
                    </a:lnTo>
                    <a:lnTo>
                      <a:pt x="30" y="178"/>
                    </a:lnTo>
                    <a:lnTo>
                      <a:pt x="39" y="178"/>
                    </a:lnTo>
                    <a:lnTo>
                      <a:pt x="99" y="178"/>
                    </a:lnTo>
                    <a:lnTo>
                      <a:pt x="99" y="178"/>
                    </a:lnTo>
                    <a:lnTo>
                      <a:pt x="108" y="178"/>
                    </a:lnTo>
                    <a:lnTo>
                      <a:pt x="112" y="186"/>
                    </a:lnTo>
                    <a:lnTo>
                      <a:pt x="112" y="186"/>
                    </a:lnTo>
                    <a:lnTo>
                      <a:pt x="108" y="195"/>
                    </a:lnTo>
                    <a:lnTo>
                      <a:pt x="99" y="199"/>
                    </a:lnTo>
                    <a:lnTo>
                      <a:pt x="99" y="199"/>
                    </a:lnTo>
                    <a:close/>
                    <a:moveTo>
                      <a:pt x="99" y="165"/>
                    </a:moveTo>
                    <a:lnTo>
                      <a:pt x="39" y="165"/>
                    </a:lnTo>
                    <a:lnTo>
                      <a:pt x="39" y="165"/>
                    </a:lnTo>
                    <a:lnTo>
                      <a:pt x="30" y="160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30" y="143"/>
                    </a:lnTo>
                    <a:lnTo>
                      <a:pt x="39" y="139"/>
                    </a:lnTo>
                    <a:lnTo>
                      <a:pt x="99" y="139"/>
                    </a:lnTo>
                    <a:lnTo>
                      <a:pt x="99" y="139"/>
                    </a:lnTo>
                    <a:lnTo>
                      <a:pt x="108" y="143"/>
                    </a:lnTo>
                    <a:lnTo>
                      <a:pt x="112" y="152"/>
                    </a:lnTo>
                    <a:lnTo>
                      <a:pt x="112" y="152"/>
                    </a:lnTo>
                    <a:lnTo>
                      <a:pt x="108" y="160"/>
                    </a:lnTo>
                    <a:lnTo>
                      <a:pt x="99" y="165"/>
                    </a:lnTo>
                    <a:lnTo>
                      <a:pt x="99" y="16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2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261" name="矩形 260"/>
            <p:cNvSpPr/>
            <p:nvPr/>
          </p:nvSpPr>
          <p:spPr bwMode="auto">
            <a:xfrm>
              <a:off x="6262577" y="3019647"/>
              <a:ext cx="276446" cy="425302"/>
            </a:xfrm>
            <a:prstGeom prst="rect">
              <a:avLst/>
            </a:prstGeom>
            <a:solidFill>
              <a:srgbClr val="FFFFFF">
                <a:lumMod val="95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zh-CN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宋体" charset="-122"/>
                <a:cs typeface="Arial" pitchFamily="34" charset="0"/>
              </a:endParaRPr>
            </a:p>
          </p:txBody>
        </p:sp>
      </p:grpSp>
      <p:sp>
        <p:nvSpPr>
          <p:cNvPr id="21" name="Freeform 101"/>
          <p:cNvSpPr>
            <a:spLocks/>
          </p:cNvSpPr>
          <p:nvPr/>
        </p:nvSpPr>
        <p:spPr bwMode="auto">
          <a:xfrm>
            <a:off x="3476642" y="1047597"/>
            <a:ext cx="241936" cy="264682"/>
          </a:xfrm>
          <a:custGeom>
            <a:avLst/>
            <a:gdLst/>
            <a:ahLst/>
            <a:cxnLst>
              <a:cxn ang="0">
                <a:pos x="2492" y="12323"/>
              </a:cxn>
              <a:cxn ang="0">
                <a:pos x="1645" y="11392"/>
              </a:cxn>
              <a:cxn ang="0">
                <a:pos x="653" y="9759"/>
              </a:cxn>
              <a:cxn ang="0">
                <a:pos x="35" y="7484"/>
              </a:cxn>
              <a:cxn ang="0">
                <a:pos x="277" y="4744"/>
              </a:cxn>
              <a:cxn ang="0">
                <a:pos x="1170" y="2795"/>
              </a:cxn>
              <a:cxn ang="0">
                <a:pos x="2497" y="1408"/>
              </a:cxn>
              <a:cxn ang="0">
                <a:pos x="4091" y="520"/>
              </a:cxn>
              <a:cxn ang="0">
                <a:pos x="5781" y="72"/>
              </a:cxn>
              <a:cxn ang="0">
                <a:pos x="6294" y="6574"/>
              </a:cxn>
              <a:cxn ang="0">
                <a:pos x="5789" y="6443"/>
              </a:cxn>
              <a:cxn ang="0">
                <a:pos x="5441" y="6407"/>
              </a:cxn>
              <a:cxn ang="0">
                <a:pos x="4855" y="6442"/>
              </a:cxn>
              <a:cxn ang="0">
                <a:pos x="4119" y="6669"/>
              </a:cxn>
              <a:cxn ang="0">
                <a:pos x="3531" y="7068"/>
              </a:cxn>
              <a:cxn ang="0">
                <a:pos x="3141" y="7599"/>
              </a:cxn>
              <a:cxn ang="0">
                <a:pos x="2999" y="8223"/>
              </a:cxn>
              <a:cxn ang="0">
                <a:pos x="3141" y="8847"/>
              </a:cxn>
              <a:cxn ang="0">
                <a:pos x="3531" y="9378"/>
              </a:cxn>
              <a:cxn ang="0">
                <a:pos x="4119" y="9777"/>
              </a:cxn>
              <a:cxn ang="0">
                <a:pos x="4855" y="10003"/>
              </a:cxn>
              <a:cxn ang="0">
                <a:pos x="5498" y="10036"/>
              </a:cxn>
              <a:cxn ang="0">
                <a:pos x="5893" y="9985"/>
              </a:cxn>
              <a:cxn ang="0">
                <a:pos x="6263" y="9884"/>
              </a:cxn>
              <a:cxn ang="0">
                <a:pos x="6602" y="9738"/>
              </a:cxn>
              <a:cxn ang="0">
                <a:pos x="6904" y="9551"/>
              </a:cxn>
              <a:cxn ang="0">
                <a:pos x="10896" y="12983"/>
              </a:cxn>
              <a:cxn ang="0">
                <a:pos x="11091" y="13043"/>
              </a:cxn>
              <a:cxn ang="0">
                <a:pos x="11290" y="13035"/>
              </a:cxn>
              <a:cxn ang="0">
                <a:pos x="11478" y="12961"/>
              </a:cxn>
              <a:cxn ang="0">
                <a:pos x="11636" y="12822"/>
              </a:cxn>
              <a:cxn ang="0">
                <a:pos x="11735" y="12640"/>
              </a:cxn>
              <a:cxn ang="0">
                <a:pos x="11765" y="12441"/>
              </a:cxn>
              <a:cxn ang="0">
                <a:pos x="11728" y="12243"/>
              </a:cxn>
              <a:cxn ang="0">
                <a:pos x="11626" y="12066"/>
              </a:cxn>
              <a:cxn ang="0">
                <a:pos x="7806" y="45"/>
              </a:cxn>
              <a:cxn ang="0">
                <a:pos x="8197" y="107"/>
              </a:cxn>
              <a:cxn ang="0">
                <a:pos x="8563" y="193"/>
              </a:cxn>
              <a:cxn ang="0">
                <a:pos x="10142" y="800"/>
              </a:cxn>
              <a:cxn ang="0">
                <a:pos x="11503" y="1647"/>
              </a:cxn>
              <a:cxn ang="0">
                <a:pos x="12558" y="2629"/>
              </a:cxn>
              <a:cxn ang="0">
                <a:pos x="13222" y="3643"/>
              </a:cxn>
              <a:cxn ang="0">
                <a:pos x="13461" y="4588"/>
              </a:cxn>
              <a:cxn ang="0">
                <a:pos x="13651" y="5432"/>
              </a:cxn>
              <a:cxn ang="0">
                <a:pos x="13864" y="6186"/>
              </a:cxn>
              <a:cxn ang="0">
                <a:pos x="14202" y="7219"/>
              </a:cxn>
              <a:cxn ang="0">
                <a:pos x="14463" y="7967"/>
              </a:cxn>
              <a:cxn ang="0">
                <a:pos x="14725" y="8527"/>
              </a:cxn>
              <a:cxn ang="0">
                <a:pos x="15117" y="9290"/>
              </a:cxn>
              <a:cxn ang="0">
                <a:pos x="15260" y="9644"/>
              </a:cxn>
              <a:cxn ang="0">
                <a:pos x="15311" y="10035"/>
              </a:cxn>
              <a:cxn ang="0">
                <a:pos x="15294" y="10277"/>
              </a:cxn>
              <a:cxn ang="0">
                <a:pos x="15191" y="10499"/>
              </a:cxn>
              <a:cxn ang="0">
                <a:pos x="14959" y="10686"/>
              </a:cxn>
              <a:cxn ang="0">
                <a:pos x="14340" y="10951"/>
              </a:cxn>
              <a:cxn ang="0">
                <a:pos x="13776" y="11191"/>
              </a:cxn>
              <a:cxn ang="0">
                <a:pos x="13560" y="13730"/>
              </a:cxn>
              <a:cxn ang="0">
                <a:pos x="13409" y="14131"/>
              </a:cxn>
              <a:cxn ang="0">
                <a:pos x="13175" y="14548"/>
              </a:cxn>
              <a:cxn ang="0">
                <a:pos x="12832" y="14893"/>
              </a:cxn>
              <a:cxn ang="0">
                <a:pos x="12368" y="15027"/>
              </a:cxn>
              <a:cxn ang="0">
                <a:pos x="11605" y="15073"/>
              </a:cxn>
              <a:cxn ang="0">
                <a:pos x="10280" y="15102"/>
              </a:cxn>
            </a:cxnLst>
            <a:rect l="0" t="0" r="r" b="b"/>
            <a:pathLst>
              <a:path w="15312" h="16211">
                <a:moveTo>
                  <a:pt x="2724" y="15240"/>
                </a:moveTo>
                <a:lnTo>
                  <a:pt x="2724" y="12525"/>
                </a:lnTo>
                <a:lnTo>
                  <a:pt x="2714" y="12517"/>
                </a:lnTo>
                <a:lnTo>
                  <a:pt x="2684" y="12493"/>
                </a:lnTo>
                <a:lnTo>
                  <a:pt x="2636" y="12452"/>
                </a:lnTo>
                <a:lnTo>
                  <a:pt x="2572" y="12395"/>
                </a:lnTo>
                <a:lnTo>
                  <a:pt x="2492" y="12323"/>
                </a:lnTo>
                <a:lnTo>
                  <a:pt x="2400" y="12235"/>
                </a:lnTo>
                <a:lnTo>
                  <a:pt x="2295" y="12133"/>
                </a:lnTo>
                <a:lnTo>
                  <a:pt x="2179" y="12014"/>
                </a:lnTo>
                <a:lnTo>
                  <a:pt x="2056" y="11881"/>
                </a:lnTo>
                <a:lnTo>
                  <a:pt x="1924" y="11733"/>
                </a:lnTo>
                <a:lnTo>
                  <a:pt x="1787" y="11570"/>
                </a:lnTo>
                <a:lnTo>
                  <a:pt x="1645" y="11392"/>
                </a:lnTo>
                <a:lnTo>
                  <a:pt x="1500" y="11201"/>
                </a:lnTo>
                <a:lnTo>
                  <a:pt x="1353" y="10995"/>
                </a:lnTo>
                <a:lnTo>
                  <a:pt x="1208" y="10775"/>
                </a:lnTo>
                <a:lnTo>
                  <a:pt x="1063" y="10541"/>
                </a:lnTo>
                <a:lnTo>
                  <a:pt x="921" y="10294"/>
                </a:lnTo>
                <a:lnTo>
                  <a:pt x="785" y="10034"/>
                </a:lnTo>
                <a:lnTo>
                  <a:pt x="653" y="9759"/>
                </a:lnTo>
                <a:lnTo>
                  <a:pt x="530" y="9472"/>
                </a:lnTo>
                <a:lnTo>
                  <a:pt x="416" y="9172"/>
                </a:lnTo>
                <a:lnTo>
                  <a:pt x="313" y="8859"/>
                </a:lnTo>
                <a:lnTo>
                  <a:pt x="222" y="8534"/>
                </a:lnTo>
                <a:lnTo>
                  <a:pt x="144" y="8197"/>
                </a:lnTo>
                <a:lnTo>
                  <a:pt x="81" y="7846"/>
                </a:lnTo>
                <a:lnTo>
                  <a:pt x="35" y="7484"/>
                </a:lnTo>
                <a:lnTo>
                  <a:pt x="8" y="7111"/>
                </a:lnTo>
                <a:lnTo>
                  <a:pt x="0" y="6726"/>
                </a:lnTo>
                <a:lnTo>
                  <a:pt x="13" y="6328"/>
                </a:lnTo>
                <a:lnTo>
                  <a:pt x="49" y="5920"/>
                </a:lnTo>
                <a:lnTo>
                  <a:pt x="109" y="5502"/>
                </a:lnTo>
                <a:lnTo>
                  <a:pt x="195" y="5071"/>
                </a:lnTo>
                <a:lnTo>
                  <a:pt x="277" y="4744"/>
                </a:lnTo>
                <a:lnTo>
                  <a:pt x="372" y="4429"/>
                </a:lnTo>
                <a:lnTo>
                  <a:pt x="478" y="4127"/>
                </a:lnTo>
                <a:lnTo>
                  <a:pt x="596" y="3836"/>
                </a:lnTo>
                <a:lnTo>
                  <a:pt x="725" y="3558"/>
                </a:lnTo>
                <a:lnTo>
                  <a:pt x="863" y="3293"/>
                </a:lnTo>
                <a:lnTo>
                  <a:pt x="1012" y="3039"/>
                </a:lnTo>
                <a:lnTo>
                  <a:pt x="1170" y="2795"/>
                </a:lnTo>
                <a:lnTo>
                  <a:pt x="1337" y="2564"/>
                </a:lnTo>
                <a:lnTo>
                  <a:pt x="1512" y="2345"/>
                </a:lnTo>
                <a:lnTo>
                  <a:pt x="1696" y="2136"/>
                </a:lnTo>
                <a:lnTo>
                  <a:pt x="1886" y="1938"/>
                </a:lnTo>
                <a:lnTo>
                  <a:pt x="2084" y="1751"/>
                </a:lnTo>
                <a:lnTo>
                  <a:pt x="2288" y="1574"/>
                </a:lnTo>
                <a:lnTo>
                  <a:pt x="2497" y="1408"/>
                </a:lnTo>
                <a:lnTo>
                  <a:pt x="2713" y="1252"/>
                </a:lnTo>
                <a:lnTo>
                  <a:pt x="2934" y="1106"/>
                </a:lnTo>
                <a:lnTo>
                  <a:pt x="3157" y="970"/>
                </a:lnTo>
                <a:lnTo>
                  <a:pt x="3386" y="843"/>
                </a:lnTo>
                <a:lnTo>
                  <a:pt x="3619" y="726"/>
                </a:lnTo>
                <a:lnTo>
                  <a:pt x="3854" y="618"/>
                </a:lnTo>
                <a:lnTo>
                  <a:pt x="4091" y="520"/>
                </a:lnTo>
                <a:lnTo>
                  <a:pt x="4331" y="431"/>
                </a:lnTo>
                <a:lnTo>
                  <a:pt x="4572" y="350"/>
                </a:lnTo>
                <a:lnTo>
                  <a:pt x="4813" y="278"/>
                </a:lnTo>
                <a:lnTo>
                  <a:pt x="5056" y="214"/>
                </a:lnTo>
                <a:lnTo>
                  <a:pt x="5298" y="159"/>
                </a:lnTo>
                <a:lnTo>
                  <a:pt x="5540" y="111"/>
                </a:lnTo>
                <a:lnTo>
                  <a:pt x="5781" y="72"/>
                </a:lnTo>
                <a:lnTo>
                  <a:pt x="6021" y="41"/>
                </a:lnTo>
                <a:lnTo>
                  <a:pt x="6259" y="16"/>
                </a:lnTo>
                <a:lnTo>
                  <a:pt x="6494" y="0"/>
                </a:lnTo>
                <a:lnTo>
                  <a:pt x="6494" y="6655"/>
                </a:lnTo>
                <a:lnTo>
                  <a:pt x="6429" y="6626"/>
                </a:lnTo>
                <a:lnTo>
                  <a:pt x="6362" y="6599"/>
                </a:lnTo>
                <a:lnTo>
                  <a:pt x="6294" y="6574"/>
                </a:lnTo>
                <a:lnTo>
                  <a:pt x="6226" y="6549"/>
                </a:lnTo>
                <a:lnTo>
                  <a:pt x="6156" y="6527"/>
                </a:lnTo>
                <a:lnTo>
                  <a:pt x="6084" y="6507"/>
                </a:lnTo>
                <a:lnTo>
                  <a:pt x="6012" y="6487"/>
                </a:lnTo>
                <a:lnTo>
                  <a:pt x="5939" y="6470"/>
                </a:lnTo>
                <a:lnTo>
                  <a:pt x="5864" y="6456"/>
                </a:lnTo>
                <a:lnTo>
                  <a:pt x="5789" y="6443"/>
                </a:lnTo>
                <a:lnTo>
                  <a:pt x="5752" y="6437"/>
                </a:lnTo>
                <a:lnTo>
                  <a:pt x="5713" y="6432"/>
                </a:lnTo>
                <a:lnTo>
                  <a:pt x="5675" y="6427"/>
                </a:lnTo>
                <a:lnTo>
                  <a:pt x="5636" y="6422"/>
                </a:lnTo>
                <a:lnTo>
                  <a:pt x="5559" y="6414"/>
                </a:lnTo>
                <a:lnTo>
                  <a:pt x="5481" y="6409"/>
                </a:lnTo>
                <a:lnTo>
                  <a:pt x="5441" y="6407"/>
                </a:lnTo>
                <a:lnTo>
                  <a:pt x="5402" y="6406"/>
                </a:lnTo>
                <a:lnTo>
                  <a:pt x="5361" y="6405"/>
                </a:lnTo>
                <a:lnTo>
                  <a:pt x="5322" y="6405"/>
                </a:lnTo>
                <a:lnTo>
                  <a:pt x="5202" y="6407"/>
                </a:lnTo>
                <a:lnTo>
                  <a:pt x="5085" y="6414"/>
                </a:lnTo>
                <a:lnTo>
                  <a:pt x="4968" y="6427"/>
                </a:lnTo>
                <a:lnTo>
                  <a:pt x="4855" y="6442"/>
                </a:lnTo>
                <a:lnTo>
                  <a:pt x="4743" y="6463"/>
                </a:lnTo>
                <a:lnTo>
                  <a:pt x="4632" y="6487"/>
                </a:lnTo>
                <a:lnTo>
                  <a:pt x="4525" y="6516"/>
                </a:lnTo>
                <a:lnTo>
                  <a:pt x="4420" y="6548"/>
                </a:lnTo>
                <a:lnTo>
                  <a:pt x="4316" y="6585"/>
                </a:lnTo>
                <a:lnTo>
                  <a:pt x="4216" y="6625"/>
                </a:lnTo>
                <a:lnTo>
                  <a:pt x="4119" y="6669"/>
                </a:lnTo>
                <a:lnTo>
                  <a:pt x="4025" y="6716"/>
                </a:lnTo>
                <a:lnTo>
                  <a:pt x="3934" y="6767"/>
                </a:lnTo>
                <a:lnTo>
                  <a:pt x="3846" y="6822"/>
                </a:lnTo>
                <a:lnTo>
                  <a:pt x="3762" y="6879"/>
                </a:lnTo>
                <a:lnTo>
                  <a:pt x="3681" y="6938"/>
                </a:lnTo>
                <a:lnTo>
                  <a:pt x="3604" y="7002"/>
                </a:lnTo>
                <a:lnTo>
                  <a:pt x="3531" y="7068"/>
                </a:lnTo>
                <a:lnTo>
                  <a:pt x="3462" y="7137"/>
                </a:lnTo>
                <a:lnTo>
                  <a:pt x="3397" y="7208"/>
                </a:lnTo>
                <a:lnTo>
                  <a:pt x="3337" y="7282"/>
                </a:lnTo>
                <a:lnTo>
                  <a:pt x="3281" y="7358"/>
                </a:lnTo>
                <a:lnTo>
                  <a:pt x="3229" y="7436"/>
                </a:lnTo>
                <a:lnTo>
                  <a:pt x="3183" y="7517"/>
                </a:lnTo>
                <a:lnTo>
                  <a:pt x="3141" y="7599"/>
                </a:lnTo>
                <a:lnTo>
                  <a:pt x="3105" y="7684"/>
                </a:lnTo>
                <a:lnTo>
                  <a:pt x="3073" y="7770"/>
                </a:lnTo>
                <a:lnTo>
                  <a:pt x="3047" y="7857"/>
                </a:lnTo>
                <a:lnTo>
                  <a:pt x="3027" y="7946"/>
                </a:lnTo>
                <a:lnTo>
                  <a:pt x="3012" y="8038"/>
                </a:lnTo>
                <a:lnTo>
                  <a:pt x="3002" y="8130"/>
                </a:lnTo>
                <a:lnTo>
                  <a:pt x="2999" y="8223"/>
                </a:lnTo>
                <a:lnTo>
                  <a:pt x="3002" y="8316"/>
                </a:lnTo>
                <a:lnTo>
                  <a:pt x="3012" y="8408"/>
                </a:lnTo>
                <a:lnTo>
                  <a:pt x="3027" y="8500"/>
                </a:lnTo>
                <a:lnTo>
                  <a:pt x="3047" y="8589"/>
                </a:lnTo>
                <a:lnTo>
                  <a:pt x="3073" y="8677"/>
                </a:lnTo>
                <a:lnTo>
                  <a:pt x="3105" y="8763"/>
                </a:lnTo>
                <a:lnTo>
                  <a:pt x="3141" y="8847"/>
                </a:lnTo>
                <a:lnTo>
                  <a:pt x="3183" y="8929"/>
                </a:lnTo>
                <a:lnTo>
                  <a:pt x="3229" y="9010"/>
                </a:lnTo>
                <a:lnTo>
                  <a:pt x="3281" y="9088"/>
                </a:lnTo>
                <a:lnTo>
                  <a:pt x="3337" y="9164"/>
                </a:lnTo>
                <a:lnTo>
                  <a:pt x="3397" y="9238"/>
                </a:lnTo>
                <a:lnTo>
                  <a:pt x="3462" y="9309"/>
                </a:lnTo>
                <a:lnTo>
                  <a:pt x="3531" y="9378"/>
                </a:lnTo>
                <a:lnTo>
                  <a:pt x="3604" y="9444"/>
                </a:lnTo>
                <a:lnTo>
                  <a:pt x="3681" y="9508"/>
                </a:lnTo>
                <a:lnTo>
                  <a:pt x="3762" y="9568"/>
                </a:lnTo>
                <a:lnTo>
                  <a:pt x="3846" y="9625"/>
                </a:lnTo>
                <a:lnTo>
                  <a:pt x="3934" y="9679"/>
                </a:lnTo>
                <a:lnTo>
                  <a:pt x="4025" y="9730"/>
                </a:lnTo>
                <a:lnTo>
                  <a:pt x="4119" y="9777"/>
                </a:lnTo>
                <a:lnTo>
                  <a:pt x="4216" y="9821"/>
                </a:lnTo>
                <a:lnTo>
                  <a:pt x="4316" y="9861"/>
                </a:lnTo>
                <a:lnTo>
                  <a:pt x="4420" y="9898"/>
                </a:lnTo>
                <a:lnTo>
                  <a:pt x="4525" y="9930"/>
                </a:lnTo>
                <a:lnTo>
                  <a:pt x="4632" y="9959"/>
                </a:lnTo>
                <a:lnTo>
                  <a:pt x="4743" y="9983"/>
                </a:lnTo>
                <a:lnTo>
                  <a:pt x="4855" y="10003"/>
                </a:lnTo>
                <a:lnTo>
                  <a:pt x="4968" y="10019"/>
                </a:lnTo>
                <a:lnTo>
                  <a:pt x="5085" y="10032"/>
                </a:lnTo>
                <a:lnTo>
                  <a:pt x="5202" y="10039"/>
                </a:lnTo>
                <a:lnTo>
                  <a:pt x="5322" y="10041"/>
                </a:lnTo>
                <a:lnTo>
                  <a:pt x="5380" y="10041"/>
                </a:lnTo>
                <a:lnTo>
                  <a:pt x="5439" y="10039"/>
                </a:lnTo>
                <a:lnTo>
                  <a:pt x="5498" y="10036"/>
                </a:lnTo>
                <a:lnTo>
                  <a:pt x="5555" y="10032"/>
                </a:lnTo>
                <a:lnTo>
                  <a:pt x="5612" y="10027"/>
                </a:lnTo>
                <a:lnTo>
                  <a:pt x="5670" y="10020"/>
                </a:lnTo>
                <a:lnTo>
                  <a:pt x="5726" y="10013"/>
                </a:lnTo>
                <a:lnTo>
                  <a:pt x="5782" y="10004"/>
                </a:lnTo>
                <a:lnTo>
                  <a:pt x="5838" y="9995"/>
                </a:lnTo>
                <a:lnTo>
                  <a:pt x="5893" y="9985"/>
                </a:lnTo>
                <a:lnTo>
                  <a:pt x="5947" y="9974"/>
                </a:lnTo>
                <a:lnTo>
                  <a:pt x="6001" y="9961"/>
                </a:lnTo>
                <a:lnTo>
                  <a:pt x="6055" y="9947"/>
                </a:lnTo>
                <a:lnTo>
                  <a:pt x="6107" y="9933"/>
                </a:lnTo>
                <a:lnTo>
                  <a:pt x="6160" y="9918"/>
                </a:lnTo>
                <a:lnTo>
                  <a:pt x="6211" y="9901"/>
                </a:lnTo>
                <a:lnTo>
                  <a:pt x="6263" y="9884"/>
                </a:lnTo>
                <a:lnTo>
                  <a:pt x="6314" y="9865"/>
                </a:lnTo>
                <a:lnTo>
                  <a:pt x="6363" y="9847"/>
                </a:lnTo>
                <a:lnTo>
                  <a:pt x="6412" y="9827"/>
                </a:lnTo>
                <a:lnTo>
                  <a:pt x="6460" y="9806"/>
                </a:lnTo>
                <a:lnTo>
                  <a:pt x="6508" y="9784"/>
                </a:lnTo>
                <a:lnTo>
                  <a:pt x="6556" y="9761"/>
                </a:lnTo>
                <a:lnTo>
                  <a:pt x="6602" y="9738"/>
                </a:lnTo>
                <a:lnTo>
                  <a:pt x="6648" y="9713"/>
                </a:lnTo>
                <a:lnTo>
                  <a:pt x="6692" y="9688"/>
                </a:lnTo>
                <a:lnTo>
                  <a:pt x="6736" y="9663"/>
                </a:lnTo>
                <a:lnTo>
                  <a:pt x="6779" y="9635"/>
                </a:lnTo>
                <a:lnTo>
                  <a:pt x="6822" y="9608"/>
                </a:lnTo>
                <a:lnTo>
                  <a:pt x="6863" y="9580"/>
                </a:lnTo>
                <a:lnTo>
                  <a:pt x="6904" y="9551"/>
                </a:lnTo>
                <a:lnTo>
                  <a:pt x="6943" y="9521"/>
                </a:lnTo>
                <a:lnTo>
                  <a:pt x="10773" y="12899"/>
                </a:lnTo>
                <a:lnTo>
                  <a:pt x="10796" y="12918"/>
                </a:lnTo>
                <a:lnTo>
                  <a:pt x="10820" y="12936"/>
                </a:lnTo>
                <a:lnTo>
                  <a:pt x="10845" y="12954"/>
                </a:lnTo>
                <a:lnTo>
                  <a:pt x="10871" y="12969"/>
                </a:lnTo>
                <a:lnTo>
                  <a:pt x="10896" y="12983"/>
                </a:lnTo>
                <a:lnTo>
                  <a:pt x="10924" y="12996"/>
                </a:lnTo>
                <a:lnTo>
                  <a:pt x="10950" y="13007"/>
                </a:lnTo>
                <a:lnTo>
                  <a:pt x="10977" y="13017"/>
                </a:lnTo>
                <a:lnTo>
                  <a:pt x="11006" y="13026"/>
                </a:lnTo>
                <a:lnTo>
                  <a:pt x="11034" y="13033"/>
                </a:lnTo>
                <a:lnTo>
                  <a:pt x="11062" y="13039"/>
                </a:lnTo>
                <a:lnTo>
                  <a:pt x="11091" y="13043"/>
                </a:lnTo>
                <a:lnTo>
                  <a:pt x="11119" y="13046"/>
                </a:lnTo>
                <a:lnTo>
                  <a:pt x="11147" y="13048"/>
                </a:lnTo>
                <a:lnTo>
                  <a:pt x="11177" y="13048"/>
                </a:lnTo>
                <a:lnTo>
                  <a:pt x="11205" y="13047"/>
                </a:lnTo>
                <a:lnTo>
                  <a:pt x="11233" y="13044"/>
                </a:lnTo>
                <a:lnTo>
                  <a:pt x="11262" y="13040"/>
                </a:lnTo>
                <a:lnTo>
                  <a:pt x="11290" y="13035"/>
                </a:lnTo>
                <a:lnTo>
                  <a:pt x="11318" y="13029"/>
                </a:lnTo>
                <a:lnTo>
                  <a:pt x="11346" y="13020"/>
                </a:lnTo>
                <a:lnTo>
                  <a:pt x="11374" y="13011"/>
                </a:lnTo>
                <a:lnTo>
                  <a:pt x="11400" y="13000"/>
                </a:lnTo>
                <a:lnTo>
                  <a:pt x="11427" y="12989"/>
                </a:lnTo>
                <a:lnTo>
                  <a:pt x="11453" y="12976"/>
                </a:lnTo>
                <a:lnTo>
                  <a:pt x="11478" y="12961"/>
                </a:lnTo>
                <a:lnTo>
                  <a:pt x="11504" y="12944"/>
                </a:lnTo>
                <a:lnTo>
                  <a:pt x="11528" y="12927"/>
                </a:lnTo>
                <a:lnTo>
                  <a:pt x="11551" y="12909"/>
                </a:lnTo>
                <a:lnTo>
                  <a:pt x="11574" y="12889"/>
                </a:lnTo>
                <a:lnTo>
                  <a:pt x="11595" y="12867"/>
                </a:lnTo>
                <a:lnTo>
                  <a:pt x="11616" y="12845"/>
                </a:lnTo>
                <a:lnTo>
                  <a:pt x="11636" y="12822"/>
                </a:lnTo>
                <a:lnTo>
                  <a:pt x="11655" y="12798"/>
                </a:lnTo>
                <a:lnTo>
                  <a:pt x="11671" y="12773"/>
                </a:lnTo>
                <a:lnTo>
                  <a:pt x="11686" y="12747"/>
                </a:lnTo>
                <a:lnTo>
                  <a:pt x="11700" y="12722"/>
                </a:lnTo>
                <a:lnTo>
                  <a:pt x="11713" y="12694"/>
                </a:lnTo>
                <a:lnTo>
                  <a:pt x="11724" y="12668"/>
                </a:lnTo>
                <a:lnTo>
                  <a:pt x="11735" y="12640"/>
                </a:lnTo>
                <a:lnTo>
                  <a:pt x="11743" y="12612"/>
                </a:lnTo>
                <a:lnTo>
                  <a:pt x="11750" y="12584"/>
                </a:lnTo>
                <a:lnTo>
                  <a:pt x="11756" y="12555"/>
                </a:lnTo>
                <a:lnTo>
                  <a:pt x="11760" y="12527"/>
                </a:lnTo>
                <a:lnTo>
                  <a:pt x="11763" y="12499"/>
                </a:lnTo>
                <a:lnTo>
                  <a:pt x="11765" y="12470"/>
                </a:lnTo>
                <a:lnTo>
                  <a:pt x="11765" y="12441"/>
                </a:lnTo>
                <a:lnTo>
                  <a:pt x="11764" y="12413"/>
                </a:lnTo>
                <a:lnTo>
                  <a:pt x="11761" y="12384"/>
                </a:lnTo>
                <a:lnTo>
                  <a:pt x="11758" y="12355"/>
                </a:lnTo>
                <a:lnTo>
                  <a:pt x="11752" y="12326"/>
                </a:lnTo>
                <a:lnTo>
                  <a:pt x="11746" y="12299"/>
                </a:lnTo>
                <a:lnTo>
                  <a:pt x="11738" y="12271"/>
                </a:lnTo>
                <a:lnTo>
                  <a:pt x="11728" y="12243"/>
                </a:lnTo>
                <a:lnTo>
                  <a:pt x="11718" y="12217"/>
                </a:lnTo>
                <a:lnTo>
                  <a:pt x="11706" y="12190"/>
                </a:lnTo>
                <a:lnTo>
                  <a:pt x="11693" y="12164"/>
                </a:lnTo>
                <a:lnTo>
                  <a:pt x="11678" y="12139"/>
                </a:lnTo>
                <a:lnTo>
                  <a:pt x="11663" y="12114"/>
                </a:lnTo>
                <a:lnTo>
                  <a:pt x="11645" y="12089"/>
                </a:lnTo>
                <a:lnTo>
                  <a:pt x="11626" y="12066"/>
                </a:lnTo>
                <a:lnTo>
                  <a:pt x="11607" y="12044"/>
                </a:lnTo>
                <a:lnTo>
                  <a:pt x="11586" y="12021"/>
                </a:lnTo>
                <a:lnTo>
                  <a:pt x="11563" y="12001"/>
                </a:lnTo>
                <a:lnTo>
                  <a:pt x="7689" y="8585"/>
                </a:lnTo>
                <a:lnTo>
                  <a:pt x="7689" y="30"/>
                </a:lnTo>
                <a:lnTo>
                  <a:pt x="7748" y="37"/>
                </a:lnTo>
                <a:lnTo>
                  <a:pt x="7806" y="45"/>
                </a:lnTo>
                <a:lnTo>
                  <a:pt x="7863" y="52"/>
                </a:lnTo>
                <a:lnTo>
                  <a:pt x="7920" y="60"/>
                </a:lnTo>
                <a:lnTo>
                  <a:pt x="7976" y="69"/>
                </a:lnTo>
                <a:lnTo>
                  <a:pt x="8033" y="78"/>
                </a:lnTo>
                <a:lnTo>
                  <a:pt x="8087" y="87"/>
                </a:lnTo>
                <a:lnTo>
                  <a:pt x="8143" y="97"/>
                </a:lnTo>
                <a:lnTo>
                  <a:pt x="8197" y="107"/>
                </a:lnTo>
                <a:lnTo>
                  <a:pt x="8251" y="119"/>
                </a:lnTo>
                <a:lnTo>
                  <a:pt x="8305" y="130"/>
                </a:lnTo>
                <a:lnTo>
                  <a:pt x="8358" y="142"/>
                </a:lnTo>
                <a:lnTo>
                  <a:pt x="8410" y="154"/>
                </a:lnTo>
                <a:lnTo>
                  <a:pt x="8462" y="166"/>
                </a:lnTo>
                <a:lnTo>
                  <a:pt x="8512" y="179"/>
                </a:lnTo>
                <a:lnTo>
                  <a:pt x="8563" y="193"/>
                </a:lnTo>
                <a:lnTo>
                  <a:pt x="8799" y="261"/>
                </a:lnTo>
                <a:lnTo>
                  <a:pt x="9032" y="335"/>
                </a:lnTo>
                <a:lnTo>
                  <a:pt x="9262" y="417"/>
                </a:lnTo>
                <a:lnTo>
                  <a:pt x="9487" y="505"/>
                </a:lnTo>
                <a:lnTo>
                  <a:pt x="9710" y="598"/>
                </a:lnTo>
                <a:lnTo>
                  <a:pt x="9928" y="696"/>
                </a:lnTo>
                <a:lnTo>
                  <a:pt x="10142" y="800"/>
                </a:lnTo>
                <a:lnTo>
                  <a:pt x="10352" y="909"/>
                </a:lnTo>
                <a:lnTo>
                  <a:pt x="10557" y="1022"/>
                </a:lnTo>
                <a:lnTo>
                  <a:pt x="10757" y="1140"/>
                </a:lnTo>
                <a:lnTo>
                  <a:pt x="10952" y="1261"/>
                </a:lnTo>
                <a:lnTo>
                  <a:pt x="11141" y="1387"/>
                </a:lnTo>
                <a:lnTo>
                  <a:pt x="11325" y="1516"/>
                </a:lnTo>
                <a:lnTo>
                  <a:pt x="11503" y="1647"/>
                </a:lnTo>
                <a:lnTo>
                  <a:pt x="11674" y="1781"/>
                </a:lnTo>
                <a:lnTo>
                  <a:pt x="11839" y="1918"/>
                </a:lnTo>
                <a:lnTo>
                  <a:pt x="11998" y="2058"/>
                </a:lnTo>
                <a:lnTo>
                  <a:pt x="12149" y="2199"/>
                </a:lnTo>
                <a:lnTo>
                  <a:pt x="12292" y="2341"/>
                </a:lnTo>
                <a:lnTo>
                  <a:pt x="12429" y="2484"/>
                </a:lnTo>
                <a:lnTo>
                  <a:pt x="12558" y="2629"/>
                </a:lnTo>
                <a:lnTo>
                  <a:pt x="12679" y="2775"/>
                </a:lnTo>
                <a:lnTo>
                  <a:pt x="12791" y="2920"/>
                </a:lnTo>
                <a:lnTo>
                  <a:pt x="12896" y="3066"/>
                </a:lnTo>
                <a:lnTo>
                  <a:pt x="12991" y="3212"/>
                </a:lnTo>
                <a:lnTo>
                  <a:pt x="13077" y="3357"/>
                </a:lnTo>
                <a:lnTo>
                  <a:pt x="13154" y="3501"/>
                </a:lnTo>
                <a:lnTo>
                  <a:pt x="13222" y="3643"/>
                </a:lnTo>
                <a:lnTo>
                  <a:pt x="13279" y="3784"/>
                </a:lnTo>
                <a:lnTo>
                  <a:pt x="13327" y="3924"/>
                </a:lnTo>
                <a:lnTo>
                  <a:pt x="13364" y="4061"/>
                </a:lnTo>
                <a:lnTo>
                  <a:pt x="13391" y="4197"/>
                </a:lnTo>
                <a:lnTo>
                  <a:pt x="13413" y="4329"/>
                </a:lnTo>
                <a:lnTo>
                  <a:pt x="13436" y="4460"/>
                </a:lnTo>
                <a:lnTo>
                  <a:pt x="13461" y="4588"/>
                </a:lnTo>
                <a:lnTo>
                  <a:pt x="13485" y="4714"/>
                </a:lnTo>
                <a:lnTo>
                  <a:pt x="13511" y="4839"/>
                </a:lnTo>
                <a:lnTo>
                  <a:pt x="13537" y="4962"/>
                </a:lnTo>
                <a:lnTo>
                  <a:pt x="13565" y="5082"/>
                </a:lnTo>
                <a:lnTo>
                  <a:pt x="13593" y="5200"/>
                </a:lnTo>
                <a:lnTo>
                  <a:pt x="13621" y="5317"/>
                </a:lnTo>
                <a:lnTo>
                  <a:pt x="13651" y="5432"/>
                </a:lnTo>
                <a:lnTo>
                  <a:pt x="13680" y="5544"/>
                </a:lnTo>
                <a:lnTo>
                  <a:pt x="13711" y="5656"/>
                </a:lnTo>
                <a:lnTo>
                  <a:pt x="13741" y="5765"/>
                </a:lnTo>
                <a:lnTo>
                  <a:pt x="13771" y="5872"/>
                </a:lnTo>
                <a:lnTo>
                  <a:pt x="13803" y="5979"/>
                </a:lnTo>
                <a:lnTo>
                  <a:pt x="13834" y="6083"/>
                </a:lnTo>
                <a:lnTo>
                  <a:pt x="13864" y="6186"/>
                </a:lnTo>
                <a:lnTo>
                  <a:pt x="13896" y="6287"/>
                </a:lnTo>
                <a:lnTo>
                  <a:pt x="13927" y="6387"/>
                </a:lnTo>
                <a:lnTo>
                  <a:pt x="13959" y="6484"/>
                </a:lnTo>
                <a:lnTo>
                  <a:pt x="14021" y="6677"/>
                </a:lnTo>
                <a:lnTo>
                  <a:pt x="14083" y="6862"/>
                </a:lnTo>
                <a:lnTo>
                  <a:pt x="14143" y="7044"/>
                </a:lnTo>
                <a:lnTo>
                  <a:pt x="14202" y="7219"/>
                </a:lnTo>
                <a:lnTo>
                  <a:pt x="14257" y="7389"/>
                </a:lnTo>
                <a:lnTo>
                  <a:pt x="14311" y="7555"/>
                </a:lnTo>
                <a:lnTo>
                  <a:pt x="14337" y="7637"/>
                </a:lnTo>
                <a:lnTo>
                  <a:pt x="14367" y="7720"/>
                </a:lnTo>
                <a:lnTo>
                  <a:pt x="14397" y="7803"/>
                </a:lnTo>
                <a:lnTo>
                  <a:pt x="14429" y="7885"/>
                </a:lnTo>
                <a:lnTo>
                  <a:pt x="14463" y="7967"/>
                </a:lnTo>
                <a:lnTo>
                  <a:pt x="14498" y="8049"/>
                </a:lnTo>
                <a:lnTo>
                  <a:pt x="14535" y="8130"/>
                </a:lnTo>
                <a:lnTo>
                  <a:pt x="14571" y="8211"/>
                </a:lnTo>
                <a:lnTo>
                  <a:pt x="14609" y="8291"/>
                </a:lnTo>
                <a:lnTo>
                  <a:pt x="14648" y="8371"/>
                </a:lnTo>
                <a:lnTo>
                  <a:pt x="14686" y="8450"/>
                </a:lnTo>
                <a:lnTo>
                  <a:pt x="14725" y="8527"/>
                </a:lnTo>
                <a:lnTo>
                  <a:pt x="14803" y="8680"/>
                </a:lnTo>
                <a:lnTo>
                  <a:pt x="14880" y="8827"/>
                </a:lnTo>
                <a:lnTo>
                  <a:pt x="14954" y="8969"/>
                </a:lnTo>
                <a:lnTo>
                  <a:pt x="15023" y="9103"/>
                </a:lnTo>
                <a:lnTo>
                  <a:pt x="15056" y="9167"/>
                </a:lnTo>
                <a:lnTo>
                  <a:pt x="15087" y="9230"/>
                </a:lnTo>
                <a:lnTo>
                  <a:pt x="15117" y="9290"/>
                </a:lnTo>
                <a:lnTo>
                  <a:pt x="15145" y="9349"/>
                </a:lnTo>
                <a:lnTo>
                  <a:pt x="15170" y="9404"/>
                </a:lnTo>
                <a:lnTo>
                  <a:pt x="15194" y="9457"/>
                </a:lnTo>
                <a:lnTo>
                  <a:pt x="15215" y="9508"/>
                </a:lnTo>
                <a:lnTo>
                  <a:pt x="15233" y="9555"/>
                </a:lnTo>
                <a:lnTo>
                  <a:pt x="15248" y="9601"/>
                </a:lnTo>
                <a:lnTo>
                  <a:pt x="15260" y="9644"/>
                </a:lnTo>
                <a:lnTo>
                  <a:pt x="15270" y="9683"/>
                </a:lnTo>
                <a:lnTo>
                  <a:pt x="15277" y="9718"/>
                </a:lnTo>
                <a:lnTo>
                  <a:pt x="15285" y="9788"/>
                </a:lnTo>
                <a:lnTo>
                  <a:pt x="15294" y="9858"/>
                </a:lnTo>
                <a:lnTo>
                  <a:pt x="15302" y="9929"/>
                </a:lnTo>
                <a:lnTo>
                  <a:pt x="15309" y="10000"/>
                </a:lnTo>
                <a:lnTo>
                  <a:pt x="15311" y="10035"/>
                </a:lnTo>
                <a:lnTo>
                  <a:pt x="15312" y="10070"/>
                </a:lnTo>
                <a:lnTo>
                  <a:pt x="15312" y="10106"/>
                </a:lnTo>
                <a:lnTo>
                  <a:pt x="15311" y="10140"/>
                </a:lnTo>
                <a:lnTo>
                  <a:pt x="15309" y="10174"/>
                </a:lnTo>
                <a:lnTo>
                  <a:pt x="15305" y="10209"/>
                </a:lnTo>
                <a:lnTo>
                  <a:pt x="15300" y="10243"/>
                </a:lnTo>
                <a:lnTo>
                  <a:pt x="15294" y="10277"/>
                </a:lnTo>
                <a:lnTo>
                  <a:pt x="15285" y="10310"/>
                </a:lnTo>
                <a:lnTo>
                  <a:pt x="15275" y="10343"/>
                </a:lnTo>
                <a:lnTo>
                  <a:pt x="15262" y="10375"/>
                </a:lnTo>
                <a:lnTo>
                  <a:pt x="15248" y="10406"/>
                </a:lnTo>
                <a:lnTo>
                  <a:pt x="15231" y="10438"/>
                </a:lnTo>
                <a:lnTo>
                  <a:pt x="15212" y="10468"/>
                </a:lnTo>
                <a:lnTo>
                  <a:pt x="15191" y="10499"/>
                </a:lnTo>
                <a:lnTo>
                  <a:pt x="15166" y="10528"/>
                </a:lnTo>
                <a:lnTo>
                  <a:pt x="15139" y="10556"/>
                </a:lnTo>
                <a:lnTo>
                  <a:pt x="15110" y="10584"/>
                </a:lnTo>
                <a:lnTo>
                  <a:pt x="15076" y="10611"/>
                </a:lnTo>
                <a:lnTo>
                  <a:pt x="15041" y="10636"/>
                </a:lnTo>
                <a:lnTo>
                  <a:pt x="15001" y="10662"/>
                </a:lnTo>
                <a:lnTo>
                  <a:pt x="14959" y="10686"/>
                </a:lnTo>
                <a:lnTo>
                  <a:pt x="14912" y="10709"/>
                </a:lnTo>
                <a:lnTo>
                  <a:pt x="14863" y="10731"/>
                </a:lnTo>
                <a:lnTo>
                  <a:pt x="14758" y="10774"/>
                </a:lnTo>
                <a:lnTo>
                  <a:pt x="14653" y="10819"/>
                </a:lnTo>
                <a:lnTo>
                  <a:pt x="14547" y="10863"/>
                </a:lnTo>
                <a:lnTo>
                  <a:pt x="14442" y="10907"/>
                </a:lnTo>
                <a:lnTo>
                  <a:pt x="14340" y="10951"/>
                </a:lnTo>
                <a:lnTo>
                  <a:pt x="14242" y="10992"/>
                </a:lnTo>
                <a:lnTo>
                  <a:pt x="14147" y="11033"/>
                </a:lnTo>
                <a:lnTo>
                  <a:pt x="14058" y="11070"/>
                </a:lnTo>
                <a:lnTo>
                  <a:pt x="13975" y="11106"/>
                </a:lnTo>
                <a:lnTo>
                  <a:pt x="13900" y="11138"/>
                </a:lnTo>
                <a:lnTo>
                  <a:pt x="13833" y="11166"/>
                </a:lnTo>
                <a:lnTo>
                  <a:pt x="13776" y="11191"/>
                </a:lnTo>
                <a:lnTo>
                  <a:pt x="13730" y="11210"/>
                </a:lnTo>
                <a:lnTo>
                  <a:pt x="13695" y="11225"/>
                </a:lnTo>
                <a:lnTo>
                  <a:pt x="13674" y="11234"/>
                </a:lnTo>
                <a:lnTo>
                  <a:pt x="13667" y="11237"/>
                </a:lnTo>
                <a:lnTo>
                  <a:pt x="13575" y="13676"/>
                </a:lnTo>
                <a:lnTo>
                  <a:pt x="13571" y="13690"/>
                </a:lnTo>
                <a:lnTo>
                  <a:pt x="13560" y="13730"/>
                </a:lnTo>
                <a:lnTo>
                  <a:pt x="13540" y="13792"/>
                </a:lnTo>
                <a:lnTo>
                  <a:pt x="13513" y="13872"/>
                </a:lnTo>
                <a:lnTo>
                  <a:pt x="13496" y="13918"/>
                </a:lnTo>
                <a:lnTo>
                  <a:pt x="13478" y="13968"/>
                </a:lnTo>
                <a:lnTo>
                  <a:pt x="13457" y="14019"/>
                </a:lnTo>
                <a:lnTo>
                  <a:pt x="13434" y="14074"/>
                </a:lnTo>
                <a:lnTo>
                  <a:pt x="13409" y="14131"/>
                </a:lnTo>
                <a:lnTo>
                  <a:pt x="13383" y="14190"/>
                </a:lnTo>
                <a:lnTo>
                  <a:pt x="13353" y="14248"/>
                </a:lnTo>
                <a:lnTo>
                  <a:pt x="13322" y="14309"/>
                </a:lnTo>
                <a:lnTo>
                  <a:pt x="13288" y="14369"/>
                </a:lnTo>
                <a:lnTo>
                  <a:pt x="13253" y="14430"/>
                </a:lnTo>
                <a:lnTo>
                  <a:pt x="13216" y="14490"/>
                </a:lnTo>
                <a:lnTo>
                  <a:pt x="13175" y="14548"/>
                </a:lnTo>
                <a:lnTo>
                  <a:pt x="13134" y="14605"/>
                </a:lnTo>
                <a:lnTo>
                  <a:pt x="13089" y="14661"/>
                </a:lnTo>
                <a:lnTo>
                  <a:pt x="13042" y="14714"/>
                </a:lnTo>
                <a:lnTo>
                  <a:pt x="12993" y="14763"/>
                </a:lnTo>
                <a:lnTo>
                  <a:pt x="12942" y="14811"/>
                </a:lnTo>
                <a:lnTo>
                  <a:pt x="12889" y="14853"/>
                </a:lnTo>
                <a:lnTo>
                  <a:pt x="12832" y="14893"/>
                </a:lnTo>
                <a:lnTo>
                  <a:pt x="12774" y="14927"/>
                </a:lnTo>
                <a:lnTo>
                  <a:pt x="12713" y="14957"/>
                </a:lnTo>
                <a:lnTo>
                  <a:pt x="12651" y="14981"/>
                </a:lnTo>
                <a:lnTo>
                  <a:pt x="12585" y="14999"/>
                </a:lnTo>
                <a:lnTo>
                  <a:pt x="12517" y="15010"/>
                </a:lnTo>
                <a:lnTo>
                  <a:pt x="12445" y="15019"/>
                </a:lnTo>
                <a:lnTo>
                  <a:pt x="12368" y="15027"/>
                </a:lnTo>
                <a:lnTo>
                  <a:pt x="12285" y="15035"/>
                </a:lnTo>
                <a:lnTo>
                  <a:pt x="12197" y="15041"/>
                </a:lnTo>
                <a:lnTo>
                  <a:pt x="12106" y="15048"/>
                </a:lnTo>
                <a:lnTo>
                  <a:pt x="12011" y="15054"/>
                </a:lnTo>
                <a:lnTo>
                  <a:pt x="11913" y="15059"/>
                </a:lnTo>
                <a:lnTo>
                  <a:pt x="11811" y="15064"/>
                </a:lnTo>
                <a:lnTo>
                  <a:pt x="11605" y="15073"/>
                </a:lnTo>
                <a:lnTo>
                  <a:pt x="11394" y="15080"/>
                </a:lnTo>
                <a:lnTo>
                  <a:pt x="11183" y="15086"/>
                </a:lnTo>
                <a:lnTo>
                  <a:pt x="10977" y="15091"/>
                </a:lnTo>
                <a:lnTo>
                  <a:pt x="10780" y="15095"/>
                </a:lnTo>
                <a:lnTo>
                  <a:pt x="10595" y="15098"/>
                </a:lnTo>
                <a:lnTo>
                  <a:pt x="10427" y="15100"/>
                </a:lnTo>
                <a:lnTo>
                  <a:pt x="10280" y="15102"/>
                </a:lnTo>
                <a:lnTo>
                  <a:pt x="10158" y="15103"/>
                </a:lnTo>
                <a:lnTo>
                  <a:pt x="10067" y="15103"/>
                </a:lnTo>
                <a:lnTo>
                  <a:pt x="10009" y="15103"/>
                </a:lnTo>
                <a:lnTo>
                  <a:pt x="9988" y="15103"/>
                </a:lnTo>
                <a:lnTo>
                  <a:pt x="9988" y="16211"/>
                </a:lnTo>
                <a:lnTo>
                  <a:pt x="2724" y="15240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120"/>
          <p:cNvSpPr>
            <a:spLocks noEditPoints="1"/>
          </p:cNvSpPr>
          <p:nvPr/>
        </p:nvSpPr>
        <p:spPr bwMode="auto">
          <a:xfrm>
            <a:off x="5920976" y="1059582"/>
            <a:ext cx="620671" cy="593568"/>
          </a:xfrm>
          <a:custGeom>
            <a:avLst/>
            <a:gdLst/>
            <a:ahLst/>
            <a:cxnLst>
              <a:cxn ang="0">
                <a:pos x="4752" y="351"/>
              </a:cxn>
              <a:cxn ang="0">
                <a:pos x="5060" y="1362"/>
              </a:cxn>
              <a:cxn ang="0">
                <a:pos x="4400" y="2197"/>
              </a:cxn>
              <a:cxn ang="0">
                <a:pos x="3299" y="2109"/>
              </a:cxn>
              <a:cxn ang="0">
                <a:pos x="2816" y="1142"/>
              </a:cxn>
              <a:cxn ang="0">
                <a:pos x="3299" y="220"/>
              </a:cxn>
              <a:cxn ang="0">
                <a:pos x="4180" y="11600"/>
              </a:cxn>
              <a:cxn ang="0">
                <a:pos x="5016" y="12039"/>
              </a:cxn>
              <a:cxn ang="0">
                <a:pos x="5280" y="13621"/>
              </a:cxn>
              <a:cxn ang="0">
                <a:pos x="5984" y="12214"/>
              </a:cxn>
              <a:cxn ang="0">
                <a:pos x="6688" y="11600"/>
              </a:cxn>
              <a:cxn ang="0">
                <a:pos x="9988" y="11775"/>
              </a:cxn>
              <a:cxn ang="0">
                <a:pos x="10428" y="12610"/>
              </a:cxn>
              <a:cxn ang="0">
                <a:pos x="11220" y="12610"/>
              </a:cxn>
              <a:cxn ang="0">
                <a:pos x="11660" y="11775"/>
              </a:cxn>
              <a:cxn ang="0">
                <a:pos x="14960" y="11600"/>
              </a:cxn>
              <a:cxn ang="0">
                <a:pos x="15707" y="12214"/>
              </a:cxn>
              <a:cxn ang="0">
                <a:pos x="16324" y="13621"/>
              </a:cxn>
              <a:cxn ang="0">
                <a:pos x="15752" y="14192"/>
              </a:cxn>
              <a:cxn ang="0">
                <a:pos x="10604" y="14192"/>
              </a:cxn>
              <a:cxn ang="0">
                <a:pos x="5764" y="14192"/>
              </a:cxn>
              <a:cxn ang="0">
                <a:pos x="616" y="14192"/>
              </a:cxn>
              <a:cxn ang="0">
                <a:pos x="660" y="12391"/>
              </a:cxn>
              <a:cxn ang="0">
                <a:pos x="1231" y="11688"/>
              </a:cxn>
              <a:cxn ang="0">
                <a:pos x="13992" y="9755"/>
              </a:cxn>
              <a:cxn ang="0">
                <a:pos x="14740" y="10633"/>
              </a:cxn>
              <a:cxn ang="0">
                <a:pos x="12320" y="11117"/>
              </a:cxn>
              <a:cxn ang="0">
                <a:pos x="12628" y="10018"/>
              </a:cxn>
              <a:cxn ang="0">
                <a:pos x="8184" y="9666"/>
              </a:cxn>
              <a:cxn ang="0">
                <a:pos x="9240" y="10194"/>
              </a:cxn>
              <a:cxn ang="0">
                <a:pos x="9372" y="11336"/>
              </a:cxn>
              <a:cxn ang="0">
                <a:pos x="7041" y="10413"/>
              </a:cxn>
              <a:cxn ang="0">
                <a:pos x="7964" y="9666"/>
              </a:cxn>
              <a:cxn ang="0">
                <a:pos x="3652" y="9842"/>
              </a:cxn>
              <a:cxn ang="0">
                <a:pos x="4180" y="10897"/>
              </a:cxn>
              <a:cxn ang="0">
                <a:pos x="1672" y="10897"/>
              </a:cxn>
              <a:cxn ang="0">
                <a:pos x="2244" y="9842"/>
              </a:cxn>
              <a:cxn ang="0">
                <a:pos x="13508" y="6459"/>
              </a:cxn>
              <a:cxn ang="0">
                <a:pos x="9503" y="6459"/>
              </a:cxn>
              <a:cxn ang="0">
                <a:pos x="7964" y="5712"/>
              </a:cxn>
              <a:cxn ang="0">
                <a:pos x="7437" y="834"/>
              </a:cxn>
              <a:cxn ang="0">
                <a:pos x="7084" y="1537"/>
              </a:cxn>
              <a:cxn ang="0">
                <a:pos x="4796" y="2416"/>
              </a:cxn>
              <a:cxn ang="0">
                <a:pos x="2376" y="2636"/>
              </a:cxn>
              <a:cxn ang="0">
                <a:pos x="2200" y="5360"/>
              </a:cxn>
              <a:cxn ang="0">
                <a:pos x="3036" y="5800"/>
              </a:cxn>
              <a:cxn ang="0">
                <a:pos x="4004" y="8744"/>
              </a:cxn>
              <a:cxn ang="0">
                <a:pos x="4796" y="3735"/>
              </a:cxn>
              <a:cxn ang="0">
                <a:pos x="7084" y="3471"/>
              </a:cxn>
              <a:cxn ang="0">
                <a:pos x="7304" y="5272"/>
              </a:cxn>
              <a:cxn ang="0">
                <a:pos x="13376" y="5537"/>
              </a:cxn>
              <a:cxn ang="0">
                <a:pos x="14080" y="5141"/>
              </a:cxn>
              <a:cxn ang="0">
                <a:pos x="14212" y="1362"/>
              </a:cxn>
              <a:cxn ang="0">
                <a:pos x="13684" y="747"/>
              </a:cxn>
              <a:cxn ang="0">
                <a:pos x="13420" y="1362"/>
              </a:cxn>
              <a:cxn ang="0">
                <a:pos x="13508" y="4746"/>
              </a:cxn>
              <a:cxn ang="0">
                <a:pos x="7920" y="4877"/>
              </a:cxn>
              <a:cxn ang="0">
                <a:pos x="7744" y="4701"/>
              </a:cxn>
              <a:cxn ang="0">
                <a:pos x="7744" y="1537"/>
              </a:cxn>
              <a:cxn ang="0">
                <a:pos x="13376" y="1362"/>
              </a:cxn>
            </a:cxnLst>
            <a:rect l="0" t="0" r="r" b="b"/>
            <a:pathLst>
              <a:path w="16544" h="15598">
                <a:moveTo>
                  <a:pt x="3960" y="0"/>
                </a:moveTo>
                <a:lnTo>
                  <a:pt x="4180" y="44"/>
                </a:lnTo>
                <a:lnTo>
                  <a:pt x="4400" y="88"/>
                </a:lnTo>
                <a:lnTo>
                  <a:pt x="4576" y="220"/>
                </a:lnTo>
                <a:lnTo>
                  <a:pt x="4752" y="351"/>
                </a:lnTo>
                <a:lnTo>
                  <a:pt x="4884" y="528"/>
                </a:lnTo>
                <a:lnTo>
                  <a:pt x="4973" y="703"/>
                </a:lnTo>
                <a:lnTo>
                  <a:pt x="5060" y="923"/>
                </a:lnTo>
                <a:lnTo>
                  <a:pt x="5060" y="1142"/>
                </a:lnTo>
                <a:lnTo>
                  <a:pt x="5060" y="1362"/>
                </a:lnTo>
                <a:lnTo>
                  <a:pt x="4973" y="1582"/>
                </a:lnTo>
                <a:lnTo>
                  <a:pt x="4884" y="1802"/>
                </a:lnTo>
                <a:lnTo>
                  <a:pt x="4752" y="1933"/>
                </a:lnTo>
                <a:lnTo>
                  <a:pt x="4576" y="2109"/>
                </a:lnTo>
                <a:lnTo>
                  <a:pt x="4400" y="2197"/>
                </a:lnTo>
                <a:lnTo>
                  <a:pt x="4180" y="2241"/>
                </a:lnTo>
                <a:lnTo>
                  <a:pt x="3960" y="2285"/>
                </a:lnTo>
                <a:lnTo>
                  <a:pt x="3696" y="2241"/>
                </a:lnTo>
                <a:lnTo>
                  <a:pt x="3476" y="2197"/>
                </a:lnTo>
                <a:lnTo>
                  <a:pt x="3299" y="2109"/>
                </a:lnTo>
                <a:lnTo>
                  <a:pt x="3124" y="1933"/>
                </a:lnTo>
                <a:lnTo>
                  <a:pt x="2992" y="1802"/>
                </a:lnTo>
                <a:lnTo>
                  <a:pt x="2903" y="1582"/>
                </a:lnTo>
                <a:lnTo>
                  <a:pt x="2816" y="1362"/>
                </a:lnTo>
                <a:lnTo>
                  <a:pt x="2816" y="1142"/>
                </a:lnTo>
                <a:lnTo>
                  <a:pt x="2816" y="923"/>
                </a:lnTo>
                <a:lnTo>
                  <a:pt x="2903" y="703"/>
                </a:lnTo>
                <a:lnTo>
                  <a:pt x="2992" y="528"/>
                </a:lnTo>
                <a:lnTo>
                  <a:pt x="3124" y="351"/>
                </a:lnTo>
                <a:lnTo>
                  <a:pt x="3299" y="220"/>
                </a:lnTo>
                <a:lnTo>
                  <a:pt x="3476" y="88"/>
                </a:lnTo>
                <a:lnTo>
                  <a:pt x="3696" y="44"/>
                </a:lnTo>
                <a:lnTo>
                  <a:pt x="3960" y="0"/>
                </a:lnTo>
                <a:close/>
                <a:moveTo>
                  <a:pt x="1628" y="11600"/>
                </a:moveTo>
                <a:lnTo>
                  <a:pt x="4180" y="11600"/>
                </a:lnTo>
                <a:lnTo>
                  <a:pt x="4400" y="11600"/>
                </a:lnTo>
                <a:lnTo>
                  <a:pt x="4576" y="11688"/>
                </a:lnTo>
                <a:lnTo>
                  <a:pt x="4752" y="11775"/>
                </a:lnTo>
                <a:lnTo>
                  <a:pt x="4884" y="11908"/>
                </a:lnTo>
                <a:lnTo>
                  <a:pt x="5016" y="12039"/>
                </a:lnTo>
                <a:lnTo>
                  <a:pt x="5104" y="12214"/>
                </a:lnTo>
                <a:lnTo>
                  <a:pt x="5148" y="12391"/>
                </a:lnTo>
                <a:lnTo>
                  <a:pt x="5192" y="12610"/>
                </a:lnTo>
                <a:lnTo>
                  <a:pt x="5192" y="13621"/>
                </a:lnTo>
                <a:lnTo>
                  <a:pt x="5280" y="13621"/>
                </a:lnTo>
                <a:lnTo>
                  <a:pt x="5764" y="13621"/>
                </a:lnTo>
                <a:lnTo>
                  <a:pt x="5896" y="13621"/>
                </a:lnTo>
                <a:lnTo>
                  <a:pt x="5896" y="12610"/>
                </a:lnTo>
                <a:lnTo>
                  <a:pt x="5896" y="12391"/>
                </a:lnTo>
                <a:lnTo>
                  <a:pt x="5984" y="12214"/>
                </a:lnTo>
                <a:lnTo>
                  <a:pt x="6072" y="12039"/>
                </a:lnTo>
                <a:lnTo>
                  <a:pt x="6160" y="11908"/>
                </a:lnTo>
                <a:lnTo>
                  <a:pt x="6336" y="11775"/>
                </a:lnTo>
                <a:lnTo>
                  <a:pt x="6512" y="11688"/>
                </a:lnTo>
                <a:lnTo>
                  <a:pt x="6688" y="11600"/>
                </a:lnTo>
                <a:lnTo>
                  <a:pt x="6864" y="11600"/>
                </a:lnTo>
                <a:lnTo>
                  <a:pt x="9460" y="11600"/>
                </a:lnTo>
                <a:lnTo>
                  <a:pt x="9636" y="11600"/>
                </a:lnTo>
                <a:lnTo>
                  <a:pt x="9812" y="11688"/>
                </a:lnTo>
                <a:lnTo>
                  <a:pt x="9988" y="11775"/>
                </a:lnTo>
                <a:lnTo>
                  <a:pt x="10164" y="11908"/>
                </a:lnTo>
                <a:lnTo>
                  <a:pt x="10252" y="12039"/>
                </a:lnTo>
                <a:lnTo>
                  <a:pt x="10340" y="12214"/>
                </a:lnTo>
                <a:lnTo>
                  <a:pt x="10428" y="12391"/>
                </a:lnTo>
                <a:lnTo>
                  <a:pt x="10428" y="12610"/>
                </a:lnTo>
                <a:lnTo>
                  <a:pt x="10428" y="13621"/>
                </a:lnTo>
                <a:lnTo>
                  <a:pt x="10604" y="13621"/>
                </a:lnTo>
                <a:lnTo>
                  <a:pt x="11000" y="13621"/>
                </a:lnTo>
                <a:lnTo>
                  <a:pt x="11220" y="13621"/>
                </a:lnTo>
                <a:lnTo>
                  <a:pt x="11220" y="12610"/>
                </a:lnTo>
                <a:lnTo>
                  <a:pt x="11220" y="12391"/>
                </a:lnTo>
                <a:lnTo>
                  <a:pt x="11308" y="12214"/>
                </a:lnTo>
                <a:lnTo>
                  <a:pt x="11396" y="12039"/>
                </a:lnTo>
                <a:lnTo>
                  <a:pt x="11528" y="11908"/>
                </a:lnTo>
                <a:lnTo>
                  <a:pt x="11660" y="11775"/>
                </a:lnTo>
                <a:lnTo>
                  <a:pt x="11836" y="11688"/>
                </a:lnTo>
                <a:lnTo>
                  <a:pt x="12012" y="11600"/>
                </a:lnTo>
                <a:lnTo>
                  <a:pt x="12232" y="11600"/>
                </a:lnTo>
                <a:lnTo>
                  <a:pt x="14784" y="11600"/>
                </a:lnTo>
                <a:lnTo>
                  <a:pt x="14960" y="11600"/>
                </a:lnTo>
                <a:lnTo>
                  <a:pt x="15180" y="11688"/>
                </a:lnTo>
                <a:lnTo>
                  <a:pt x="15313" y="11775"/>
                </a:lnTo>
                <a:lnTo>
                  <a:pt x="15488" y="11908"/>
                </a:lnTo>
                <a:lnTo>
                  <a:pt x="15576" y="12039"/>
                </a:lnTo>
                <a:lnTo>
                  <a:pt x="15707" y="12214"/>
                </a:lnTo>
                <a:lnTo>
                  <a:pt x="15752" y="12391"/>
                </a:lnTo>
                <a:lnTo>
                  <a:pt x="15752" y="12610"/>
                </a:lnTo>
                <a:lnTo>
                  <a:pt x="15752" y="13621"/>
                </a:lnTo>
                <a:lnTo>
                  <a:pt x="15928" y="13621"/>
                </a:lnTo>
                <a:lnTo>
                  <a:pt x="16324" y="13621"/>
                </a:lnTo>
                <a:lnTo>
                  <a:pt x="16544" y="13621"/>
                </a:lnTo>
                <a:lnTo>
                  <a:pt x="16544" y="14192"/>
                </a:lnTo>
                <a:lnTo>
                  <a:pt x="16324" y="14192"/>
                </a:lnTo>
                <a:lnTo>
                  <a:pt x="15928" y="14192"/>
                </a:lnTo>
                <a:lnTo>
                  <a:pt x="15752" y="14192"/>
                </a:lnTo>
                <a:lnTo>
                  <a:pt x="15752" y="15598"/>
                </a:lnTo>
                <a:lnTo>
                  <a:pt x="11220" y="15598"/>
                </a:lnTo>
                <a:lnTo>
                  <a:pt x="11220" y="14192"/>
                </a:lnTo>
                <a:lnTo>
                  <a:pt x="11000" y="14192"/>
                </a:lnTo>
                <a:lnTo>
                  <a:pt x="10604" y="14192"/>
                </a:lnTo>
                <a:lnTo>
                  <a:pt x="10428" y="14192"/>
                </a:lnTo>
                <a:lnTo>
                  <a:pt x="10428" y="15598"/>
                </a:lnTo>
                <a:lnTo>
                  <a:pt x="5896" y="15598"/>
                </a:lnTo>
                <a:lnTo>
                  <a:pt x="5896" y="14192"/>
                </a:lnTo>
                <a:lnTo>
                  <a:pt x="5764" y="14192"/>
                </a:lnTo>
                <a:lnTo>
                  <a:pt x="5280" y="14192"/>
                </a:lnTo>
                <a:lnTo>
                  <a:pt x="5192" y="14192"/>
                </a:lnTo>
                <a:lnTo>
                  <a:pt x="5192" y="15598"/>
                </a:lnTo>
                <a:lnTo>
                  <a:pt x="616" y="15598"/>
                </a:lnTo>
                <a:lnTo>
                  <a:pt x="616" y="14192"/>
                </a:lnTo>
                <a:lnTo>
                  <a:pt x="0" y="14192"/>
                </a:lnTo>
                <a:lnTo>
                  <a:pt x="0" y="13621"/>
                </a:lnTo>
                <a:lnTo>
                  <a:pt x="616" y="13621"/>
                </a:lnTo>
                <a:lnTo>
                  <a:pt x="616" y="12610"/>
                </a:lnTo>
                <a:lnTo>
                  <a:pt x="660" y="12391"/>
                </a:lnTo>
                <a:lnTo>
                  <a:pt x="704" y="12214"/>
                </a:lnTo>
                <a:lnTo>
                  <a:pt x="792" y="12039"/>
                </a:lnTo>
                <a:lnTo>
                  <a:pt x="924" y="11908"/>
                </a:lnTo>
                <a:lnTo>
                  <a:pt x="1056" y="11775"/>
                </a:lnTo>
                <a:lnTo>
                  <a:pt x="1231" y="11688"/>
                </a:lnTo>
                <a:lnTo>
                  <a:pt x="1408" y="11600"/>
                </a:lnTo>
                <a:lnTo>
                  <a:pt x="1628" y="11600"/>
                </a:lnTo>
                <a:close/>
                <a:moveTo>
                  <a:pt x="13508" y="9666"/>
                </a:moveTo>
                <a:lnTo>
                  <a:pt x="13772" y="9666"/>
                </a:lnTo>
                <a:lnTo>
                  <a:pt x="13992" y="9755"/>
                </a:lnTo>
                <a:lnTo>
                  <a:pt x="14212" y="9842"/>
                </a:lnTo>
                <a:lnTo>
                  <a:pt x="14388" y="10018"/>
                </a:lnTo>
                <a:lnTo>
                  <a:pt x="14564" y="10194"/>
                </a:lnTo>
                <a:lnTo>
                  <a:pt x="14652" y="10413"/>
                </a:lnTo>
                <a:lnTo>
                  <a:pt x="14740" y="10633"/>
                </a:lnTo>
                <a:lnTo>
                  <a:pt x="14784" y="10897"/>
                </a:lnTo>
                <a:lnTo>
                  <a:pt x="14740" y="11117"/>
                </a:lnTo>
                <a:lnTo>
                  <a:pt x="14696" y="11336"/>
                </a:lnTo>
                <a:lnTo>
                  <a:pt x="12364" y="11336"/>
                </a:lnTo>
                <a:lnTo>
                  <a:pt x="12320" y="11117"/>
                </a:lnTo>
                <a:lnTo>
                  <a:pt x="12276" y="10897"/>
                </a:lnTo>
                <a:lnTo>
                  <a:pt x="12320" y="10633"/>
                </a:lnTo>
                <a:lnTo>
                  <a:pt x="12364" y="10413"/>
                </a:lnTo>
                <a:lnTo>
                  <a:pt x="12496" y="10194"/>
                </a:lnTo>
                <a:lnTo>
                  <a:pt x="12628" y="10018"/>
                </a:lnTo>
                <a:lnTo>
                  <a:pt x="12848" y="9842"/>
                </a:lnTo>
                <a:lnTo>
                  <a:pt x="13024" y="9755"/>
                </a:lnTo>
                <a:lnTo>
                  <a:pt x="13288" y="9666"/>
                </a:lnTo>
                <a:lnTo>
                  <a:pt x="13508" y="9666"/>
                </a:lnTo>
                <a:close/>
                <a:moveTo>
                  <a:pt x="8184" y="9666"/>
                </a:moveTo>
                <a:lnTo>
                  <a:pt x="8448" y="9666"/>
                </a:lnTo>
                <a:lnTo>
                  <a:pt x="8668" y="9755"/>
                </a:lnTo>
                <a:lnTo>
                  <a:pt x="8888" y="9842"/>
                </a:lnTo>
                <a:lnTo>
                  <a:pt x="9064" y="10018"/>
                </a:lnTo>
                <a:lnTo>
                  <a:pt x="9240" y="10194"/>
                </a:lnTo>
                <a:lnTo>
                  <a:pt x="9328" y="10413"/>
                </a:lnTo>
                <a:lnTo>
                  <a:pt x="9416" y="10633"/>
                </a:lnTo>
                <a:lnTo>
                  <a:pt x="9460" y="10897"/>
                </a:lnTo>
                <a:lnTo>
                  <a:pt x="9416" y="11117"/>
                </a:lnTo>
                <a:lnTo>
                  <a:pt x="9372" y="11336"/>
                </a:lnTo>
                <a:lnTo>
                  <a:pt x="7041" y="11336"/>
                </a:lnTo>
                <a:lnTo>
                  <a:pt x="6952" y="11117"/>
                </a:lnTo>
                <a:lnTo>
                  <a:pt x="6952" y="10897"/>
                </a:lnTo>
                <a:lnTo>
                  <a:pt x="6996" y="10633"/>
                </a:lnTo>
                <a:lnTo>
                  <a:pt x="7041" y="10413"/>
                </a:lnTo>
                <a:lnTo>
                  <a:pt x="7172" y="10194"/>
                </a:lnTo>
                <a:lnTo>
                  <a:pt x="7304" y="10018"/>
                </a:lnTo>
                <a:lnTo>
                  <a:pt x="7480" y="9842"/>
                </a:lnTo>
                <a:lnTo>
                  <a:pt x="7700" y="9755"/>
                </a:lnTo>
                <a:lnTo>
                  <a:pt x="7964" y="9666"/>
                </a:lnTo>
                <a:lnTo>
                  <a:pt x="8184" y="9666"/>
                </a:lnTo>
                <a:close/>
                <a:moveTo>
                  <a:pt x="2948" y="9666"/>
                </a:moveTo>
                <a:lnTo>
                  <a:pt x="3168" y="9666"/>
                </a:lnTo>
                <a:lnTo>
                  <a:pt x="3432" y="9755"/>
                </a:lnTo>
                <a:lnTo>
                  <a:pt x="3652" y="9842"/>
                </a:lnTo>
                <a:lnTo>
                  <a:pt x="3828" y="10018"/>
                </a:lnTo>
                <a:lnTo>
                  <a:pt x="3960" y="10194"/>
                </a:lnTo>
                <a:lnTo>
                  <a:pt x="4092" y="10413"/>
                </a:lnTo>
                <a:lnTo>
                  <a:pt x="4136" y="10633"/>
                </a:lnTo>
                <a:lnTo>
                  <a:pt x="4180" y="10897"/>
                </a:lnTo>
                <a:lnTo>
                  <a:pt x="4180" y="11117"/>
                </a:lnTo>
                <a:lnTo>
                  <a:pt x="4092" y="11336"/>
                </a:lnTo>
                <a:lnTo>
                  <a:pt x="1760" y="11336"/>
                </a:lnTo>
                <a:lnTo>
                  <a:pt x="1716" y="11117"/>
                </a:lnTo>
                <a:lnTo>
                  <a:pt x="1672" y="10897"/>
                </a:lnTo>
                <a:lnTo>
                  <a:pt x="1716" y="10633"/>
                </a:lnTo>
                <a:lnTo>
                  <a:pt x="1804" y="10413"/>
                </a:lnTo>
                <a:lnTo>
                  <a:pt x="1892" y="10194"/>
                </a:lnTo>
                <a:lnTo>
                  <a:pt x="2068" y="10018"/>
                </a:lnTo>
                <a:lnTo>
                  <a:pt x="2244" y="9842"/>
                </a:lnTo>
                <a:lnTo>
                  <a:pt x="2464" y="9755"/>
                </a:lnTo>
                <a:lnTo>
                  <a:pt x="2684" y="9666"/>
                </a:lnTo>
                <a:lnTo>
                  <a:pt x="2948" y="9666"/>
                </a:lnTo>
                <a:close/>
                <a:moveTo>
                  <a:pt x="13508" y="5712"/>
                </a:moveTo>
                <a:lnTo>
                  <a:pt x="13508" y="6459"/>
                </a:lnTo>
                <a:lnTo>
                  <a:pt x="12892" y="6459"/>
                </a:lnTo>
                <a:lnTo>
                  <a:pt x="13552" y="8832"/>
                </a:lnTo>
                <a:lnTo>
                  <a:pt x="12716" y="8832"/>
                </a:lnTo>
                <a:lnTo>
                  <a:pt x="12012" y="6459"/>
                </a:lnTo>
                <a:lnTo>
                  <a:pt x="9503" y="6459"/>
                </a:lnTo>
                <a:lnTo>
                  <a:pt x="8844" y="8832"/>
                </a:lnTo>
                <a:lnTo>
                  <a:pt x="7964" y="8832"/>
                </a:lnTo>
                <a:lnTo>
                  <a:pt x="8668" y="6459"/>
                </a:lnTo>
                <a:lnTo>
                  <a:pt x="7964" y="6459"/>
                </a:lnTo>
                <a:lnTo>
                  <a:pt x="7964" y="5712"/>
                </a:lnTo>
                <a:lnTo>
                  <a:pt x="13508" y="5712"/>
                </a:lnTo>
                <a:close/>
                <a:moveTo>
                  <a:pt x="7920" y="703"/>
                </a:moveTo>
                <a:lnTo>
                  <a:pt x="7744" y="703"/>
                </a:lnTo>
                <a:lnTo>
                  <a:pt x="7568" y="747"/>
                </a:lnTo>
                <a:lnTo>
                  <a:pt x="7437" y="834"/>
                </a:lnTo>
                <a:lnTo>
                  <a:pt x="7304" y="923"/>
                </a:lnTo>
                <a:lnTo>
                  <a:pt x="7216" y="1054"/>
                </a:lnTo>
                <a:lnTo>
                  <a:pt x="7128" y="1186"/>
                </a:lnTo>
                <a:lnTo>
                  <a:pt x="7084" y="1362"/>
                </a:lnTo>
                <a:lnTo>
                  <a:pt x="7084" y="1537"/>
                </a:lnTo>
                <a:lnTo>
                  <a:pt x="7084" y="3164"/>
                </a:lnTo>
                <a:lnTo>
                  <a:pt x="6820" y="3207"/>
                </a:lnTo>
                <a:lnTo>
                  <a:pt x="6820" y="2944"/>
                </a:lnTo>
                <a:lnTo>
                  <a:pt x="5632" y="2944"/>
                </a:lnTo>
                <a:lnTo>
                  <a:pt x="4796" y="2416"/>
                </a:lnTo>
                <a:lnTo>
                  <a:pt x="2903" y="2416"/>
                </a:lnTo>
                <a:lnTo>
                  <a:pt x="2772" y="2461"/>
                </a:lnTo>
                <a:lnTo>
                  <a:pt x="2640" y="2504"/>
                </a:lnTo>
                <a:lnTo>
                  <a:pt x="2508" y="2548"/>
                </a:lnTo>
                <a:lnTo>
                  <a:pt x="2376" y="2636"/>
                </a:lnTo>
                <a:lnTo>
                  <a:pt x="2288" y="2724"/>
                </a:lnTo>
                <a:lnTo>
                  <a:pt x="2244" y="2856"/>
                </a:lnTo>
                <a:lnTo>
                  <a:pt x="2200" y="2988"/>
                </a:lnTo>
                <a:lnTo>
                  <a:pt x="2200" y="3119"/>
                </a:lnTo>
                <a:lnTo>
                  <a:pt x="2200" y="5360"/>
                </a:lnTo>
                <a:lnTo>
                  <a:pt x="2903" y="5360"/>
                </a:lnTo>
                <a:lnTo>
                  <a:pt x="2903" y="3735"/>
                </a:lnTo>
                <a:lnTo>
                  <a:pt x="3036" y="3735"/>
                </a:lnTo>
                <a:lnTo>
                  <a:pt x="3036" y="5360"/>
                </a:lnTo>
                <a:lnTo>
                  <a:pt x="3036" y="5800"/>
                </a:lnTo>
                <a:lnTo>
                  <a:pt x="3036" y="8744"/>
                </a:lnTo>
                <a:lnTo>
                  <a:pt x="3828" y="8744"/>
                </a:lnTo>
                <a:lnTo>
                  <a:pt x="3828" y="6283"/>
                </a:lnTo>
                <a:lnTo>
                  <a:pt x="4004" y="6283"/>
                </a:lnTo>
                <a:lnTo>
                  <a:pt x="4004" y="8744"/>
                </a:lnTo>
                <a:lnTo>
                  <a:pt x="4796" y="8744"/>
                </a:lnTo>
                <a:lnTo>
                  <a:pt x="4796" y="8304"/>
                </a:lnTo>
                <a:lnTo>
                  <a:pt x="4796" y="5800"/>
                </a:lnTo>
                <a:lnTo>
                  <a:pt x="4796" y="5360"/>
                </a:lnTo>
                <a:lnTo>
                  <a:pt x="4796" y="3735"/>
                </a:lnTo>
                <a:lnTo>
                  <a:pt x="4796" y="3295"/>
                </a:lnTo>
                <a:lnTo>
                  <a:pt x="5632" y="3735"/>
                </a:lnTo>
                <a:lnTo>
                  <a:pt x="6820" y="3735"/>
                </a:lnTo>
                <a:lnTo>
                  <a:pt x="6820" y="3515"/>
                </a:lnTo>
                <a:lnTo>
                  <a:pt x="7084" y="3471"/>
                </a:lnTo>
                <a:lnTo>
                  <a:pt x="7084" y="4701"/>
                </a:lnTo>
                <a:lnTo>
                  <a:pt x="7084" y="4877"/>
                </a:lnTo>
                <a:lnTo>
                  <a:pt x="7128" y="5009"/>
                </a:lnTo>
                <a:lnTo>
                  <a:pt x="7216" y="5141"/>
                </a:lnTo>
                <a:lnTo>
                  <a:pt x="7304" y="5272"/>
                </a:lnTo>
                <a:lnTo>
                  <a:pt x="7437" y="5404"/>
                </a:lnTo>
                <a:lnTo>
                  <a:pt x="7612" y="5448"/>
                </a:lnTo>
                <a:lnTo>
                  <a:pt x="7744" y="5537"/>
                </a:lnTo>
                <a:lnTo>
                  <a:pt x="7920" y="5537"/>
                </a:lnTo>
                <a:lnTo>
                  <a:pt x="13376" y="5537"/>
                </a:lnTo>
                <a:lnTo>
                  <a:pt x="13552" y="5537"/>
                </a:lnTo>
                <a:lnTo>
                  <a:pt x="13684" y="5448"/>
                </a:lnTo>
                <a:lnTo>
                  <a:pt x="13816" y="5404"/>
                </a:lnTo>
                <a:lnTo>
                  <a:pt x="13948" y="5272"/>
                </a:lnTo>
                <a:lnTo>
                  <a:pt x="14080" y="5141"/>
                </a:lnTo>
                <a:lnTo>
                  <a:pt x="14124" y="5009"/>
                </a:lnTo>
                <a:lnTo>
                  <a:pt x="14212" y="4877"/>
                </a:lnTo>
                <a:lnTo>
                  <a:pt x="14212" y="4701"/>
                </a:lnTo>
                <a:lnTo>
                  <a:pt x="14212" y="1537"/>
                </a:lnTo>
                <a:lnTo>
                  <a:pt x="14212" y="1362"/>
                </a:lnTo>
                <a:lnTo>
                  <a:pt x="14124" y="1186"/>
                </a:lnTo>
                <a:lnTo>
                  <a:pt x="14080" y="1054"/>
                </a:lnTo>
                <a:lnTo>
                  <a:pt x="13948" y="923"/>
                </a:lnTo>
                <a:lnTo>
                  <a:pt x="13860" y="834"/>
                </a:lnTo>
                <a:lnTo>
                  <a:pt x="13684" y="747"/>
                </a:lnTo>
                <a:lnTo>
                  <a:pt x="13552" y="703"/>
                </a:lnTo>
                <a:lnTo>
                  <a:pt x="13376" y="703"/>
                </a:lnTo>
                <a:lnTo>
                  <a:pt x="7920" y="703"/>
                </a:lnTo>
                <a:close/>
                <a:moveTo>
                  <a:pt x="13376" y="1362"/>
                </a:moveTo>
                <a:lnTo>
                  <a:pt x="13420" y="1362"/>
                </a:lnTo>
                <a:lnTo>
                  <a:pt x="13508" y="1406"/>
                </a:lnTo>
                <a:lnTo>
                  <a:pt x="13508" y="1450"/>
                </a:lnTo>
                <a:lnTo>
                  <a:pt x="13552" y="1537"/>
                </a:lnTo>
                <a:lnTo>
                  <a:pt x="13552" y="4701"/>
                </a:lnTo>
                <a:lnTo>
                  <a:pt x="13508" y="4746"/>
                </a:lnTo>
                <a:lnTo>
                  <a:pt x="13508" y="4789"/>
                </a:lnTo>
                <a:lnTo>
                  <a:pt x="13508" y="4833"/>
                </a:lnTo>
                <a:lnTo>
                  <a:pt x="13420" y="4833"/>
                </a:lnTo>
                <a:lnTo>
                  <a:pt x="13376" y="4877"/>
                </a:lnTo>
                <a:lnTo>
                  <a:pt x="7920" y="4877"/>
                </a:lnTo>
                <a:lnTo>
                  <a:pt x="7832" y="4833"/>
                </a:lnTo>
                <a:lnTo>
                  <a:pt x="7788" y="4833"/>
                </a:lnTo>
                <a:lnTo>
                  <a:pt x="7788" y="4789"/>
                </a:lnTo>
                <a:lnTo>
                  <a:pt x="7744" y="4746"/>
                </a:lnTo>
                <a:lnTo>
                  <a:pt x="7744" y="4701"/>
                </a:lnTo>
                <a:lnTo>
                  <a:pt x="7744" y="3339"/>
                </a:lnTo>
                <a:lnTo>
                  <a:pt x="10472" y="2768"/>
                </a:lnTo>
                <a:lnTo>
                  <a:pt x="10428" y="2724"/>
                </a:lnTo>
                <a:lnTo>
                  <a:pt x="7744" y="3076"/>
                </a:lnTo>
                <a:lnTo>
                  <a:pt x="7744" y="1537"/>
                </a:lnTo>
                <a:lnTo>
                  <a:pt x="7744" y="1450"/>
                </a:lnTo>
                <a:lnTo>
                  <a:pt x="7788" y="1406"/>
                </a:lnTo>
                <a:lnTo>
                  <a:pt x="7832" y="1362"/>
                </a:lnTo>
                <a:lnTo>
                  <a:pt x="7920" y="1362"/>
                </a:lnTo>
                <a:lnTo>
                  <a:pt x="13376" y="1362"/>
                </a:lnTo>
                <a:close/>
              </a:path>
            </a:pathLst>
          </a:custGeom>
          <a:solidFill>
            <a:srgbClr val="000000">
              <a:lumMod val="50000"/>
              <a:lumOff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3" name="Picture 2"/>
          <p:cNvPicPr>
            <a:picLocks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6217703" y="1131019"/>
            <a:ext cx="196541" cy="128648"/>
          </a:xfrm>
          <a:prstGeom prst="rect">
            <a:avLst/>
          </a:prstGeom>
        </p:spPr>
      </p:pic>
      <p:sp>
        <p:nvSpPr>
          <p:cNvPr id="24" name="Freeform 43"/>
          <p:cNvSpPr>
            <a:spLocks/>
          </p:cNvSpPr>
          <p:nvPr/>
        </p:nvSpPr>
        <p:spPr bwMode="auto">
          <a:xfrm>
            <a:off x="6298760" y="1176934"/>
            <a:ext cx="119330" cy="95252"/>
          </a:xfrm>
          <a:custGeom>
            <a:avLst/>
            <a:gdLst/>
            <a:ahLst/>
            <a:cxnLst>
              <a:cxn ang="0">
                <a:pos x="14168" y="5544"/>
              </a:cxn>
              <a:cxn ang="0">
                <a:pos x="8536" y="3256"/>
              </a:cxn>
              <a:cxn ang="0">
                <a:pos x="6424" y="2376"/>
              </a:cxn>
              <a:cxn ang="0">
                <a:pos x="792" y="88"/>
              </a:cxn>
              <a:cxn ang="0">
                <a:pos x="352" y="0"/>
              </a:cxn>
              <a:cxn ang="0">
                <a:pos x="264" y="0"/>
              </a:cxn>
              <a:cxn ang="0">
                <a:pos x="88" y="88"/>
              </a:cxn>
              <a:cxn ang="0">
                <a:pos x="88" y="176"/>
              </a:cxn>
              <a:cxn ang="0">
                <a:pos x="0" y="352"/>
              </a:cxn>
              <a:cxn ang="0">
                <a:pos x="88" y="704"/>
              </a:cxn>
              <a:cxn ang="0">
                <a:pos x="2376" y="6336"/>
              </a:cxn>
              <a:cxn ang="0">
                <a:pos x="3345" y="8536"/>
              </a:cxn>
              <a:cxn ang="0">
                <a:pos x="5632" y="14168"/>
              </a:cxn>
              <a:cxn ang="0">
                <a:pos x="5720" y="14344"/>
              </a:cxn>
              <a:cxn ang="0">
                <a:pos x="5808" y="14520"/>
              </a:cxn>
              <a:cxn ang="0">
                <a:pos x="5984" y="14608"/>
              </a:cxn>
              <a:cxn ang="0">
                <a:pos x="6160" y="14608"/>
              </a:cxn>
              <a:cxn ang="0">
                <a:pos x="6601" y="14520"/>
              </a:cxn>
              <a:cxn ang="0">
                <a:pos x="7040" y="14256"/>
              </a:cxn>
              <a:cxn ang="0">
                <a:pos x="9504" y="11704"/>
              </a:cxn>
              <a:cxn ang="0">
                <a:pos x="13816" y="16016"/>
              </a:cxn>
              <a:cxn ang="0">
                <a:pos x="13992" y="16192"/>
              </a:cxn>
              <a:cxn ang="0">
                <a:pos x="14256" y="16192"/>
              </a:cxn>
              <a:cxn ang="0">
                <a:pos x="14432" y="16192"/>
              </a:cxn>
              <a:cxn ang="0">
                <a:pos x="14608" y="16104"/>
              </a:cxn>
              <a:cxn ang="0">
                <a:pos x="16104" y="14608"/>
              </a:cxn>
              <a:cxn ang="0">
                <a:pos x="16280" y="14344"/>
              </a:cxn>
              <a:cxn ang="0">
                <a:pos x="16280" y="14168"/>
              </a:cxn>
              <a:cxn ang="0">
                <a:pos x="16192" y="13904"/>
              </a:cxn>
              <a:cxn ang="0">
                <a:pos x="16104" y="13728"/>
              </a:cxn>
              <a:cxn ang="0">
                <a:pos x="11792" y="9504"/>
              </a:cxn>
              <a:cxn ang="0">
                <a:pos x="14256" y="6952"/>
              </a:cxn>
              <a:cxn ang="0">
                <a:pos x="14608" y="6600"/>
              </a:cxn>
              <a:cxn ang="0">
                <a:pos x="14696" y="6160"/>
              </a:cxn>
              <a:cxn ang="0">
                <a:pos x="14608" y="5984"/>
              </a:cxn>
              <a:cxn ang="0">
                <a:pos x="14520" y="5808"/>
              </a:cxn>
              <a:cxn ang="0">
                <a:pos x="14432" y="5632"/>
              </a:cxn>
              <a:cxn ang="0">
                <a:pos x="14168" y="5544"/>
              </a:cxn>
            </a:cxnLst>
            <a:rect l="0" t="0" r="r" b="b"/>
            <a:pathLst>
              <a:path w="16280" h="16192">
                <a:moveTo>
                  <a:pt x="14168" y="5544"/>
                </a:moveTo>
                <a:lnTo>
                  <a:pt x="8536" y="3256"/>
                </a:lnTo>
                <a:lnTo>
                  <a:pt x="6424" y="2376"/>
                </a:lnTo>
                <a:lnTo>
                  <a:pt x="792" y="88"/>
                </a:lnTo>
                <a:lnTo>
                  <a:pt x="352" y="0"/>
                </a:lnTo>
                <a:lnTo>
                  <a:pt x="264" y="0"/>
                </a:lnTo>
                <a:lnTo>
                  <a:pt x="88" y="88"/>
                </a:lnTo>
                <a:lnTo>
                  <a:pt x="88" y="176"/>
                </a:lnTo>
                <a:lnTo>
                  <a:pt x="0" y="352"/>
                </a:lnTo>
                <a:lnTo>
                  <a:pt x="88" y="704"/>
                </a:lnTo>
                <a:lnTo>
                  <a:pt x="2376" y="6336"/>
                </a:lnTo>
                <a:lnTo>
                  <a:pt x="3345" y="8536"/>
                </a:lnTo>
                <a:lnTo>
                  <a:pt x="5632" y="14168"/>
                </a:lnTo>
                <a:lnTo>
                  <a:pt x="5720" y="14344"/>
                </a:lnTo>
                <a:lnTo>
                  <a:pt x="5808" y="14520"/>
                </a:lnTo>
                <a:lnTo>
                  <a:pt x="5984" y="14608"/>
                </a:lnTo>
                <a:lnTo>
                  <a:pt x="6160" y="14608"/>
                </a:lnTo>
                <a:lnTo>
                  <a:pt x="6601" y="14520"/>
                </a:lnTo>
                <a:lnTo>
                  <a:pt x="7040" y="14256"/>
                </a:lnTo>
                <a:lnTo>
                  <a:pt x="9504" y="11704"/>
                </a:lnTo>
                <a:lnTo>
                  <a:pt x="13816" y="16016"/>
                </a:lnTo>
                <a:lnTo>
                  <a:pt x="13992" y="16192"/>
                </a:lnTo>
                <a:lnTo>
                  <a:pt x="14256" y="16192"/>
                </a:lnTo>
                <a:lnTo>
                  <a:pt x="14432" y="16192"/>
                </a:lnTo>
                <a:lnTo>
                  <a:pt x="14608" y="16104"/>
                </a:lnTo>
                <a:lnTo>
                  <a:pt x="16104" y="14608"/>
                </a:lnTo>
                <a:lnTo>
                  <a:pt x="16280" y="14344"/>
                </a:lnTo>
                <a:lnTo>
                  <a:pt x="16280" y="14168"/>
                </a:lnTo>
                <a:lnTo>
                  <a:pt x="16192" y="13904"/>
                </a:lnTo>
                <a:lnTo>
                  <a:pt x="16104" y="13728"/>
                </a:lnTo>
                <a:lnTo>
                  <a:pt x="11792" y="9504"/>
                </a:lnTo>
                <a:lnTo>
                  <a:pt x="14256" y="6952"/>
                </a:lnTo>
                <a:lnTo>
                  <a:pt x="14608" y="6600"/>
                </a:lnTo>
                <a:lnTo>
                  <a:pt x="14696" y="6160"/>
                </a:lnTo>
                <a:lnTo>
                  <a:pt x="14608" y="5984"/>
                </a:lnTo>
                <a:lnTo>
                  <a:pt x="14520" y="5808"/>
                </a:lnTo>
                <a:lnTo>
                  <a:pt x="14432" y="5632"/>
                </a:lnTo>
                <a:lnTo>
                  <a:pt x="14168" y="5544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67"/>
          <p:cNvSpPr>
            <a:spLocks noChangeArrowheads="1"/>
          </p:cNvSpPr>
          <p:nvPr/>
        </p:nvSpPr>
        <p:spPr bwMode="auto">
          <a:xfrm>
            <a:off x="491172" y="1984085"/>
            <a:ext cx="835165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noProof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D.R. </a:t>
            </a:r>
            <a:r>
              <a:rPr lang="en-US" altLang="zh-CN" sz="1000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Cente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6" name="Rectangle 267"/>
          <p:cNvSpPr>
            <a:spLocks noChangeArrowheads="1"/>
          </p:cNvSpPr>
          <p:nvPr/>
        </p:nvSpPr>
        <p:spPr bwMode="auto">
          <a:xfrm>
            <a:off x="3191228" y="1612289"/>
            <a:ext cx="817531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Call Cente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9" name="Freeform 72"/>
          <p:cNvSpPr>
            <a:spLocks/>
          </p:cNvSpPr>
          <p:nvPr/>
        </p:nvSpPr>
        <p:spPr bwMode="auto">
          <a:xfrm rot="9454396">
            <a:off x="5242011" y="2080725"/>
            <a:ext cx="275583" cy="659928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B2B2B2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pic>
        <p:nvPicPr>
          <p:cNvPr id="32" name="Picture 4" descr="图片131"/>
          <p:cNvPicPr>
            <a:picLocks noChangeAspect="1" noChangeArrowheads="1"/>
          </p:cNvPicPr>
          <p:nvPr/>
        </p:nvPicPr>
        <p:blipFill>
          <a:blip r:embed="rId5" cstate="email">
            <a:duotone>
              <a:prstClr val="black"/>
              <a:srgbClr val="FFFFFF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5584378" y="2480147"/>
            <a:ext cx="450648" cy="341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267"/>
          <p:cNvSpPr>
            <a:spLocks noChangeArrowheads="1"/>
          </p:cNvSpPr>
          <p:nvPr/>
        </p:nvSpPr>
        <p:spPr bwMode="auto">
          <a:xfrm>
            <a:off x="5500327" y="2816203"/>
            <a:ext cx="647614" cy="319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600" b="1" kern="0" dirty="0" smtClean="0">
                <a:solidFill>
                  <a:srgbClr val="FFC000"/>
                </a:solidFill>
                <a:latin typeface="Arial" pitchFamily="34" charset="0"/>
                <a:ea typeface="华文细黑"/>
                <a:cs typeface="Arial" pitchFamily="34" charset="0"/>
              </a:rPr>
              <a:t>eLTE</a:t>
            </a:r>
            <a:endParaRPr kumimoji="0" lang="en-US" altLang="zh-CN" sz="16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pic>
        <p:nvPicPr>
          <p:cNvPr id="34" name="Picture 26" descr="E:\Files\My Documents\My Pictures\19\19\png 128\Elite Captain Blue Shielded 128x128.pn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6986204" y="3460054"/>
            <a:ext cx="400518" cy="296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组合 399"/>
          <p:cNvGrpSpPr/>
          <p:nvPr/>
        </p:nvGrpSpPr>
        <p:grpSpPr>
          <a:xfrm>
            <a:off x="6840222" y="3380914"/>
            <a:ext cx="244317" cy="359258"/>
            <a:chOff x="7490216" y="1910679"/>
            <a:chExt cx="261718" cy="448266"/>
          </a:xfrm>
        </p:grpSpPr>
        <p:sp>
          <p:nvSpPr>
            <p:cNvPr id="243" name="Freeform 11"/>
            <p:cNvSpPr>
              <a:spLocks noEditPoints="1"/>
            </p:cNvSpPr>
            <p:nvPr/>
          </p:nvSpPr>
          <p:spPr bwMode="auto">
            <a:xfrm>
              <a:off x="7582249" y="1995467"/>
              <a:ext cx="169685" cy="363478"/>
            </a:xfrm>
            <a:custGeom>
              <a:avLst/>
              <a:gdLst/>
              <a:ahLst/>
              <a:cxnLst>
                <a:cxn ang="0">
                  <a:pos x="256" y="4"/>
                </a:cxn>
                <a:cxn ang="0">
                  <a:pos x="225" y="4"/>
                </a:cxn>
                <a:cxn ang="0">
                  <a:pos x="61" y="43"/>
                </a:cxn>
                <a:cxn ang="0">
                  <a:pos x="0" y="463"/>
                </a:cxn>
                <a:cxn ang="0">
                  <a:pos x="61" y="523"/>
                </a:cxn>
                <a:cxn ang="0">
                  <a:pos x="290" y="484"/>
                </a:cxn>
                <a:cxn ang="0">
                  <a:pos x="286" y="69"/>
                </a:cxn>
                <a:cxn ang="0">
                  <a:pos x="74" y="489"/>
                </a:cxn>
                <a:cxn ang="0">
                  <a:pos x="48" y="458"/>
                </a:cxn>
                <a:cxn ang="0">
                  <a:pos x="74" y="432"/>
                </a:cxn>
                <a:cxn ang="0">
                  <a:pos x="100" y="458"/>
                </a:cxn>
                <a:cxn ang="0">
                  <a:pos x="74" y="489"/>
                </a:cxn>
                <a:cxn ang="0">
                  <a:pos x="48" y="406"/>
                </a:cxn>
                <a:cxn ang="0">
                  <a:pos x="65" y="367"/>
                </a:cxn>
                <a:cxn ang="0">
                  <a:pos x="100" y="385"/>
                </a:cxn>
                <a:cxn ang="0">
                  <a:pos x="87" y="419"/>
                </a:cxn>
                <a:cxn ang="0">
                  <a:pos x="65" y="354"/>
                </a:cxn>
                <a:cxn ang="0">
                  <a:pos x="48" y="320"/>
                </a:cxn>
                <a:cxn ang="0">
                  <a:pos x="87" y="303"/>
                </a:cxn>
                <a:cxn ang="0">
                  <a:pos x="100" y="337"/>
                </a:cxn>
                <a:cxn ang="0">
                  <a:pos x="147" y="489"/>
                </a:cxn>
                <a:cxn ang="0">
                  <a:pos x="122" y="458"/>
                </a:cxn>
                <a:cxn ang="0">
                  <a:pos x="147" y="432"/>
                </a:cxn>
                <a:cxn ang="0">
                  <a:pos x="173" y="458"/>
                </a:cxn>
                <a:cxn ang="0">
                  <a:pos x="147" y="489"/>
                </a:cxn>
                <a:cxn ang="0">
                  <a:pos x="130" y="415"/>
                </a:cxn>
                <a:cxn ang="0">
                  <a:pos x="130" y="376"/>
                </a:cxn>
                <a:cxn ang="0">
                  <a:pos x="165" y="376"/>
                </a:cxn>
                <a:cxn ang="0">
                  <a:pos x="165" y="415"/>
                </a:cxn>
                <a:cxn ang="0">
                  <a:pos x="147" y="354"/>
                </a:cxn>
                <a:cxn ang="0">
                  <a:pos x="122" y="328"/>
                </a:cxn>
                <a:cxn ang="0">
                  <a:pos x="147" y="303"/>
                </a:cxn>
                <a:cxn ang="0">
                  <a:pos x="173" y="328"/>
                </a:cxn>
                <a:cxn ang="0">
                  <a:pos x="147" y="354"/>
                </a:cxn>
                <a:cxn ang="0">
                  <a:pos x="195" y="471"/>
                </a:cxn>
                <a:cxn ang="0">
                  <a:pos x="208" y="437"/>
                </a:cxn>
                <a:cxn ang="0">
                  <a:pos x="247" y="450"/>
                </a:cxn>
                <a:cxn ang="0">
                  <a:pos x="230" y="484"/>
                </a:cxn>
                <a:cxn ang="0">
                  <a:pos x="208" y="419"/>
                </a:cxn>
                <a:cxn ang="0">
                  <a:pos x="195" y="385"/>
                </a:cxn>
                <a:cxn ang="0">
                  <a:pos x="230" y="367"/>
                </a:cxn>
                <a:cxn ang="0">
                  <a:pos x="247" y="406"/>
                </a:cxn>
                <a:cxn ang="0">
                  <a:pos x="221" y="354"/>
                </a:cxn>
                <a:cxn ang="0">
                  <a:pos x="191" y="328"/>
                </a:cxn>
                <a:cxn ang="0">
                  <a:pos x="221" y="303"/>
                </a:cxn>
                <a:cxn ang="0">
                  <a:pos x="247" y="328"/>
                </a:cxn>
                <a:cxn ang="0">
                  <a:pos x="221" y="354"/>
                </a:cxn>
                <a:cxn ang="0">
                  <a:pos x="234" y="242"/>
                </a:cxn>
                <a:cxn ang="0">
                  <a:pos x="83" y="255"/>
                </a:cxn>
                <a:cxn ang="0">
                  <a:pos x="44" y="138"/>
                </a:cxn>
                <a:cxn ang="0">
                  <a:pos x="191" y="73"/>
                </a:cxn>
                <a:cxn ang="0">
                  <a:pos x="251" y="138"/>
                </a:cxn>
              </a:cxnLst>
              <a:rect l="0" t="0" r="r" b="b"/>
              <a:pathLst>
                <a:path w="295" h="523">
                  <a:moveTo>
                    <a:pt x="260" y="47"/>
                  </a:moveTo>
                  <a:lnTo>
                    <a:pt x="260" y="17"/>
                  </a:lnTo>
                  <a:lnTo>
                    <a:pt x="260" y="17"/>
                  </a:lnTo>
                  <a:lnTo>
                    <a:pt x="260" y="13"/>
                  </a:lnTo>
                  <a:lnTo>
                    <a:pt x="256" y="4"/>
                  </a:lnTo>
                  <a:lnTo>
                    <a:pt x="247" y="4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0" y="4"/>
                  </a:lnTo>
                  <a:lnTo>
                    <a:pt x="225" y="4"/>
                  </a:lnTo>
                  <a:lnTo>
                    <a:pt x="221" y="13"/>
                  </a:lnTo>
                  <a:lnTo>
                    <a:pt x="217" y="17"/>
                  </a:lnTo>
                  <a:lnTo>
                    <a:pt x="217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39" y="47"/>
                  </a:lnTo>
                  <a:lnTo>
                    <a:pt x="18" y="60"/>
                  </a:lnTo>
                  <a:lnTo>
                    <a:pt x="5" y="77"/>
                  </a:lnTo>
                  <a:lnTo>
                    <a:pt x="0" y="10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5" y="484"/>
                  </a:lnTo>
                  <a:lnTo>
                    <a:pt x="18" y="506"/>
                  </a:lnTo>
                  <a:lnTo>
                    <a:pt x="39" y="519"/>
                  </a:lnTo>
                  <a:lnTo>
                    <a:pt x="61" y="523"/>
                  </a:lnTo>
                  <a:lnTo>
                    <a:pt x="234" y="523"/>
                  </a:lnTo>
                  <a:lnTo>
                    <a:pt x="234" y="523"/>
                  </a:lnTo>
                  <a:lnTo>
                    <a:pt x="256" y="519"/>
                  </a:lnTo>
                  <a:lnTo>
                    <a:pt x="277" y="506"/>
                  </a:lnTo>
                  <a:lnTo>
                    <a:pt x="290" y="484"/>
                  </a:lnTo>
                  <a:lnTo>
                    <a:pt x="295" y="463"/>
                  </a:lnTo>
                  <a:lnTo>
                    <a:pt x="295" y="103"/>
                  </a:lnTo>
                  <a:lnTo>
                    <a:pt x="295" y="103"/>
                  </a:lnTo>
                  <a:lnTo>
                    <a:pt x="290" y="86"/>
                  </a:lnTo>
                  <a:lnTo>
                    <a:pt x="286" y="69"/>
                  </a:lnTo>
                  <a:lnTo>
                    <a:pt x="273" y="56"/>
                  </a:lnTo>
                  <a:lnTo>
                    <a:pt x="260" y="47"/>
                  </a:lnTo>
                  <a:lnTo>
                    <a:pt x="260" y="47"/>
                  </a:lnTo>
                  <a:close/>
                  <a:moveTo>
                    <a:pt x="74" y="489"/>
                  </a:moveTo>
                  <a:lnTo>
                    <a:pt x="74" y="489"/>
                  </a:lnTo>
                  <a:lnTo>
                    <a:pt x="65" y="484"/>
                  </a:lnTo>
                  <a:lnTo>
                    <a:pt x="57" y="480"/>
                  </a:lnTo>
                  <a:lnTo>
                    <a:pt x="48" y="471"/>
                  </a:lnTo>
                  <a:lnTo>
                    <a:pt x="48" y="458"/>
                  </a:lnTo>
                  <a:lnTo>
                    <a:pt x="48" y="458"/>
                  </a:lnTo>
                  <a:lnTo>
                    <a:pt x="48" y="450"/>
                  </a:lnTo>
                  <a:lnTo>
                    <a:pt x="57" y="441"/>
                  </a:lnTo>
                  <a:lnTo>
                    <a:pt x="65" y="437"/>
                  </a:lnTo>
                  <a:lnTo>
                    <a:pt x="74" y="432"/>
                  </a:lnTo>
                  <a:lnTo>
                    <a:pt x="74" y="432"/>
                  </a:lnTo>
                  <a:lnTo>
                    <a:pt x="87" y="437"/>
                  </a:lnTo>
                  <a:lnTo>
                    <a:pt x="96" y="441"/>
                  </a:lnTo>
                  <a:lnTo>
                    <a:pt x="100" y="450"/>
                  </a:lnTo>
                  <a:lnTo>
                    <a:pt x="100" y="458"/>
                  </a:lnTo>
                  <a:lnTo>
                    <a:pt x="100" y="458"/>
                  </a:lnTo>
                  <a:lnTo>
                    <a:pt x="100" y="471"/>
                  </a:lnTo>
                  <a:lnTo>
                    <a:pt x="96" y="480"/>
                  </a:lnTo>
                  <a:lnTo>
                    <a:pt x="87" y="484"/>
                  </a:lnTo>
                  <a:lnTo>
                    <a:pt x="74" y="489"/>
                  </a:lnTo>
                  <a:lnTo>
                    <a:pt x="74" y="489"/>
                  </a:lnTo>
                  <a:close/>
                  <a:moveTo>
                    <a:pt x="74" y="419"/>
                  </a:moveTo>
                  <a:lnTo>
                    <a:pt x="74" y="419"/>
                  </a:lnTo>
                  <a:lnTo>
                    <a:pt x="65" y="419"/>
                  </a:lnTo>
                  <a:lnTo>
                    <a:pt x="57" y="415"/>
                  </a:lnTo>
                  <a:lnTo>
                    <a:pt x="48" y="406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85"/>
                  </a:lnTo>
                  <a:lnTo>
                    <a:pt x="57" y="376"/>
                  </a:lnTo>
                  <a:lnTo>
                    <a:pt x="65" y="367"/>
                  </a:lnTo>
                  <a:lnTo>
                    <a:pt x="74" y="367"/>
                  </a:lnTo>
                  <a:lnTo>
                    <a:pt x="74" y="367"/>
                  </a:lnTo>
                  <a:lnTo>
                    <a:pt x="87" y="367"/>
                  </a:lnTo>
                  <a:lnTo>
                    <a:pt x="96" y="376"/>
                  </a:lnTo>
                  <a:lnTo>
                    <a:pt x="100" y="385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0" y="406"/>
                  </a:lnTo>
                  <a:lnTo>
                    <a:pt x="96" y="415"/>
                  </a:lnTo>
                  <a:lnTo>
                    <a:pt x="87" y="419"/>
                  </a:lnTo>
                  <a:lnTo>
                    <a:pt x="74" y="419"/>
                  </a:lnTo>
                  <a:lnTo>
                    <a:pt x="74" y="419"/>
                  </a:lnTo>
                  <a:close/>
                  <a:moveTo>
                    <a:pt x="74" y="354"/>
                  </a:moveTo>
                  <a:lnTo>
                    <a:pt x="74" y="354"/>
                  </a:lnTo>
                  <a:lnTo>
                    <a:pt x="65" y="354"/>
                  </a:lnTo>
                  <a:lnTo>
                    <a:pt x="57" y="346"/>
                  </a:lnTo>
                  <a:lnTo>
                    <a:pt x="48" y="337"/>
                  </a:lnTo>
                  <a:lnTo>
                    <a:pt x="48" y="328"/>
                  </a:lnTo>
                  <a:lnTo>
                    <a:pt x="48" y="328"/>
                  </a:lnTo>
                  <a:lnTo>
                    <a:pt x="48" y="320"/>
                  </a:lnTo>
                  <a:lnTo>
                    <a:pt x="57" y="311"/>
                  </a:lnTo>
                  <a:lnTo>
                    <a:pt x="65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87" y="303"/>
                  </a:lnTo>
                  <a:lnTo>
                    <a:pt x="96" y="311"/>
                  </a:lnTo>
                  <a:lnTo>
                    <a:pt x="100" y="320"/>
                  </a:lnTo>
                  <a:lnTo>
                    <a:pt x="100" y="328"/>
                  </a:lnTo>
                  <a:lnTo>
                    <a:pt x="100" y="328"/>
                  </a:lnTo>
                  <a:lnTo>
                    <a:pt x="100" y="337"/>
                  </a:lnTo>
                  <a:lnTo>
                    <a:pt x="96" y="346"/>
                  </a:lnTo>
                  <a:lnTo>
                    <a:pt x="87" y="354"/>
                  </a:lnTo>
                  <a:lnTo>
                    <a:pt x="74" y="354"/>
                  </a:lnTo>
                  <a:lnTo>
                    <a:pt x="74" y="354"/>
                  </a:lnTo>
                  <a:close/>
                  <a:moveTo>
                    <a:pt x="147" y="489"/>
                  </a:moveTo>
                  <a:lnTo>
                    <a:pt x="147" y="489"/>
                  </a:lnTo>
                  <a:lnTo>
                    <a:pt x="139" y="484"/>
                  </a:lnTo>
                  <a:lnTo>
                    <a:pt x="130" y="480"/>
                  </a:lnTo>
                  <a:lnTo>
                    <a:pt x="122" y="471"/>
                  </a:lnTo>
                  <a:lnTo>
                    <a:pt x="122" y="458"/>
                  </a:lnTo>
                  <a:lnTo>
                    <a:pt x="122" y="458"/>
                  </a:lnTo>
                  <a:lnTo>
                    <a:pt x="122" y="450"/>
                  </a:lnTo>
                  <a:lnTo>
                    <a:pt x="130" y="441"/>
                  </a:lnTo>
                  <a:lnTo>
                    <a:pt x="139" y="437"/>
                  </a:lnTo>
                  <a:lnTo>
                    <a:pt x="147" y="432"/>
                  </a:lnTo>
                  <a:lnTo>
                    <a:pt x="147" y="432"/>
                  </a:lnTo>
                  <a:lnTo>
                    <a:pt x="156" y="437"/>
                  </a:lnTo>
                  <a:lnTo>
                    <a:pt x="165" y="441"/>
                  </a:lnTo>
                  <a:lnTo>
                    <a:pt x="173" y="450"/>
                  </a:lnTo>
                  <a:lnTo>
                    <a:pt x="173" y="458"/>
                  </a:lnTo>
                  <a:lnTo>
                    <a:pt x="173" y="458"/>
                  </a:lnTo>
                  <a:lnTo>
                    <a:pt x="173" y="471"/>
                  </a:lnTo>
                  <a:lnTo>
                    <a:pt x="165" y="480"/>
                  </a:lnTo>
                  <a:lnTo>
                    <a:pt x="156" y="484"/>
                  </a:lnTo>
                  <a:lnTo>
                    <a:pt x="147" y="489"/>
                  </a:lnTo>
                  <a:lnTo>
                    <a:pt x="147" y="489"/>
                  </a:lnTo>
                  <a:close/>
                  <a:moveTo>
                    <a:pt x="147" y="419"/>
                  </a:moveTo>
                  <a:lnTo>
                    <a:pt x="147" y="419"/>
                  </a:lnTo>
                  <a:lnTo>
                    <a:pt x="139" y="419"/>
                  </a:lnTo>
                  <a:lnTo>
                    <a:pt x="130" y="415"/>
                  </a:lnTo>
                  <a:lnTo>
                    <a:pt x="122" y="406"/>
                  </a:lnTo>
                  <a:lnTo>
                    <a:pt x="122" y="393"/>
                  </a:lnTo>
                  <a:lnTo>
                    <a:pt x="122" y="393"/>
                  </a:lnTo>
                  <a:lnTo>
                    <a:pt x="122" y="385"/>
                  </a:lnTo>
                  <a:lnTo>
                    <a:pt x="130" y="376"/>
                  </a:lnTo>
                  <a:lnTo>
                    <a:pt x="139" y="367"/>
                  </a:lnTo>
                  <a:lnTo>
                    <a:pt x="147" y="367"/>
                  </a:lnTo>
                  <a:lnTo>
                    <a:pt x="147" y="367"/>
                  </a:lnTo>
                  <a:lnTo>
                    <a:pt x="156" y="367"/>
                  </a:lnTo>
                  <a:lnTo>
                    <a:pt x="165" y="376"/>
                  </a:lnTo>
                  <a:lnTo>
                    <a:pt x="173" y="385"/>
                  </a:lnTo>
                  <a:lnTo>
                    <a:pt x="173" y="393"/>
                  </a:lnTo>
                  <a:lnTo>
                    <a:pt x="173" y="393"/>
                  </a:lnTo>
                  <a:lnTo>
                    <a:pt x="173" y="406"/>
                  </a:lnTo>
                  <a:lnTo>
                    <a:pt x="165" y="415"/>
                  </a:lnTo>
                  <a:lnTo>
                    <a:pt x="156" y="419"/>
                  </a:lnTo>
                  <a:lnTo>
                    <a:pt x="147" y="419"/>
                  </a:lnTo>
                  <a:lnTo>
                    <a:pt x="147" y="419"/>
                  </a:lnTo>
                  <a:close/>
                  <a:moveTo>
                    <a:pt x="147" y="354"/>
                  </a:moveTo>
                  <a:lnTo>
                    <a:pt x="147" y="354"/>
                  </a:lnTo>
                  <a:lnTo>
                    <a:pt x="139" y="354"/>
                  </a:lnTo>
                  <a:lnTo>
                    <a:pt x="130" y="346"/>
                  </a:lnTo>
                  <a:lnTo>
                    <a:pt x="122" y="337"/>
                  </a:lnTo>
                  <a:lnTo>
                    <a:pt x="122" y="328"/>
                  </a:lnTo>
                  <a:lnTo>
                    <a:pt x="122" y="328"/>
                  </a:lnTo>
                  <a:lnTo>
                    <a:pt x="122" y="320"/>
                  </a:lnTo>
                  <a:lnTo>
                    <a:pt x="130" y="311"/>
                  </a:lnTo>
                  <a:lnTo>
                    <a:pt x="139" y="303"/>
                  </a:lnTo>
                  <a:lnTo>
                    <a:pt x="147" y="303"/>
                  </a:lnTo>
                  <a:lnTo>
                    <a:pt x="147" y="303"/>
                  </a:lnTo>
                  <a:lnTo>
                    <a:pt x="156" y="303"/>
                  </a:lnTo>
                  <a:lnTo>
                    <a:pt x="165" y="311"/>
                  </a:lnTo>
                  <a:lnTo>
                    <a:pt x="173" y="32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37"/>
                  </a:lnTo>
                  <a:lnTo>
                    <a:pt x="165" y="346"/>
                  </a:lnTo>
                  <a:lnTo>
                    <a:pt x="156" y="354"/>
                  </a:lnTo>
                  <a:lnTo>
                    <a:pt x="147" y="354"/>
                  </a:lnTo>
                  <a:lnTo>
                    <a:pt x="147" y="354"/>
                  </a:lnTo>
                  <a:close/>
                  <a:moveTo>
                    <a:pt x="221" y="489"/>
                  </a:moveTo>
                  <a:lnTo>
                    <a:pt x="221" y="489"/>
                  </a:lnTo>
                  <a:lnTo>
                    <a:pt x="208" y="484"/>
                  </a:lnTo>
                  <a:lnTo>
                    <a:pt x="199" y="480"/>
                  </a:lnTo>
                  <a:lnTo>
                    <a:pt x="195" y="471"/>
                  </a:lnTo>
                  <a:lnTo>
                    <a:pt x="191" y="458"/>
                  </a:lnTo>
                  <a:lnTo>
                    <a:pt x="191" y="458"/>
                  </a:lnTo>
                  <a:lnTo>
                    <a:pt x="195" y="450"/>
                  </a:lnTo>
                  <a:lnTo>
                    <a:pt x="199" y="441"/>
                  </a:lnTo>
                  <a:lnTo>
                    <a:pt x="208" y="437"/>
                  </a:lnTo>
                  <a:lnTo>
                    <a:pt x="221" y="432"/>
                  </a:lnTo>
                  <a:lnTo>
                    <a:pt x="221" y="432"/>
                  </a:lnTo>
                  <a:lnTo>
                    <a:pt x="230" y="437"/>
                  </a:lnTo>
                  <a:lnTo>
                    <a:pt x="238" y="441"/>
                  </a:lnTo>
                  <a:lnTo>
                    <a:pt x="247" y="450"/>
                  </a:lnTo>
                  <a:lnTo>
                    <a:pt x="247" y="458"/>
                  </a:lnTo>
                  <a:lnTo>
                    <a:pt x="247" y="458"/>
                  </a:lnTo>
                  <a:lnTo>
                    <a:pt x="247" y="471"/>
                  </a:lnTo>
                  <a:lnTo>
                    <a:pt x="238" y="480"/>
                  </a:lnTo>
                  <a:lnTo>
                    <a:pt x="230" y="484"/>
                  </a:lnTo>
                  <a:lnTo>
                    <a:pt x="221" y="489"/>
                  </a:lnTo>
                  <a:lnTo>
                    <a:pt x="221" y="489"/>
                  </a:lnTo>
                  <a:close/>
                  <a:moveTo>
                    <a:pt x="221" y="419"/>
                  </a:moveTo>
                  <a:lnTo>
                    <a:pt x="221" y="419"/>
                  </a:lnTo>
                  <a:lnTo>
                    <a:pt x="208" y="419"/>
                  </a:lnTo>
                  <a:lnTo>
                    <a:pt x="199" y="415"/>
                  </a:lnTo>
                  <a:lnTo>
                    <a:pt x="195" y="406"/>
                  </a:lnTo>
                  <a:lnTo>
                    <a:pt x="191" y="393"/>
                  </a:lnTo>
                  <a:lnTo>
                    <a:pt x="191" y="393"/>
                  </a:lnTo>
                  <a:lnTo>
                    <a:pt x="195" y="385"/>
                  </a:lnTo>
                  <a:lnTo>
                    <a:pt x="199" y="376"/>
                  </a:lnTo>
                  <a:lnTo>
                    <a:pt x="208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30" y="367"/>
                  </a:lnTo>
                  <a:lnTo>
                    <a:pt x="238" y="376"/>
                  </a:lnTo>
                  <a:lnTo>
                    <a:pt x="247" y="385"/>
                  </a:lnTo>
                  <a:lnTo>
                    <a:pt x="247" y="393"/>
                  </a:lnTo>
                  <a:lnTo>
                    <a:pt x="247" y="393"/>
                  </a:lnTo>
                  <a:lnTo>
                    <a:pt x="247" y="406"/>
                  </a:lnTo>
                  <a:lnTo>
                    <a:pt x="238" y="415"/>
                  </a:lnTo>
                  <a:lnTo>
                    <a:pt x="230" y="419"/>
                  </a:lnTo>
                  <a:lnTo>
                    <a:pt x="221" y="419"/>
                  </a:lnTo>
                  <a:lnTo>
                    <a:pt x="221" y="419"/>
                  </a:lnTo>
                  <a:close/>
                  <a:moveTo>
                    <a:pt x="221" y="354"/>
                  </a:moveTo>
                  <a:lnTo>
                    <a:pt x="221" y="354"/>
                  </a:lnTo>
                  <a:lnTo>
                    <a:pt x="208" y="354"/>
                  </a:lnTo>
                  <a:lnTo>
                    <a:pt x="199" y="346"/>
                  </a:lnTo>
                  <a:lnTo>
                    <a:pt x="195" y="337"/>
                  </a:lnTo>
                  <a:lnTo>
                    <a:pt x="191" y="328"/>
                  </a:lnTo>
                  <a:lnTo>
                    <a:pt x="191" y="328"/>
                  </a:lnTo>
                  <a:lnTo>
                    <a:pt x="195" y="320"/>
                  </a:lnTo>
                  <a:lnTo>
                    <a:pt x="199" y="311"/>
                  </a:lnTo>
                  <a:lnTo>
                    <a:pt x="208" y="303"/>
                  </a:lnTo>
                  <a:lnTo>
                    <a:pt x="221" y="303"/>
                  </a:lnTo>
                  <a:lnTo>
                    <a:pt x="221" y="303"/>
                  </a:lnTo>
                  <a:lnTo>
                    <a:pt x="230" y="303"/>
                  </a:lnTo>
                  <a:lnTo>
                    <a:pt x="238" y="311"/>
                  </a:lnTo>
                  <a:lnTo>
                    <a:pt x="247" y="320"/>
                  </a:lnTo>
                  <a:lnTo>
                    <a:pt x="247" y="328"/>
                  </a:lnTo>
                  <a:lnTo>
                    <a:pt x="247" y="328"/>
                  </a:lnTo>
                  <a:lnTo>
                    <a:pt x="247" y="337"/>
                  </a:lnTo>
                  <a:lnTo>
                    <a:pt x="238" y="346"/>
                  </a:lnTo>
                  <a:lnTo>
                    <a:pt x="230" y="354"/>
                  </a:lnTo>
                  <a:lnTo>
                    <a:pt x="221" y="354"/>
                  </a:lnTo>
                  <a:lnTo>
                    <a:pt x="221" y="354"/>
                  </a:lnTo>
                  <a:close/>
                  <a:moveTo>
                    <a:pt x="251" y="199"/>
                  </a:moveTo>
                  <a:lnTo>
                    <a:pt x="251" y="199"/>
                  </a:lnTo>
                  <a:lnTo>
                    <a:pt x="247" y="220"/>
                  </a:lnTo>
                  <a:lnTo>
                    <a:pt x="234" y="242"/>
                  </a:lnTo>
                  <a:lnTo>
                    <a:pt x="212" y="255"/>
                  </a:lnTo>
                  <a:lnTo>
                    <a:pt x="191" y="259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83" y="255"/>
                  </a:lnTo>
                  <a:lnTo>
                    <a:pt x="61" y="242"/>
                  </a:lnTo>
                  <a:lnTo>
                    <a:pt x="48" y="220"/>
                  </a:lnTo>
                  <a:lnTo>
                    <a:pt x="44" y="199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8" y="112"/>
                  </a:lnTo>
                  <a:lnTo>
                    <a:pt x="61" y="95"/>
                  </a:lnTo>
                  <a:lnTo>
                    <a:pt x="83" y="82"/>
                  </a:lnTo>
                  <a:lnTo>
                    <a:pt x="104" y="73"/>
                  </a:lnTo>
                  <a:lnTo>
                    <a:pt x="191" y="73"/>
                  </a:lnTo>
                  <a:lnTo>
                    <a:pt x="191" y="73"/>
                  </a:lnTo>
                  <a:lnTo>
                    <a:pt x="212" y="82"/>
                  </a:lnTo>
                  <a:lnTo>
                    <a:pt x="234" y="95"/>
                  </a:lnTo>
                  <a:lnTo>
                    <a:pt x="247" y="112"/>
                  </a:lnTo>
                  <a:lnTo>
                    <a:pt x="251" y="138"/>
                  </a:lnTo>
                  <a:lnTo>
                    <a:pt x="251" y="199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4" name="Freeform 12"/>
            <p:cNvSpPr>
              <a:spLocks/>
            </p:cNvSpPr>
            <p:nvPr/>
          </p:nvSpPr>
          <p:spPr bwMode="auto">
            <a:xfrm>
              <a:off x="7490216" y="1910679"/>
              <a:ext cx="102386" cy="129267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0"/>
                </a:cxn>
                <a:cxn ang="0">
                  <a:pos x="134" y="5"/>
                </a:cxn>
                <a:cxn ang="0">
                  <a:pos x="104" y="13"/>
                </a:cxn>
                <a:cxn ang="0">
                  <a:pos x="78" y="26"/>
                </a:cxn>
                <a:cxn ang="0">
                  <a:pos x="56" y="48"/>
                </a:cxn>
                <a:cxn ang="0">
                  <a:pos x="56" y="48"/>
                </a:cxn>
                <a:cxn ang="0">
                  <a:pos x="35" y="74"/>
                </a:cxn>
                <a:cxn ang="0">
                  <a:pos x="18" y="104"/>
                </a:cxn>
                <a:cxn ang="0">
                  <a:pos x="5" y="139"/>
                </a:cxn>
                <a:cxn ang="0">
                  <a:pos x="0" y="178"/>
                </a:cxn>
                <a:cxn ang="0">
                  <a:pos x="0" y="178"/>
                </a:cxn>
                <a:cxn ang="0">
                  <a:pos x="5" y="182"/>
                </a:cxn>
                <a:cxn ang="0">
                  <a:pos x="13" y="186"/>
                </a:cxn>
                <a:cxn ang="0">
                  <a:pos x="13" y="186"/>
                </a:cxn>
                <a:cxn ang="0">
                  <a:pos x="18" y="182"/>
                </a:cxn>
                <a:cxn ang="0">
                  <a:pos x="22" y="178"/>
                </a:cxn>
                <a:cxn ang="0">
                  <a:pos x="22" y="178"/>
                </a:cxn>
                <a:cxn ang="0">
                  <a:pos x="22" y="143"/>
                </a:cxn>
                <a:cxn ang="0">
                  <a:pos x="35" y="113"/>
                </a:cxn>
                <a:cxn ang="0">
                  <a:pos x="48" y="87"/>
                </a:cxn>
                <a:cxn ang="0">
                  <a:pos x="69" y="61"/>
                </a:cxn>
                <a:cxn ang="0">
                  <a:pos x="69" y="61"/>
                </a:cxn>
                <a:cxn ang="0">
                  <a:pos x="87" y="44"/>
                </a:cxn>
                <a:cxn ang="0">
                  <a:pos x="113" y="31"/>
                </a:cxn>
                <a:cxn ang="0">
                  <a:pos x="139" y="22"/>
                </a:cxn>
                <a:cxn ang="0">
                  <a:pos x="169" y="18"/>
                </a:cxn>
                <a:cxn ang="0">
                  <a:pos x="169" y="18"/>
                </a:cxn>
                <a:cxn ang="0">
                  <a:pos x="173" y="18"/>
                </a:cxn>
                <a:cxn ang="0">
                  <a:pos x="178" y="9"/>
                </a:cxn>
                <a:cxn ang="0">
                  <a:pos x="178" y="9"/>
                </a:cxn>
                <a:cxn ang="0">
                  <a:pos x="173" y="5"/>
                </a:cxn>
                <a:cxn ang="0">
                  <a:pos x="169" y="0"/>
                </a:cxn>
                <a:cxn ang="0">
                  <a:pos x="169" y="0"/>
                </a:cxn>
              </a:cxnLst>
              <a:rect l="0" t="0" r="r" b="b"/>
              <a:pathLst>
                <a:path w="178" h="186">
                  <a:moveTo>
                    <a:pt x="169" y="0"/>
                  </a:moveTo>
                  <a:lnTo>
                    <a:pt x="169" y="0"/>
                  </a:lnTo>
                  <a:lnTo>
                    <a:pt x="134" y="5"/>
                  </a:lnTo>
                  <a:lnTo>
                    <a:pt x="104" y="13"/>
                  </a:lnTo>
                  <a:lnTo>
                    <a:pt x="78" y="2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35" y="74"/>
                  </a:lnTo>
                  <a:lnTo>
                    <a:pt x="18" y="104"/>
                  </a:lnTo>
                  <a:lnTo>
                    <a:pt x="5" y="139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5" y="182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8" y="182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2" y="143"/>
                  </a:lnTo>
                  <a:lnTo>
                    <a:pt x="35" y="113"/>
                  </a:lnTo>
                  <a:lnTo>
                    <a:pt x="48" y="87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87" y="44"/>
                  </a:lnTo>
                  <a:lnTo>
                    <a:pt x="113" y="31"/>
                  </a:lnTo>
                  <a:lnTo>
                    <a:pt x="139" y="22"/>
                  </a:lnTo>
                  <a:lnTo>
                    <a:pt x="169" y="18"/>
                  </a:lnTo>
                  <a:lnTo>
                    <a:pt x="169" y="18"/>
                  </a:lnTo>
                  <a:lnTo>
                    <a:pt x="173" y="18"/>
                  </a:lnTo>
                  <a:lnTo>
                    <a:pt x="178" y="9"/>
                  </a:lnTo>
                  <a:lnTo>
                    <a:pt x="178" y="9"/>
                  </a:lnTo>
                  <a:lnTo>
                    <a:pt x="173" y="5"/>
                  </a:lnTo>
                  <a:lnTo>
                    <a:pt x="16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5" name="Freeform 13"/>
            <p:cNvSpPr>
              <a:spLocks/>
            </p:cNvSpPr>
            <p:nvPr/>
          </p:nvSpPr>
          <p:spPr bwMode="auto">
            <a:xfrm>
              <a:off x="7517826" y="1944038"/>
              <a:ext cx="86856" cy="111198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143" y="0"/>
                </a:cxn>
                <a:cxn ang="0">
                  <a:pos x="117" y="0"/>
                </a:cxn>
                <a:cxn ang="0">
                  <a:pos x="91" y="9"/>
                </a:cxn>
                <a:cxn ang="0">
                  <a:pos x="65" y="22"/>
                </a:cxn>
                <a:cxn ang="0">
                  <a:pos x="43" y="39"/>
                </a:cxn>
                <a:cxn ang="0">
                  <a:pos x="43" y="39"/>
                </a:cxn>
                <a:cxn ang="0">
                  <a:pos x="26" y="65"/>
                </a:cxn>
                <a:cxn ang="0">
                  <a:pos x="13" y="91"/>
                </a:cxn>
                <a:cxn ang="0">
                  <a:pos x="4" y="121"/>
                </a:cxn>
                <a:cxn ang="0">
                  <a:pos x="0" y="151"/>
                </a:cxn>
                <a:cxn ang="0">
                  <a:pos x="0" y="151"/>
                </a:cxn>
                <a:cxn ang="0">
                  <a:pos x="4" y="160"/>
                </a:cxn>
                <a:cxn ang="0">
                  <a:pos x="8" y="160"/>
                </a:cxn>
                <a:cxn ang="0">
                  <a:pos x="8" y="160"/>
                </a:cxn>
                <a:cxn ang="0">
                  <a:pos x="17" y="160"/>
                </a:cxn>
                <a:cxn ang="0">
                  <a:pos x="17" y="151"/>
                </a:cxn>
                <a:cxn ang="0">
                  <a:pos x="17" y="151"/>
                </a:cxn>
                <a:cxn ang="0">
                  <a:pos x="21" y="121"/>
                </a:cxn>
                <a:cxn ang="0">
                  <a:pos x="30" y="95"/>
                </a:cxn>
                <a:cxn ang="0">
                  <a:pos x="43" y="74"/>
                </a:cxn>
                <a:cxn ang="0">
                  <a:pos x="56" y="52"/>
                </a:cxn>
                <a:cxn ang="0">
                  <a:pos x="56" y="52"/>
                </a:cxn>
                <a:cxn ang="0">
                  <a:pos x="78" y="39"/>
                </a:cxn>
                <a:cxn ang="0">
                  <a:pos x="95" y="26"/>
                </a:cxn>
                <a:cxn ang="0">
                  <a:pos x="117" y="22"/>
                </a:cxn>
                <a:cxn ang="0">
                  <a:pos x="143" y="17"/>
                </a:cxn>
                <a:cxn ang="0">
                  <a:pos x="143" y="17"/>
                </a:cxn>
                <a:cxn ang="0">
                  <a:pos x="151" y="13"/>
                </a:cxn>
                <a:cxn ang="0">
                  <a:pos x="151" y="9"/>
                </a:cxn>
                <a:cxn ang="0">
                  <a:pos x="151" y="9"/>
                </a:cxn>
                <a:cxn ang="0">
                  <a:pos x="151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51" h="160">
                  <a:moveTo>
                    <a:pt x="143" y="0"/>
                  </a:moveTo>
                  <a:lnTo>
                    <a:pt x="143" y="0"/>
                  </a:lnTo>
                  <a:lnTo>
                    <a:pt x="117" y="0"/>
                  </a:lnTo>
                  <a:lnTo>
                    <a:pt x="91" y="9"/>
                  </a:lnTo>
                  <a:lnTo>
                    <a:pt x="65" y="22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26" y="65"/>
                  </a:lnTo>
                  <a:lnTo>
                    <a:pt x="13" y="91"/>
                  </a:lnTo>
                  <a:lnTo>
                    <a:pt x="4" y="12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21" y="121"/>
                  </a:lnTo>
                  <a:lnTo>
                    <a:pt x="30" y="95"/>
                  </a:lnTo>
                  <a:lnTo>
                    <a:pt x="43" y="74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78" y="39"/>
                  </a:lnTo>
                  <a:lnTo>
                    <a:pt x="95" y="26"/>
                  </a:lnTo>
                  <a:lnTo>
                    <a:pt x="117" y="22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51" y="13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6" name="Freeform 14"/>
            <p:cNvSpPr>
              <a:spLocks/>
            </p:cNvSpPr>
            <p:nvPr/>
          </p:nvSpPr>
          <p:spPr bwMode="auto">
            <a:xfrm>
              <a:off x="7544861" y="1973923"/>
              <a:ext cx="74777" cy="96603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117" y="0"/>
                </a:cxn>
                <a:cxn ang="0">
                  <a:pos x="96" y="5"/>
                </a:cxn>
                <a:cxn ang="0">
                  <a:pos x="74" y="13"/>
                </a:cxn>
                <a:cxn ang="0">
                  <a:pos x="52" y="22"/>
                </a:cxn>
                <a:cxn ang="0">
                  <a:pos x="35" y="39"/>
                </a:cxn>
                <a:cxn ang="0">
                  <a:pos x="35" y="39"/>
                </a:cxn>
                <a:cxn ang="0">
                  <a:pos x="22" y="56"/>
                </a:cxn>
                <a:cxn ang="0">
                  <a:pos x="9" y="78"/>
                </a:cxn>
                <a:cxn ang="0">
                  <a:pos x="0" y="104"/>
                </a:cxn>
                <a:cxn ang="0">
                  <a:pos x="0" y="130"/>
                </a:cxn>
                <a:cxn ang="0">
                  <a:pos x="0" y="130"/>
                </a:cxn>
                <a:cxn ang="0">
                  <a:pos x="0" y="139"/>
                </a:cxn>
                <a:cxn ang="0">
                  <a:pos x="9" y="139"/>
                </a:cxn>
                <a:cxn ang="0">
                  <a:pos x="9" y="139"/>
                </a:cxn>
                <a:cxn ang="0">
                  <a:pos x="13" y="139"/>
                </a:cxn>
                <a:cxn ang="0">
                  <a:pos x="18" y="130"/>
                </a:cxn>
                <a:cxn ang="0">
                  <a:pos x="18" y="130"/>
                </a:cxn>
                <a:cxn ang="0">
                  <a:pos x="18" y="108"/>
                </a:cxn>
                <a:cxn ang="0">
                  <a:pos x="26" y="87"/>
                </a:cxn>
                <a:cxn ang="0">
                  <a:pos x="35" y="65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65" y="39"/>
                </a:cxn>
                <a:cxn ang="0">
                  <a:pos x="83" y="31"/>
                </a:cxn>
                <a:cxn ang="0">
                  <a:pos x="100" y="22"/>
                </a:cxn>
                <a:cxn ang="0">
                  <a:pos x="117" y="22"/>
                </a:cxn>
                <a:cxn ang="0">
                  <a:pos x="117" y="22"/>
                </a:cxn>
                <a:cxn ang="0">
                  <a:pos x="126" y="18"/>
                </a:cxn>
                <a:cxn ang="0">
                  <a:pos x="130" y="13"/>
                </a:cxn>
                <a:cxn ang="0">
                  <a:pos x="130" y="13"/>
                </a:cxn>
                <a:cxn ang="0">
                  <a:pos x="126" y="5"/>
                </a:cxn>
                <a:cxn ang="0">
                  <a:pos x="117" y="0"/>
                </a:cxn>
                <a:cxn ang="0">
                  <a:pos x="117" y="0"/>
                </a:cxn>
              </a:cxnLst>
              <a:rect l="0" t="0" r="r" b="b"/>
              <a:pathLst>
                <a:path w="130" h="139">
                  <a:moveTo>
                    <a:pt x="117" y="0"/>
                  </a:moveTo>
                  <a:lnTo>
                    <a:pt x="117" y="0"/>
                  </a:lnTo>
                  <a:lnTo>
                    <a:pt x="96" y="5"/>
                  </a:lnTo>
                  <a:lnTo>
                    <a:pt x="74" y="13"/>
                  </a:lnTo>
                  <a:lnTo>
                    <a:pt x="52" y="22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22" y="56"/>
                  </a:lnTo>
                  <a:lnTo>
                    <a:pt x="9" y="78"/>
                  </a:lnTo>
                  <a:lnTo>
                    <a:pt x="0" y="10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3" y="139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08"/>
                  </a:lnTo>
                  <a:lnTo>
                    <a:pt x="26" y="87"/>
                  </a:lnTo>
                  <a:lnTo>
                    <a:pt x="35" y="65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65" y="39"/>
                  </a:lnTo>
                  <a:lnTo>
                    <a:pt x="83" y="31"/>
                  </a:lnTo>
                  <a:lnTo>
                    <a:pt x="100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26" y="18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26" y="5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36" name="直接连接符 35"/>
          <p:cNvCxnSpPr/>
          <p:nvPr/>
        </p:nvCxnSpPr>
        <p:spPr bwMode="auto">
          <a:xfrm>
            <a:off x="7347330" y="3180101"/>
            <a:ext cx="503860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直接连接符 36"/>
          <p:cNvCxnSpPr/>
          <p:nvPr/>
        </p:nvCxnSpPr>
        <p:spPr bwMode="auto">
          <a:xfrm>
            <a:off x="7347330" y="3649509"/>
            <a:ext cx="503860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直接连接符 37"/>
          <p:cNvCxnSpPr/>
          <p:nvPr/>
        </p:nvCxnSpPr>
        <p:spPr bwMode="auto">
          <a:xfrm flipH="1" flipV="1">
            <a:off x="7998733" y="3307051"/>
            <a:ext cx="584" cy="153607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直接连接符 38"/>
          <p:cNvCxnSpPr/>
          <p:nvPr/>
        </p:nvCxnSpPr>
        <p:spPr bwMode="auto">
          <a:xfrm flipH="1" flipV="1">
            <a:off x="7190378" y="3307051"/>
            <a:ext cx="584" cy="153607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0" name="Picture 2"/>
          <p:cNvPicPr>
            <a:picLocks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7370008" y="3260601"/>
            <a:ext cx="453471" cy="345583"/>
          </a:xfrm>
          <a:prstGeom prst="rect">
            <a:avLst/>
          </a:prstGeom>
        </p:spPr>
      </p:pic>
      <p:sp>
        <p:nvSpPr>
          <p:cNvPr id="41" name="Freeform 43"/>
          <p:cNvSpPr>
            <a:spLocks/>
          </p:cNvSpPr>
          <p:nvPr/>
        </p:nvSpPr>
        <p:spPr bwMode="auto">
          <a:xfrm>
            <a:off x="7523658" y="3371345"/>
            <a:ext cx="338040" cy="261142"/>
          </a:xfrm>
          <a:custGeom>
            <a:avLst/>
            <a:gdLst/>
            <a:ahLst/>
            <a:cxnLst>
              <a:cxn ang="0">
                <a:pos x="14168" y="5544"/>
              </a:cxn>
              <a:cxn ang="0">
                <a:pos x="8536" y="3256"/>
              </a:cxn>
              <a:cxn ang="0">
                <a:pos x="6424" y="2376"/>
              </a:cxn>
              <a:cxn ang="0">
                <a:pos x="792" y="88"/>
              </a:cxn>
              <a:cxn ang="0">
                <a:pos x="352" y="0"/>
              </a:cxn>
              <a:cxn ang="0">
                <a:pos x="264" y="0"/>
              </a:cxn>
              <a:cxn ang="0">
                <a:pos x="88" y="88"/>
              </a:cxn>
              <a:cxn ang="0">
                <a:pos x="88" y="176"/>
              </a:cxn>
              <a:cxn ang="0">
                <a:pos x="0" y="352"/>
              </a:cxn>
              <a:cxn ang="0">
                <a:pos x="88" y="704"/>
              </a:cxn>
              <a:cxn ang="0">
                <a:pos x="2376" y="6336"/>
              </a:cxn>
              <a:cxn ang="0">
                <a:pos x="3345" y="8536"/>
              </a:cxn>
              <a:cxn ang="0">
                <a:pos x="5632" y="14168"/>
              </a:cxn>
              <a:cxn ang="0">
                <a:pos x="5720" y="14344"/>
              </a:cxn>
              <a:cxn ang="0">
                <a:pos x="5808" y="14520"/>
              </a:cxn>
              <a:cxn ang="0">
                <a:pos x="5984" y="14608"/>
              </a:cxn>
              <a:cxn ang="0">
                <a:pos x="6160" y="14608"/>
              </a:cxn>
              <a:cxn ang="0">
                <a:pos x="6601" y="14520"/>
              </a:cxn>
              <a:cxn ang="0">
                <a:pos x="7040" y="14256"/>
              </a:cxn>
              <a:cxn ang="0">
                <a:pos x="9504" y="11704"/>
              </a:cxn>
              <a:cxn ang="0">
                <a:pos x="13816" y="16016"/>
              </a:cxn>
              <a:cxn ang="0">
                <a:pos x="13992" y="16192"/>
              </a:cxn>
              <a:cxn ang="0">
                <a:pos x="14256" y="16192"/>
              </a:cxn>
              <a:cxn ang="0">
                <a:pos x="14432" y="16192"/>
              </a:cxn>
              <a:cxn ang="0">
                <a:pos x="14608" y="16104"/>
              </a:cxn>
              <a:cxn ang="0">
                <a:pos x="16104" y="14608"/>
              </a:cxn>
              <a:cxn ang="0">
                <a:pos x="16280" y="14344"/>
              </a:cxn>
              <a:cxn ang="0">
                <a:pos x="16280" y="14168"/>
              </a:cxn>
              <a:cxn ang="0">
                <a:pos x="16192" y="13904"/>
              </a:cxn>
              <a:cxn ang="0">
                <a:pos x="16104" y="13728"/>
              </a:cxn>
              <a:cxn ang="0">
                <a:pos x="11792" y="9504"/>
              </a:cxn>
              <a:cxn ang="0">
                <a:pos x="14256" y="6952"/>
              </a:cxn>
              <a:cxn ang="0">
                <a:pos x="14608" y="6600"/>
              </a:cxn>
              <a:cxn ang="0">
                <a:pos x="14696" y="6160"/>
              </a:cxn>
              <a:cxn ang="0">
                <a:pos x="14608" y="5984"/>
              </a:cxn>
              <a:cxn ang="0">
                <a:pos x="14520" y="5808"/>
              </a:cxn>
              <a:cxn ang="0">
                <a:pos x="14432" y="5632"/>
              </a:cxn>
              <a:cxn ang="0">
                <a:pos x="14168" y="5544"/>
              </a:cxn>
            </a:cxnLst>
            <a:rect l="0" t="0" r="r" b="b"/>
            <a:pathLst>
              <a:path w="16280" h="16192">
                <a:moveTo>
                  <a:pt x="14168" y="5544"/>
                </a:moveTo>
                <a:lnTo>
                  <a:pt x="8536" y="3256"/>
                </a:lnTo>
                <a:lnTo>
                  <a:pt x="6424" y="2376"/>
                </a:lnTo>
                <a:lnTo>
                  <a:pt x="792" y="88"/>
                </a:lnTo>
                <a:lnTo>
                  <a:pt x="352" y="0"/>
                </a:lnTo>
                <a:lnTo>
                  <a:pt x="264" y="0"/>
                </a:lnTo>
                <a:lnTo>
                  <a:pt x="88" y="88"/>
                </a:lnTo>
                <a:lnTo>
                  <a:pt x="88" y="176"/>
                </a:lnTo>
                <a:lnTo>
                  <a:pt x="0" y="352"/>
                </a:lnTo>
                <a:lnTo>
                  <a:pt x="88" y="704"/>
                </a:lnTo>
                <a:lnTo>
                  <a:pt x="2376" y="6336"/>
                </a:lnTo>
                <a:lnTo>
                  <a:pt x="3345" y="8536"/>
                </a:lnTo>
                <a:lnTo>
                  <a:pt x="5632" y="14168"/>
                </a:lnTo>
                <a:lnTo>
                  <a:pt x="5720" y="14344"/>
                </a:lnTo>
                <a:lnTo>
                  <a:pt x="5808" y="14520"/>
                </a:lnTo>
                <a:lnTo>
                  <a:pt x="5984" y="14608"/>
                </a:lnTo>
                <a:lnTo>
                  <a:pt x="6160" y="14608"/>
                </a:lnTo>
                <a:lnTo>
                  <a:pt x="6601" y="14520"/>
                </a:lnTo>
                <a:lnTo>
                  <a:pt x="7040" y="14256"/>
                </a:lnTo>
                <a:lnTo>
                  <a:pt x="9504" y="11704"/>
                </a:lnTo>
                <a:lnTo>
                  <a:pt x="13816" y="16016"/>
                </a:lnTo>
                <a:lnTo>
                  <a:pt x="13992" y="16192"/>
                </a:lnTo>
                <a:lnTo>
                  <a:pt x="14256" y="16192"/>
                </a:lnTo>
                <a:lnTo>
                  <a:pt x="14432" y="16192"/>
                </a:lnTo>
                <a:lnTo>
                  <a:pt x="14608" y="16104"/>
                </a:lnTo>
                <a:lnTo>
                  <a:pt x="16104" y="14608"/>
                </a:lnTo>
                <a:lnTo>
                  <a:pt x="16280" y="14344"/>
                </a:lnTo>
                <a:lnTo>
                  <a:pt x="16280" y="14168"/>
                </a:lnTo>
                <a:lnTo>
                  <a:pt x="16192" y="13904"/>
                </a:lnTo>
                <a:lnTo>
                  <a:pt x="16104" y="13728"/>
                </a:lnTo>
                <a:lnTo>
                  <a:pt x="11792" y="9504"/>
                </a:lnTo>
                <a:lnTo>
                  <a:pt x="14256" y="6952"/>
                </a:lnTo>
                <a:lnTo>
                  <a:pt x="14608" y="6600"/>
                </a:lnTo>
                <a:lnTo>
                  <a:pt x="14696" y="6160"/>
                </a:lnTo>
                <a:lnTo>
                  <a:pt x="14608" y="5984"/>
                </a:lnTo>
                <a:lnTo>
                  <a:pt x="14520" y="5808"/>
                </a:lnTo>
                <a:lnTo>
                  <a:pt x="14432" y="5632"/>
                </a:lnTo>
                <a:lnTo>
                  <a:pt x="14168" y="5544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" name="组合 126"/>
          <p:cNvGrpSpPr/>
          <p:nvPr/>
        </p:nvGrpSpPr>
        <p:grpSpPr>
          <a:xfrm>
            <a:off x="7857129" y="2932462"/>
            <a:ext cx="284858" cy="336625"/>
            <a:chOff x="2247900" y="4005263"/>
            <a:chExt cx="787400" cy="1108075"/>
          </a:xfrm>
          <a:solidFill>
            <a:srgbClr val="000000">
              <a:lumMod val="50000"/>
              <a:lumOff val="50000"/>
            </a:srgbClr>
          </a:solidFill>
        </p:grpSpPr>
        <p:sp>
          <p:nvSpPr>
            <p:cNvPr id="240" name="Freeform 111"/>
            <p:cNvSpPr>
              <a:spLocks/>
            </p:cNvSpPr>
            <p:nvPr/>
          </p:nvSpPr>
          <p:spPr bwMode="auto">
            <a:xfrm>
              <a:off x="2562225" y="4075113"/>
              <a:ext cx="149225" cy="146050"/>
            </a:xfrm>
            <a:custGeom>
              <a:avLst/>
              <a:gdLst/>
              <a:ahLst/>
              <a:cxnLst>
                <a:cxn ang="0">
                  <a:pos x="690" y="2117"/>
                </a:cxn>
                <a:cxn ang="0">
                  <a:pos x="1426" y="2117"/>
                </a:cxn>
                <a:cxn ang="0">
                  <a:pos x="1426" y="1426"/>
                </a:cxn>
                <a:cxn ang="0">
                  <a:pos x="2162" y="1426"/>
                </a:cxn>
                <a:cxn ang="0">
                  <a:pos x="2162" y="690"/>
                </a:cxn>
                <a:cxn ang="0">
                  <a:pos x="1426" y="690"/>
                </a:cxn>
                <a:cxn ang="0">
                  <a:pos x="1426" y="0"/>
                </a:cxn>
                <a:cxn ang="0">
                  <a:pos x="690" y="0"/>
                </a:cxn>
                <a:cxn ang="0">
                  <a:pos x="690" y="690"/>
                </a:cxn>
                <a:cxn ang="0">
                  <a:pos x="0" y="690"/>
                </a:cxn>
                <a:cxn ang="0">
                  <a:pos x="0" y="1426"/>
                </a:cxn>
                <a:cxn ang="0">
                  <a:pos x="690" y="1426"/>
                </a:cxn>
                <a:cxn ang="0">
                  <a:pos x="690" y="2117"/>
                </a:cxn>
              </a:cxnLst>
              <a:rect l="0" t="0" r="r" b="b"/>
              <a:pathLst>
                <a:path w="2162" h="2117">
                  <a:moveTo>
                    <a:pt x="690" y="2117"/>
                  </a:moveTo>
                  <a:lnTo>
                    <a:pt x="1426" y="2117"/>
                  </a:lnTo>
                  <a:lnTo>
                    <a:pt x="1426" y="1426"/>
                  </a:lnTo>
                  <a:lnTo>
                    <a:pt x="2162" y="1426"/>
                  </a:lnTo>
                  <a:lnTo>
                    <a:pt x="2162" y="690"/>
                  </a:lnTo>
                  <a:lnTo>
                    <a:pt x="1426" y="690"/>
                  </a:lnTo>
                  <a:lnTo>
                    <a:pt x="1426" y="0"/>
                  </a:lnTo>
                  <a:lnTo>
                    <a:pt x="690" y="0"/>
                  </a:lnTo>
                  <a:lnTo>
                    <a:pt x="690" y="690"/>
                  </a:lnTo>
                  <a:lnTo>
                    <a:pt x="0" y="690"/>
                  </a:lnTo>
                  <a:lnTo>
                    <a:pt x="0" y="1426"/>
                  </a:lnTo>
                  <a:lnTo>
                    <a:pt x="690" y="1426"/>
                  </a:lnTo>
                  <a:lnTo>
                    <a:pt x="690" y="21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1" name="Freeform 112"/>
            <p:cNvSpPr>
              <a:spLocks/>
            </p:cNvSpPr>
            <p:nvPr/>
          </p:nvSpPr>
          <p:spPr bwMode="auto">
            <a:xfrm>
              <a:off x="2247900" y="4824413"/>
              <a:ext cx="787400" cy="288925"/>
            </a:xfrm>
            <a:custGeom>
              <a:avLst/>
              <a:gdLst/>
              <a:ahLst/>
              <a:cxnLst>
                <a:cxn ang="0">
                  <a:pos x="10258" y="414"/>
                </a:cxn>
                <a:cxn ang="0">
                  <a:pos x="7084" y="0"/>
                </a:cxn>
                <a:cxn ang="0">
                  <a:pos x="5704" y="2346"/>
                </a:cxn>
                <a:cxn ang="0">
                  <a:pos x="4232" y="46"/>
                </a:cxn>
                <a:cxn ang="0">
                  <a:pos x="1150" y="414"/>
                </a:cxn>
                <a:cxn ang="0">
                  <a:pos x="828" y="782"/>
                </a:cxn>
                <a:cxn ang="0">
                  <a:pos x="552" y="1242"/>
                </a:cxn>
                <a:cxn ang="0">
                  <a:pos x="322" y="1656"/>
                </a:cxn>
                <a:cxn ang="0">
                  <a:pos x="184" y="2162"/>
                </a:cxn>
                <a:cxn ang="0">
                  <a:pos x="92" y="2622"/>
                </a:cxn>
                <a:cxn ang="0">
                  <a:pos x="0" y="3128"/>
                </a:cxn>
                <a:cxn ang="0">
                  <a:pos x="0" y="3634"/>
                </a:cxn>
                <a:cxn ang="0">
                  <a:pos x="0" y="4186"/>
                </a:cxn>
                <a:cxn ang="0">
                  <a:pos x="11362" y="4186"/>
                </a:cxn>
                <a:cxn ang="0">
                  <a:pos x="11408" y="3634"/>
                </a:cxn>
                <a:cxn ang="0">
                  <a:pos x="11362" y="3128"/>
                </a:cxn>
                <a:cxn ang="0">
                  <a:pos x="11316" y="2622"/>
                </a:cxn>
                <a:cxn ang="0">
                  <a:pos x="11178" y="2162"/>
                </a:cxn>
                <a:cxn ang="0">
                  <a:pos x="11040" y="1656"/>
                </a:cxn>
                <a:cxn ang="0">
                  <a:pos x="10810" y="1242"/>
                </a:cxn>
                <a:cxn ang="0">
                  <a:pos x="10580" y="782"/>
                </a:cxn>
                <a:cxn ang="0">
                  <a:pos x="10258" y="414"/>
                </a:cxn>
              </a:cxnLst>
              <a:rect l="0" t="0" r="r" b="b"/>
              <a:pathLst>
                <a:path w="11408" h="4186">
                  <a:moveTo>
                    <a:pt x="10258" y="414"/>
                  </a:moveTo>
                  <a:lnTo>
                    <a:pt x="7084" y="0"/>
                  </a:lnTo>
                  <a:lnTo>
                    <a:pt x="5704" y="2346"/>
                  </a:lnTo>
                  <a:lnTo>
                    <a:pt x="4232" y="46"/>
                  </a:lnTo>
                  <a:lnTo>
                    <a:pt x="1150" y="414"/>
                  </a:lnTo>
                  <a:lnTo>
                    <a:pt x="828" y="782"/>
                  </a:lnTo>
                  <a:lnTo>
                    <a:pt x="552" y="1242"/>
                  </a:lnTo>
                  <a:lnTo>
                    <a:pt x="322" y="1656"/>
                  </a:lnTo>
                  <a:lnTo>
                    <a:pt x="184" y="2162"/>
                  </a:lnTo>
                  <a:lnTo>
                    <a:pt x="92" y="2622"/>
                  </a:lnTo>
                  <a:lnTo>
                    <a:pt x="0" y="3128"/>
                  </a:lnTo>
                  <a:lnTo>
                    <a:pt x="0" y="3634"/>
                  </a:lnTo>
                  <a:lnTo>
                    <a:pt x="0" y="4186"/>
                  </a:lnTo>
                  <a:lnTo>
                    <a:pt x="11362" y="4186"/>
                  </a:lnTo>
                  <a:lnTo>
                    <a:pt x="11408" y="3634"/>
                  </a:lnTo>
                  <a:lnTo>
                    <a:pt x="11362" y="3128"/>
                  </a:lnTo>
                  <a:lnTo>
                    <a:pt x="11316" y="2622"/>
                  </a:lnTo>
                  <a:lnTo>
                    <a:pt x="11178" y="2162"/>
                  </a:lnTo>
                  <a:lnTo>
                    <a:pt x="11040" y="1656"/>
                  </a:lnTo>
                  <a:lnTo>
                    <a:pt x="10810" y="1242"/>
                  </a:lnTo>
                  <a:lnTo>
                    <a:pt x="10580" y="782"/>
                  </a:lnTo>
                  <a:lnTo>
                    <a:pt x="10258" y="4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2" name="Freeform 113"/>
            <p:cNvSpPr>
              <a:spLocks noEditPoints="1"/>
            </p:cNvSpPr>
            <p:nvPr/>
          </p:nvSpPr>
          <p:spPr bwMode="auto">
            <a:xfrm>
              <a:off x="2339975" y="4005263"/>
              <a:ext cx="590550" cy="806450"/>
            </a:xfrm>
            <a:custGeom>
              <a:avLst/>
              <a:gdLst/>
              <a:ahLst/>
              <a:cxnLst>
                <a:cxn ang="0">
                  <a:pos x="4324" y="11684"/>
                </a:cxn>
                <a:cxn ang="0">
                  <a:pos x="4968" y="11455"/>
                </a:cxn>
                <a:cxn ang="0">
                  <a:pos x="5980" y="10810"/>
                </a:cxn>
                <a:cxn ang="0">
                  <a:pos x="6440" y="10350"/>
                </a:cxn>
                <a:cxn ang="0">
                  <a:pos x="8556" y="10166"/>
                </a:cxn>
                <a:cxn ang="0">
                  <a:pos x="8326" y="5842"/>
                </a:cxn>
                <a:cxn ang="0">
                  <a:pos x="8188" y="5106"/>
                </a:cxn>
                <a:cxn ang="0">
                  <a:pos x="7912" y="4462"/>
                </a:cxn>
                <a:cxn ang="0">
                  <a:pos x="7590" y="3864"/>
                </a:cxn>
                <a:cxn ang="0">
                  <a:pos x="7590" y="414"/>
                </a:cxn>
                <a:cxn ang="0">
                  <a:pos x="7221" y="0"/>
                </a:cxn>
                <a:cxn ang="0">
                  <a:pos x="874" y="0"/>
                </a:cxn>
                <a:cxn ang="0">
                  <a:pos x="1196" y="3680"/>
                </a:cxn>
                <a:cxn ang="0">
                  <a:pos x="690" y="4554"/>
                </a:cxn>
                <a:cxn ang="0">
                  <a:pos x="460" y="5152"/>
                </a:cxn>
                <a:cxn ang="0">
                  <a:pos x="368" y="5842"/>
                </a:cxn>
                <a:cxn ang="0">
                  <a:pos x="0" y="10166"/>
                </a:cxn>
                <a:cxn ang="0">
                  <a:pos x="2208" y="10442"/>
                </a:cxn>
                <a:cxn ang="0">
                  <a:pos x="2760" y="10948"/>
                </a:cxn>
                <a:cxn ang="0">
                  <a:pos x="3312" y="11316"/>
                </a:cxn>
                <a:cxn ang="0">
                  <a:pos x="3910" y="11546"/>
                </a:cxn>
                <a:cxn ang="0">
                  <a:pos x="6808" y="782"/>
                </a:cxn>
                <a:cxn ang="0">
                  <a:pos x="5980" y="3542"/>
                </a:cxn>
                <a:cxn ang="0">
                  <a:pos x="4830" y="3404"/>
                </a:cxn>
                <a:cxn ang="0">
                  <a:pos x="3680" y="3404"/>
                </a:cxn>
                <a:cxn ang="0">
                  <a:pos x="2576" y="3542"/>
                </a:cxn>
                <a:cxn ang="0">
                  <a:pos x="1702" y="782"/>
                </a:cxn>
                <a:cxn ang="0">
                  <a:pos x="1748" y="6808"/>
                </a:cxn>
                <a:cxn ang="0">
                  <a:pos x="2576" y="6440"/>
                </a:cxn>
                <a:cxn ang="0">
                  <a:pos x="2852" y="5750"/>
                </a:cxn>
                <a:cxn ang="0">
                  <a:pos x="2944" y="6440"/>
                </a:cxn>
                <a:cxn ang="0">
                  <a:pos x="3772" y="6762"/>
                </a:cxn>
                <a:cxn ang="0">
                  <a:pos x="5106" y="6486"/>
                </a:cxn>
                <a:cxn ang="0">
                  <a:pos x="6164" y="6118"/>
                </a:cxn>
                <a:cxn ang="0">
                  <a:pos x="6716" y="6854"/>
                </a:cxn>
                <a:cxn ang="0">
                  <a:pos x="6670" y="7820"/>
                </a:cxn>
                <a:cxn ang="0">
                  <a:pos x="6394" y="8970"/>
                </a:cxn>
                <a:cxn ang="0">
                  <a:pos x="5888" y="9890"/>
                </a:cxn>
                <a:cxn ang="0">
                  <a:pos x="5796" y="9936"/>
                </a:cxn>
                <a:cxn ang="0">
                  <a:pos x="5750" y="10028"/>
                </a:cxn>
                <a:cxn ang="0">
                  <a:pos x="5704" y="10074"/>
                </a:cxn>
                <a:cxn ang="0">
                  <a:pos x="5658" y="10120"/>
                </a:cxn>
                <a:cxn ang="0">
                  <a:pos x="5612" y="10166"/>
                </a:cxn>
                <a:cxn ang="0">
                  <a:pos x="5014" y="10626"/>
                </a:cxn>
                <a:cxn ang="0">
                  <a:pos x="4324" y="10948"/>
                </a:cxn>
                <a:cxn ang="0">
                  <a:pos x="3588" y="10626"/>
                </a:cxn>
                <a:cxn ang="0">
                  <a:pos x="2944" y="10166"/>
                </a:cxn>
                <a:cxn ang="0">
                  <a:pos x="2898" y="10120"/>
                </a:cxn>
                <a:cxn ang="0">
                  <a:pos x="2852" y="10074"/>
                </a:cxn>
                <a:cxn ang="0">
                  <a:pos x="2760" y="10028"/>
                </a:cxn>
                <a:cxn ang="0">
                  <a:pos x="2714" y="9936"/>
                </a:cxn>
                <a:cxn ang="0">
                  <a:pos x="2668" y="9890"/>
                </a:cxn>
                <a:cxn ang="0">
                  <a:pos x="2622" y="9798"/>
                </a:cxn>
                <a:cxn ang="0">
                  <a:pos x="2576" y="9752"/>
                </a:cxn>
                <a:cxn ang="0">
                  <a:pos x="2484" y="9660"/>
                </a:cxn>
                <a:cxn ang="0">
                  <a:pos x="2392" y="9522"/>
                </a:cxn>
                <a:cxn ang="0">
                  <a:pos x="2346" y="9476"/>
                </a:cxn>
                <a:cxn ang="0">
                  <a:pos x="2070" y="8878"/>
                </a:cxn>
                <a:cxn ang="0">
                  <a:pos x="1748" y="7590"/>
                </a:cxn>
              </a:cxnLst>
              <a:rect l="0" t="0" r="r" b="b"/>
              <a:pathLst>
                <a:path w="8556" h="11684">
                  <a:moveTo>
                    <a:pt x="4232" y="11638"/>
                  </a:moveTo>
                  <a:lnTo>
                    <a:pt x="4324" y="11684"/>
                  </a:lnTo>
                  <a:lnTo>
                    <a:pt x="4370" y="11638"/>
                  </a:lnTo>
                  <a:lnTo>
                    <a:pt x="4968" y="11455"/>
                  </a:lnTo>
                  <a:lnTo>
                    <a:pt x="5474" y="11178"/>
                  </a:lnTo>
                  <a:lnTo>
                    <a:pt x="5980" y="10810"/>
                  </a:lnTo>
                  <a:lnTo>
                    <a:pt x="6210" y="10580"/>
                  </a:lnTo>
                  <a:lnTo>
                    <a:pt x="6440" y="10350"/>
                  </a:lnTo>
                  <a:lnTo>
                    <a:pt x="6532" y="10166"/>
                  </a:lnTo>
                  <a:lnTo>
                    <a:pt x="8556" y="10166"/>
                  </a:lnTo>
                  <a:lnTo>
                    <a:pt x="8326" y="6210"/>
                  </a:lnTo>
                  <a:lnTo>
                    <a:pt x="8326" y="5842"/>
                  </a:lnTo>
                  <a:lnTo>
                    <a:pt x="8234" y="5474"/>
                  </a:lnTo>
                  <a:lnTo>
                    <a:pt x="8188" y="5106"/>
                  </a:lnTo>
                  <a:lnTo>
                    <a:pt x="8050" y="4784"/>
                  </a:lnTo>
                  <a:lnTo>
                    <a:pt x="7912" y="4462"/>
                  </a:lnTo>
                  <a:lnTo>
                    <a:pt x="7774" y="4140"/>
                  </a:lnTo>
                  <a:lnTo>
                    <a:pt x="7590" y="3864"/>
                  </a:lnTo>
                  <a:lnTo>
                    <a:pt x="7360" y="3588"/>
                  </a:lnTo>
                  <a:lnTo>
                    <a:pt x="7590" y="414"/>
                  </a:lnTo>
                  <a:lnTo>
                    <a:pt x="7636" y="0"/>
                  </a:lnTo>
                  <a:lnTo>
                    <a:pt x="7221" y="0"/>
                  </a:lnTo>
                  <a:lnTo>
                    <a:pt x="1288" y="0"/>
                  </a:lnTo>
                  <a:lnTo>
                    <a:pt x="874" y="0"/>
                  </a:lnTo>
                  <a:lnTo>
                    <a:pt x="920" y="414"/>
                  </a:lnTo>
                  <a:lnTo>
                    <a:pt x="1196" y="3680"/>
                  </a:lnTo>
                  <a:lnTo>
                    <a:pt x="828" y="4232"/>
                  </a:lnTo>
                  <a:lnTo>
                    <a:pt x="690" y="4554"/>
                  </a:lnTo>
                  <a:lnTo>
                    <a:pt x="552" y="4830"/>
                  </a:lnTo>
                  <a:lnTo>
                    <a:pt x="460" y="5152"/>
                  </a:lnTo>
                  <a:lnTo>
                    <a:pt x="414" y="5474"/>
                  </a:lnTo>
                  <a:lnTo>
                    <a:pt x="368" y="5842"/>
                  </a:lnTo>
                  <a:lnTo>
                    <a:pt x="322" y="6210"/>
                  </a:lnTo>
                  <a:lnTo>
                    <a:pt x="0" y="10166"/>
                  </a:lnTo>
                  <a:lnTo>
                    <a:pt x="1978" y="10166"/>
                  </a:lnTo>
                  <a:lnTo>
                    <a:pt x="2208" y="10442"/>
                  </a:lnTo>
                  <a:lnTo>
                    <a:pt x="2484" y="10718"/>
                  </a:lnTo>
                  <a:lnTo>
                    <a:pt x="2760" y="10948"/>
                  </a:lnTo>
                  <a:lnTo>
                    <a:pt x="3036" y="11132"/>
                  </a:lnTo>
                  <a:lnTo>
                    <a:pt x="3312" y="11316"/>
                  </a:lnTo>
                  <a:lnTo>
                    <a:pt x="3634" y="11455"/>
                  </a:lnTo>
                  <a:lnTo>
                    <a:pt x="3910" y="11546"/>
                  </a:lnTo>
                  <a:lnTo>
                    <a:pt x="4232" y="11638"/>
                  </a:lnTo>
                  <a:close/>
                  <a:moveTo>
                    <a:pt x="6808" y="782"/>
                  </a:moveTo>
                  <a:lnTo>
                    <a:pt x="6578" y="3634"/>
                  </a:lnTo>
                  <a:lnTo>
                    <a:pt x="5980" y="3542"/>
                  </a:lnTo>
                  <a:lnTo>
                    <a:pt x="5428" y="3450"/>
                  </a:lnTo>
                  <a:lnTo>
                    <a:pt x="4830" y="3404"/>
                  </a:lnTo>
                  <a:lnTo>
                    <a:pt x="4278" y="3358"/>
                  </a:lnTo>
                  <a:lnTo>
                    <a:pt x="3680" y="3404"/>
                  </a:lnTo>
                  <a:lnTo>
                    <a:pt x="3128" y="3450"/>
                  </a:lnTo>
                  <a:lnTo>
                    <a:pt x="2576" y="3542"/>
                  </a:lnTo>
                  <a:lnTo>
                    <a:pt x="1978" y="3634"/>
                  </a:lnTo>
                  <a:lnTo>
                    <a:pt x="1702" y="782"/>
                  </a:lnTo>
                  <a:lnTo>
                    <a:pt x="6808" y="782"/>
                  </a:lnTo>
                  <a:close/>
                  <a:moveTo>
                    <a:pt x="1748" y="6808"/>
                  </a:moveTo>
                  <a:lnTo>
                    <a:pt x="2438" y="6808"/>
                  </a:lnTo>
                  <a:lnTo>
                    <a:pt x="2576" y="6440"/>
                  </a:lnTo>
                  <a:lnTo>
                    <a:pt x="2714" y="6118"/>
                  </a:lnTo>
                  <a:lnTo>
                    <a:pt x="2852" y="5750"/>
                  </a:lnTo>
                  <a:lnTo>
                    <a:pt x="2898" y="6118"/>
                  </a:lnTo>
                  <a:lnTo>
                    <a:pt x="2944" y="6440"/>
                  </a:lnTo>
                  <a:lnTo>
                    <a:pt x="2990" y="6808"/>
                  </a:lnTo>
                  <a:lnTo>
                    <a:pt x="3772" y="6762"/>
                  </a:lnTo>
                  <a:lnTo>
                    <a:pt x="4554" y="6624"/>
                  </a:lnTo>
                  <a:lnTo>
                    <a:pt x="5106" y="6486"/>
                  </a:lnTo>
                  <a:lnTo>
                    <a:pt x="5612" y="6302"/>
                  </a:lnTo>
                  <a:lnTo>
                    <a:pt x="6164" y="6118"/>
                  </a:lnTo>
                  <a:lnTo>
                    <a:pt x="6624" y="5888"/>
                  </a:lnTo>
                  <a:lnTo>
                    <a:pt x="6716" y="6854"/>
                  </a:lnTo>
                  <a:lnTo>
                    <a:pt x="6716" y="7314"/>
                  </a:lnTo>
                  <a:lnTo>
                    <a:pt x="6670" y="7820"/>
                  </a:lnTo>
                  <a:lnTo>
                    <a:pt x="6578" y="8418"/>
                  </a:lnTo>
                  <a:lnTo>
                    <a:pt x="6394" y="8970"/>
                  </a:lnTo>
                  <a:lnTo>
                    <a:pt x="6164" y="9476"/>
                  </a:lnTo>
                  <a:lnTo>
                    <a:pt x="5888" y="9890"/>
                  </a:lnTo>
                  <a:lnTo>
                    <a:pt x="5842" y="9936"/>
                  </a:lnTo>
                  <a:lnTo>
                    <a:pt x="5796" y="9936"/>
                  </a:lnTo>
                  <a:lnTo>
                    <a:pt x="5796" y="9982"/>
                  </a:lnTo>
                  <a:lnTo>
                    <a:pt x="5750" y="10028"/>
                  </a:lnTo>
                  <a:lnTo>
                    <a:pt x="5750" y="10074"/>
                  </a:lnTo>
                  <a:lnTo>
                    <a:pt x="5704" y="10074"/>
                  </a:lnTo>
                  <a:lnTo>
                    <a:pt x="5704" y="10120"/>
                  </a:lnTo>
                  <a:lnTo>
                    <a:pt x="5658" y="10120"/>
                  </a:lnTo>
                  <a:lnTo>
                    <a:pt x="5658" y="10166"/>
                  </a:lnTo>
                  <a:lnTo>
                    <a:pt x="5612" y="10166"/>
                  </a:lnTo>
                  <a:lnTo>
                    <a:pt x="5336" y="10442"/>
                  </a:lnTo>
                  <a:lnTo>
                    <a:pt x="5014" y="10626"/>
                  </a:lnTo>
                  <a:lnTo>
                    <a:pt x="4646" y="10810"/>
                  </a:lnTo>
                  <a:lnTo>
                    <a:pt x="4324" y="10948"/>
                  </a:lnTo>
                  <a:lnTo>
                    <a:pt x="3956" y="10810"/>
                  </a:lnTo>
                  <a:lnTo>
                    <a:pt x="3588" y="10626"/>
                  </a:lnTo>
                  <a:lnTo>
                    <a:pt x="3266" y="10442"/>
                  </a:lnTo>
                  <a:lnTo>
                    <a:pt x="2944" y="10166"/>
                  </a:lnTo>
                  <a:lnTo>
                    <a:pt x="2898" y="10166"/>
                  </a:lnTo>
                  <a:lnTo>
                    <a:pt x="2898" y="10120"/>
                  </a:lnTo>
                  <a:lnTo>
                    <a:pt x="2852" y="10120"/>
                  </a:lnTo>
                  <a:lnTo>
                    <a:pt x="2852" y="10074"/>
                  </a:lnTo>
                  <a:lnTo>
                    <a:pt x="2806" y="10028"/>
                  </a:lnTo>
                  <a:lnTo>
                    <a:pt x="2760" y="10028"/>
                  </a:lnTo>
                  <a:lnTo>
                    <a:pt x="2760" y="9982"/>
                  </a:lnTo>
                  <a:lnTo>
                    <a:pt x="2714" y="9936"/>
                  </a:lnTo>
                  <a:lnTo>
                    <a:pt x="2714" y="9890"/>
                  </a:lnTo>
                  <a:lnTo>
                    <a:pt x="2668" y="9890"/>
                  </a:lnTo>
                  <a:lnTo>
                    <a:pt x="2622" y="9844"/>
                  </a:lnTo>
                  <a:lnTo>
                    <a:pt x="2622" y="9798"/>
                  </a:lnTo>
                  <a:lnTo>
                    <a:pt x="2576" y="9798"/>
                  </a:lnTo>
                  <a:lnTo>
                    <a:pt x="2576" y="9752"/>
                  </a:lnTo>
                  <a:lnTo>
                    <a:pt x="2530" y="9706"/>
                  </a:lnTo>
                  <a:lnTo>
                    <a:pt x="2484" y="9660"/>
                  </a:lnTo>
                  <a:lnTo>
                    <a:pt x="2438" y="9568"/>
                  </a:lnTo>
                  <a:lnTo>
                    <a:pt x="2392" y="9522"/>
                  </a:lnTo>
                  <a:lnTo>
                    <a:pt x="2392" y="9476"/>
                  </a:lnTo>
                  <a:lnTo>
                    <a:pt x="2346" y="9476"/>
                  </a:lnTo>
                  <a:lnTo>
                    <a:pt x="2346" y="9430"/>
                  </a:lnTo>
                  <a:lnTo>
                    <a:pt x="2070" y="8878"/>
                  </a:lnTo>
                  <a:lnTo>
                    <a:pt x="1886" y="8280"/>
                  </a:lnTo>
                  <a:lnTo>
                    <a:pt x="1748" y="7590"/>
                  </a:lnTo>
                  <a:lnTo>
                    <a:pt x="1748" y="68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" name="组合 186"/>
          <p:cNvGrpSpPr/>
          <p:nvPr/>
        </p:nvGrpSpPr>
        <p:grpSpPr>
          <a:xfrm>
            <a:off x="7039699" y="2971637"/>
            <a:ext cx="268852" cy="317370"/>
            <a:chOff x="4896805" y="3693132"/>
            <a:chExt cx="601339" cy="815610"/>
          </a:xfrm>
          <a:solidFill>
            <a:srgbClr val="000000">
              <a:lumMod val="65000"/>
              <a:lumOff val="35000"/>
            </a:srgbClr>
          </a:solidFill>
        </p:grpSpPr>
        <p:sp>
          <p:nvSpPr>
            <p:cNvPr id="235" name="Freeform 104"/>
            <p:cNvSpPr>
              <a:spLocks/>
            </p:cNvSpPr>
            <p:nvPr/>
          </p:nvSpPr>
          <p:spPr bwMode="auto">
            <a:xfrm>
              <a:off x="5028132" y="3693132"/>
              <a:ext cx="338685" cy="338685"/>
            </a:xfrm>
            <a:custGeom>
              <a:avLst/>
              <a:gdLst/>
              <a:ahLst/>
              <a:cxnLst>
                <a:cxn ang="0">
                  <a:pos x="98" y="50"/>
                </a:cxn>
                <a:cxn ang="0">
                  <a:pos x="98" y="50"/>
                </a:cxn>
                <a:cxn ang="0">
                  <a:pos x="98" y="60"/>
                </a:cxn>
                <a:cxn ang="0">
                  <a:pos x="94" y="68"/>
                </a:cxn>
                <a:cxn ang="0">
                  <a:pos x="90" y="76"/>
                </a:cxn>
                <a:cxn ang="0">
                  <a:pos x="84" y="84"/>
                </a:cxn>
                <a:cxn ang="0">
                  <a:pos x="76" y="90"/>
                </a:cxn>
                <a:cxn ang="0">
                  <a:pos x="68" y="94"/>
                </a:cxn>
                <a:cxn ang="0">
                  <a:pos x="58" y="98"/>
                </a:cxn>
                <a:cxn ang="0">
                  <a:pos x="48" y="98"/>
                </a:cxn>
                <a:cxn ang="0">
                  <a:pos x="48" y="98"/>
                </a:cxn>
                <a:cxn ang="0">
                  <a:pos x="38" y="98"/>
                </a:cxn>
                <a:cxn ang="0">
                  <a:pos x="30" y="94"/>
                </a:cxn>
                <a:cxn ang="0">
                  <a:pos x="22" y="90"/>
                </a:cxn>
                <a:cxn ang="0">
                  <a:pos x="14" y="84"/>
                </a:cxn>
                <a:cxn ang="0">
                  <a:pos x="8" y="76"/>
                </a:cxn>
                <a:cxn ang="0">
                  <a:pos x="4" y="68"/>
                </a:cxn>
                <a:cxn ang="0">
                  <a:pos x="0" y="60"/>
                </a:cxn>
                <a:cxn ang="0">
                  <a:pos x="0" y="50"/>
                </a:cxn>
                <a:cxn ang="0">
                  <a:pos x="0" y="50"/>
                </a:cxn>
                <a:cxn ang="0">
                  <a:pos x="0" y="40"/>
                </a:cxn>
                <a:cxn ang="0">
                  <a:pos x="4" y="30"/>
                </a:cxn>
                <a:cxn ang="0">
                  <a:pos x="8" y="22"/>
                </a:cxn>
                <a:cxn ang="0">
                  <a:pos x="14" y="14"/>
                </a:cxn>
                <a:cxn ang="0">
                  <a:pos x="22" y="8"/>
                </a:cxn>
                <a:cxn ang="0">
                  <a:pos x="30" y="4"/>
                </a:cxn>
                <a:cxn ang="0">
                  <a:pos x="38" y="0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58" y="0"/>
                </a:cxn>
                <a:cxn ang="0">
                  <a:pos x="68" y="4"/>
                </a:cxn>
                <a:cxn ang="0">
                  <a:pos x="76" y="8"/>
                </a:cxn>
                <a:cxn ang="0">
                  <a:pos x="84" y="14"/>
                </a:cxn>
                <a:cxn ang="0">
                  <a:pos x="90" y="22"/>
                </a:cxn>
                <a:cxn ang="0">
                  <a:pos x="94" y="30"/>
                </a:cxn>
                <a:cxn ang="0">
                  <a:pos x="98" y="40"/>
                </a:cxn>
                <a:cxn ang="0">
                  <a:pos x="98" y="50"/>
                </a:cxn>
                <a:cxn ang="0">
                  <a:pos x="98" y="50"/>
                </a:cxn>
              </a:cxnLst>
              <a:rect l="0" t="0" r="r" b="b"/>
              <a:pathLst>
                <a:path w="98" h="98">
                  <a:moveTo>
                    <a:pt x="98" y="50"/>
                  </a:moveTo>
                  <a:lnTo>
                    <a:pt x="98" y="50"/>
                  </a:lnTo>
                  <a:lnTo>
                    <a:pt x="98" y="60"/>
                  </a:lnTo>
                  <a:lnTo>
                    <a:pt x="94" y="68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38" y="98"/>
                  </a:lnTo>
                  <a:lnTo>
                    <a:pt x="30" y="94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4" y="68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0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8" y="40"/>
                  </a:lnTo>
                  <a:lnTo>
                    <a:pt x="98" y="50"/>
                  </a:lnTo>
                  <a:lnTo>
                    <a:pt x="98" y="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6" name="Freeform 106"/>
            <p:cNvSpPr>
              <a:spLocks/>
            </p:cNvSpPr>
            <p:nvPr/>
          </p:nvSpPr>
          <p:spPr bwMode="auto">
            <a:xfrm>
              <a:off x="4896805" y="4066377"/>
              <a:ext cx="601339" cy="442365"/>
            </a:xfrm>
            <a:custGeom>
              <a:avLst/>
              <a:gdLst/>
              <a:ahLst/>
              <a:cxnLst>
                <a:cxn ang="0">
                  <a:pos x="138" y="0"/>
                </a:cxn>
                <a:cxn ang="0">
                  <a:pos x="124" y="0"/>
                </a:cxn>
                <a:cxn ang="0">
                  <a:pos x="88" y="62"/>
                </a:cxn>
                <a:cxn ang="0">
                  <a:pos x="50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28" y="0"/>
                </a:cxn>
                <a:cxn ang="0">
                  <a:pos x="22" y="2"/>
                </a:cxn>
                <a:cxn ang="0">
                  <a:pos x="16" y="6"/>
                </a:cxn>
                <a:cxn ang="0">
                  <a:pos x="10" y="10"/>
                </a:cxn>
                <a:cxn ang="0">
                  <a:pos x="6" y="14"/>
                </a:cxn>
                <a:cxn ang="0">
                  <a:pos x="4" y="20"/>
                </a:cxn>
                <a:cxn ang="0">
                  <a:pos x="2" y="28"/>
                </a:cxn>
                <a:cxn ang="0">
                  <a:pos x="0" y="34"/>
                </a:cxn>
                <a:cxn ang="0">
                  <a:pos x="0" y="128"/>
                </a:cxn>
                <a:cxn ang="0">
                  <a:pos x="174" y="128"/>
                </a:cxn>
                <a:cxn ang="0">
                  <a:pos x="174" y="34"/>
                </a:cxn>
                <a:cxn ang="0">
                  <a:pos x="174" y="34"/>
                </a:cxn>
                <a:cxn ang="0">
                  <a:pos x="172" y="28"/>
                </a:cxn>
                <a:cxn ang="0">
                  <a:pos x="170" y="20"/>
                </a:cxn>
                <a:cxn ang="0">
                  <a:pos x="168" y="14"/>
                </a:cxn>
                <a:cxn ang="0">
                  <a:pos x="164" y="10"/>
                </a:cxn>
                <a:cxn ang="0">
                  <a:pos x="158" y="6"/>
                </a:cxn>
                <a:cxn ang="0">
                  <a:pos x="152" y="2"/>
                </a:cxn>
                <a:cxn ang="0">
                  <a:pos x="146" y="0"/>
                </a:cxn>
                <a:cxn ang="0">
                  <a:pos x="138" y="0"/>
                </a:cxn>
                <a:cxn ang="0">
                  <a:pos x="138" y="0"/>
                </a:cxn>
              </a:cxnLst>
              <a:rect l="0" t="0" r="r" b="b"/>
              <a:pathLst>
                <a:path w="174" h="128">
                  <a:moveTo>
                    <a:pt x="138" y="0"/>
                  </a:moveTo>
                  <a:lnTo>
                    <a:pt x="124" y="0"/>
                  </a:lnTo>
                  <a:lnTo>
                    <a:pt x="88" y="62"/>
                  </a:lnTo>
                  <a:lnTo>
                    <a:pt x="5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4" y="20"/>
                  </a:lnTo>
                  <a:lnTo>
                    <a:pt x="2" y="28"/>
                  </a:lnTo>
                  <a:lnTo>
                    <a:pt x="0" y="34"/>
                  </a:lnTo>
                  <a:lnTo>
                    <a:pt x="0" y="128"/>
                  </a:lnTo>
                  <a:lnTo>
                    <a:pt x="174" y="128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2" y="28"/>
                  </a:lnTo>
                  <a:lnTo>
                    <a:pt x="170" y="20"/>
                  </a:lnTo>
                  <a:lnTo>
                    <a:pt x="168" y="14"/>
                  </a:lnTo>
                  <a:lnTo>
                    <a:pt x="164" y="10"/>
                  </a:lnTo>
                  <a:lnTo>
                    <a:pt x="158" y="6"/>
                  </a:lnTo>
                  <a:lnTo>
                    <a:pt x="152" y="2"/>
                  </a:lnTo>
                  <a:lnTo>
                    <a:pt x="146" y="0"/>
                  </a:lnTo>
                  <a:lnTo>
                    <a:pt x="138" y="0"/>
                  </a:lnTo>
                  <a:lnTo>
                    <a:pt x="13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7" name="Freeform 107"/>
            <p:cNvSpPr>
              <a:spLocks/>
            </p:cNvSpPr>
            <p:nvPr/>
          </p:nvSpPr>
          <p:spPr bwMode="auto">
            <a:xfrm>
              <a:off x="5166371" y="4073289"/>
              <a:ext cx="62208" cy="131327"/>
            </a:xfrm>
            <a:custGeom>
              <a:avLst/>
              <a:gdLst/>
              <a:ahLst/>
              <a:cxnLst>
                <a:cxn ang="0">
                  <a:pos x="18" y="38"/>
                </a:cxn>
                <a:cxn ang="0">
                  <a:pos x="18" y="38"/>
                </a:cxn>
                <a:cxn ang="0">
                  <a:pos x="8" y="0"/>
                </a:cxn>
                <a:cxn ang="0">
                  <a:pos x="0" y="38"/>
                </a:cxn>
                <a:cxn ang="0">
                  <a:pos x="0" y="38"/>
                </a:cxn>
                <a:cxn ang="0">
                  <a:pos x="18" y="38"/>
                </a:cxn>
              </a:cxnLst>
              <a:rect l="0" t="0" r="r" b="b"/>
              <a:pathLst>
                <a:path w="18" h="38">
                  <a:moveTo>
                    <a:pt x="18" y="38"/>
                  </a:moveTo>
                  <a:lnTo>
                    <a:pt x="18" y="38"/>
                  </a:lnTo>
                  <a:lnTo>
                    <a:pt x="8" y="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8" y="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8" name="Freeform 108"/>
            <p:cNvSpPr>
              <a:spLocks/>
            </p:cNvSpPr>
            <p:nvPr/>
          </p:nvSpPr>
          <p:spPr bwMode="auto">
            <a:xfrm>
              <a:off x="5166371" y="4204616"/>
              <a:ext cx="62208" cy="2073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0" y="6"/>
                </a:cxn>
                <a:cxn ang="0">
                  <a:pos x="18" y="0"/>
                </a:cxn>
                <a:cxn ang="0">
                  <a:pos x="18" y="0"/>
                </a:cxn>
                <a:cxn ang="0">
                  <a:pos x="0" y="0"/>
                </a:cxn>
              </a:cxnLst>
              <a:rect l="0" t="0" r="r" b="b"/>
              <a:pathLst>
                <a:path w="18" h="6">
                  <a:moveTo>
                    <a:pt x="0" y="0"/>
                  </a:moveTo>
                  <a:lnTo>
                    <a:pt x="0" y="0"/>
                  </a:lnTo>
                  <a:lnTo>
                    <a:pt x="10" y="6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9" name="Freeform 109"/>
            <p:cNvSpPr>
              <a:spLocks/>
            </p:cNvSpPr>
            <p:nvPr/>
          </p:nvSpPr>
          <p:spPr bwMode="auto">
            <a:xfrm>
              <a:off x="5187107" y="4066377"/>
              <a:ext cx="20736" cy="20736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4" y="6"/>
                </a:cxn>
                <a:cxn ang="0">
                  <a:pos x="0" y="2"/>
                </a:cxn>
                <a:cxn ang="0">
                  <a:pos x="4" y="0"/>
                </a:cxn>
                <a:cxn ang="0">
                  <a:pos x="6" y="2"/>
                </a:cxn>
              </a:cxnLst>
              <a:rect l="0" t="0" r="r" b="b"/>
              <a:pathLst>
                <a:path w="6" h="6">
                  <a:moveTo>
                    <a:pt x="6" y="2"/>
                  </a:moveTo>
                  <a:lnTo>
                    <a:pt x="4" y="6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" name="组合 2707"/>
          <p:cNvGrpSpPr/>
          <p:nvPr/>
        </p:nvGrpSpPr>
        <p:grpSpPr>
          <a:xfrm>
            <a:off x="7875788" y="3457481"/>
            <a:ext cx="304419" cy="328137"/>
            <a:chOff x="17808138" y="-939397"/>
            <a:chExt cx="607566" cy="892362"/>
          </a:xfrm>
          <a:solidFill>
            <a:srgbClr val="000000">
              <a:lumMod val="65000"/>
              <a:lumOff val="35000"/>
            </a:srgbClr>
          </a:solidFill>
        </p:grpSpPr>
        <p:sp>
          <p:nvSpPr>
            <p:cNvPr id="231" name="Freeform 150"/>
            <p:cNvSpPr>
              <a:spLocks/>
            </p:cNvSpPr>
            <p:nvPr/>
          </p:nvSpPr>
          <p:spPr bwMode="auto">
            <a:xfrm>
              <a:off x="17808138" y="-471065"/>
              <a:ext cx="607566" cy="424030"/>
            </a:xfrm>
            <a:custGeom>
              <a:avLst/>
              <a:gdLst/>
              <a:ahLst/>
              <a:cxnLst>
                <a:cxn ang="0">
                  <a:pos x="154" y="2"/>
                </a:cxn>
                <a:cxn ang="0">
                  <a:pos x="138" y="40"/>
                </a:cxn>
                <a:cxn ang="0">
                  <a:pos x="98" y="132"/>
                </a:cxn>
                <a:cxn ang="0">
                  <a:pos x="56" y="4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32" y="8"/>
                </a:cxn>
                <a:cxn ang="0">
                  <a:pos x="24" y="16"/>
                </a:cxn>
                <a:cxn ang="0">
                  <a:pos x="16" y="24"/>
                </a:cxn>
                <a:cxn ang="0">
                  <a:pos x="12" y="34"/>
                </a:cxn>
                <a:cxn ang="0">
                  <a:pos x="6" y="44"/>
                </a:cxn>
                <a:cxn ang="0">
                  <a:pos x="4" y="54"/>
                </a:cxn>
                <a:cxn ang="0">
                  <a:pos x="2" y="66"/>
                </a:cxn>
                <a:cxn ang="0">
                  <a:pos x="0" y="76"/>
                </a:cxn>
                <a:cxn ang="0">
                  <a:pos x="0" y="100"/>
                </a:cxn>
                <a:cxn ang="0">
                  <a:pos x="0" y="100"/>
                </a:cxn>
                <a:cxn ang="0">
                  <a:pos x="22" y="114"/>
                </a:cxn>
                <a:cxn ang="0">
                  <a:pos x="44" y="126"/>
                </a:cxn>
                <a:cxn ang="0">
                  <a:pos x="70" y="132"/>
                </a:cxn>
                <a:cxn ang="0">
                  <a:pos x="82" y="134"/>
                </a:cxn>
                <a:cxn ang="0">
                  <a:pos x="96" y="134"/>
                </a:cxn>
                <a:cxn ang="0">
                  <a:pos x="96" y="134"/>
                </a:cxn>
                <a:cxn ang="0">
                  <a:pos x="110" y="134"/>
                </a:cxn>
                <a:cxn ang="0">
                  <a:pos x="122" y="132"/>
                </a:cxn>
                <a:cxn ang="0">
                  <a:pos x="148" y="126"/>
                </a:cxn>
                <a:cxn ang="0">
                  <a:pos x="170" y="114"/>
                </a:cxn>
                <a:cxn ang="0">
                  <a:pos x="192" y="100"/>
                </a:cxn>
                <a:cxn ang="0">
                  <a:pos x="192" y="76"/>
                </a:cxn>
                <a:cxn ang="0">
                  <a:pos x="192" y="76"/>
                </a:cxn>
                <a:cxn ang="0">
                  <a:pos x="190" y="66"/>
                </a:cxn>
                <a:cxn ang="0">
                  <a:pos x="188" y="54"/>
                </a:cxn>
                <a:cxn ang="0">
                  <a:pos x="186" y="44"/>
                </a:cxn>
                <a:cxn ang="0">
                  <a:pos x="182" y="34"/>
                </a:cxn>
                <a:cxn ang="0">
                  <a:pos x="176" y="24"/>
                </a:cxn>
                <a:cxn ang="0">
                  <a:pos x="170" y="16"/>
                </a:cxn>
                <a:cxn ang="0">
                  <a:pos x="162" y="8"/>
                </a:cxn>
                <a:cxn ang="0">
                  <a:pos x="154" y="2"/>
                </a:cxn>
                <a:cxn ang="0">
                  <a:pos x="154" y="2"/>
                </a:cxn>
              </a:cxnLst>
              <a:rect l="0" t="0" r="r" b="b"/>
              <a:pathLst>
                <a:path w="192" h="134">
                  <a:moveTo>
                    <a:pt x="154" y="2"/>
                  </a:moveTo>
                  <a:lnTo>
                    <a:pt x="138" y="40"/>
                  </a:lnTo>
                  <a:lnTo>
                    <a:pt x="98" y="132"/>
                  </a:lnTo>
                  <a:lnTo>
                    <a:pt x="56" y="4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2" y="8"/>
                  </a:lnTo>
                  <a:lnTo>
                    <a:pt x="24" y="16"/>
                  </a:lnTo>
                  <a:lnTo>
                    <a:pt x="16" y="24"/>
                  </a:lnTo>
                  <a:lnTo>
                    <a:pt x="12" y="34"/>
                  </a:lnTo>
                  <a:lnTo>
                    <a:pt x="6" y="44"/>
                  </a:lnTo>
                  <a:lnTo>
                    <a:pt x="4" y="54"/>
                  </a:lnTo>
                  <a:lnTo>
                    <a:pt x="2" y="66"/>
                  </a:lnTo>
                  <a:lnTo>
                    <a:pt x="0" y="76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2" y="114"/>
                  </a:lnTo>
                  <a:lnTo>
                    <a:pt x="44" y="126"/>
                  </a:lnTo>
                  <a:lnTo>
                    <a:pt x="70" y="132"/>
                  </a:lnTo>
                  <a:lnTo>
                    <a:pt x="82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110" y="134"/>
                  </a:lnTo>
                  <a:lnTo>
                    <a:pt x="122" y="132"/>
                  </a:lnTo>
                  <a:lnTo>
                    <a:pt x="148" y="126"/>
                  </a:lnTo>
                  <a:lnTo>
                    <a:pt x="170" y="114"/>
                  </a:lnTo>
                  <a:lnTo>
                    <a:pt x="192" y="100"/>
                  </a:lnTo>
                  <a:lnTo>
                    <a:pt x="192" y="76"/>
                  </a:lnTo>
                  <a:lnTo>
                    <a:pt x="192" y="76"/>
                  </a:lnTo>
                  <a:lnTo>
                    <a:pt x="190" y="66"/>
                  </a:lnTo>
                  <a:lnTo>
                    <a:pt x="188" y="54"/>
                  </a:lnTo>
                  <a:lnTo>
                    <a:pt x="186" y="44"/>
                  </a:lnTo>
                  <a:lnTo>
                    <a:pt x="182" y="34"/>
                  </a:lnTo>
                  <a:lnTo>
                    <a:pt x="176" y="24"/>
                  </a:lnTo>
                  <a:lnTo>
                    <a:pt x="170" y="16"/>
                  </a:lnTo>
                  <a:lnTo>
                    <a:pt x="162" y="8"/>
                  </a:lnTo>
                  <a:lnTo>
                    <a:pt x="154" y="2"/>
                  </a:lnTo>
                  <a:lnTo>
                    <a:pt x="154" y="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2" name="Freeform 151"/>
            <p:cNvSpPr>
              <a:spLocks/>
            </p:cNvSpPr>
            <p:nvPr/>
          </p:nvSpPr>
          <p:spPr bwMode="auto">
            <a:xfrm>
              <a:off x="18061290" y="-407777"/>
              <a:ext cx="101261" cy="2658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2" y="6"/>
                </a:cxn>
                <a:cxn ang="0">
                  <a:pos x="8" y="12"/>
                </a:cxn>
                <a:cxn ang="0">
                  <a:pos x="2" y="70"/>
                </a:cxn>
                <a:cxn ang="0">
                  <a:pos x="16" y="84"/>
                </a:cxn>
                <a:cxn ang="0">
                  <a:pos x="30" y="70"/>
                </a:cxn>
                <a:cxn ang="0">
                  <a:pos x="26" y="12"/>
                </a:cxn>
                <a:cxn ang="0">
                  <a:pos x="26" y="12"/>
                </a:cxn>
                <a:cxn ang="0">
                  <a:pos x="30" y="6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32" h="84">
                  <a:moveTo>
                    <a:pt x="0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8" y="12"/>
                  </a:lnTo>
                  <a:lnTo>
                    <a:pt x="2" y="70"/>
                  </a:lnTo>
                  <a:lnTo>
                    <a:pt x="16" y="84"/>
                  </a:lnTo>
                  <a:lnTo>
                    <a:pt x="30" y="70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30" y="6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3" name="Freeform 152"/>
            <p:cNvSpPr>
              <a:spLocks/>
            </p:cNvSpPr>
            <p:nvPr/>
          </p:nvSpPr>
          <p:spPr bwMode="auto">
            <a:xfrm>
              <a:off x="17928385" y="-730546"/>
              <a:ext cx="367071" cy="316440"/>
            </a:xfrm>
            <a:custGeom>
              <a:avLst/>
              <a:gdLst/>
              <a:ahLst/>
              <a:cxnLst>
                <a:cxn ang="0">
                  <a:pos x="58" y="10"/>
                </a:cxn>
                <a:cxn ang="0">
                  <a:pos x="58" y="10"/>
                </a:cxn>
                <a:cxn ang="0">
                  <a:pos x="48" y="10"/>
                </a:cxn>
                <a:cxn ang="0">
                  <a:pos x="38" y="8"/>
                </a:cxn>
                <a:cxn ang="0">
                  <a:pos x="30" y="4"/>
                </a:cxn>
                <a:cxn ang="0">
                  <a:pos x="26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56"/>
                </a:cxn>
                <a:cxn ang="0">
                  <a:pos x="2" y="66"/>
                </a:cxn>
                <a:cxn ang="0">
                  <a:pos x="6" y="74"/>
                </a:cxn>
                <a:cxn ang="0">
                  <a:pos x="12" y="80"/>
                </a:cxn>
                <a:cxn ang="0">
                  <a:pos x="18" y="86"/>
                </a:cxn>
                <a:cxn ang="0">
                  <a:pos x="26" y="92"/>
                </a:cxn>
                <a:cxn ang="0">
                  <a:pos x="34" y="96"/>
                </a:cxn>
                <a:cxn ang="0">
                  <a:pos x="42" y="98"/>
                </a:cxn>
                <a:cxn ang="0">
                  <a:pos x="42" y="98"/>
                </a:cxn>
                <a:cxn ang="0">
                  <a:pos x="58" y="100"/>
                </a:cxn>
                <a:cxn ang="0">
                  <a:pos x="58" y="100"/>
                </a:cxn>
                <a:cxn ang="0">
                  <a:pos x="74" y="98"/>
                </a:cxn>
                <a:cxn ang="0">
                  <a:pos x="74" y="98"/>
                </a:cxn>
                <a:cxn ang="0">
                  <a:pos x="82" y="96"/>
                </a:cxn>
                <a:cxn ang="0">
                  <a:pos x="90" y="92"/>
                </a:cxn>
                <a:cxn ang="0">
                  <a:pos x="98" y="86"/>
                </a:cxn>
                <a:cxn ang="0">
                  <a:pos x="104" y="80"/>
                </a:cxn>
                <a:cxn ang="0">
                  <a:pos x="110" y="74"/>
                </a:cxn>
                <a:cxn ang="0">
                  <a:pos x="114" y="66"/>
                </a:cxn>
                <a:cxn ang="0">
                  <a:pos x="116" y="56"/>
                </a:cxn>
                <a:cxn ang="0">
                  <a:pos x="116" y="48"/>
                </a:cxn>
                <a:cxn ang="0">
                  <a:pos x="116" y="12"/>
                </a:cxn>
                <a:cxn ang="0">
                  <a:pos x="116" y="12"/>
                </a:cxn>
                <a:cxn ang="0">
                  <a:pos x="116" y="0"/>
                </a:cxn>
                <a:cxn ang="0">
                  <a:pos x="92" y="0"/>
                </a:cxn>
                <a:cxn ang="0">
                  <a:pos x="92" y="0"/>
                </a:cxn>
                <a:cxn ang="0">
                  <a:pos x="88" y="4"/>
                </a:cxn>
                <a:cxn ang="0">
                  <a:pos x="80" y="8"/>
                </a:cxn>
                <a:cxn ang="0">
                  <a:pos x="70" y="10"/>
                </a:cxn>
                <a:cxn ang="0">
                  <a:pos x="58" y="10"/>
                </a:cxn>
                <a:cxn ang="0">
                  <a:pos x="58" y="10"/>
                </a:cxn>
              </a:cxnLst>
              <a:rect l="0" t="0" r="r" b="b"/>
              <a:pathLst>
                <a:path w="116" h="100">
                  <a:moveTo>
                    <a:pt x="58" y="10"/>
                  </a:moveTo>
                  <a:lnTo>
                    <a:pt x="58" y="10"/>
                  </a:lnTo>
                  <a:lnTo>
                    <a:pt x="48" y="10"/>
                  </a:lnTo>
                  <a:lnTo>
                    <a:pt x="38" y="8"/>
                  </a:lnTo>
                  <a:lnTo>
                    <a:pt x="30" y="4"/>
                  </a:lnTo>
                  <a:lnTo>
                    <a:pt x="2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56"/>
                  </a:lnTo>
                  <a:lnTo>
                    <a:pt x="2" y="66"/>
                  </a:lnTo>
                  <a:lnTo>
                    <a:pt x="6" y="74"/>
                  </a:lnTo>
                  <a:lnTo>
                    <a:pt x="12" y="80"/>
                  </a:lnTo>
                  <a:lnTo>
                    <a:pt x="18" y="86"/>
                  </a:lnTo>
                  <a:lnTo>
                    <a:pt x="26" y="92"/>
                  </a:lnTo>
                  <a:lnTo>
                    <a:pt x="34" y="96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58" y="100"/>
                  </a:lnTo>
                  <a:lnTo>
                    <a:pt x="58" y="100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82" y="96"/>
                  </a:lnTo>
                  <a:lnTo>
                    <a:pt x="90" y="92"/>
                  </a:lnTo>
                  <a:lnTo>
                    <a:pt x="98" y="86"/>
                  </a:lnTo>
                  <a:lnTo>
                    <a:pt x="104" y="80"/>
                  </a:lnTo>
                  <a:lnTo>
                    <a:pt x="110" y="74"/>
                  </a:lnTo>
                  <a:lnTo>
                    <a:pt x="114" y="66"/>
                  </a:lnTo>
                  <a:lnTo>
                    <a:pt x="116" y="56"/>
                  </a:lnTo>
                  <a:lnTo>
                    <a:pt x="116" y="48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88" y="4"/>
                  </a:lnTo>
                  <a:lnTo>
                    <a:pt x="80" y="8"/>
                  </a:lnTo>
                  <a:lnTo>
                    <a:pt x="70" y="10"/>
                  </a:lnTo>
                  <a:lnTo>
                    <a:pt x="58" y="10"/>
                  </a:lnTo>
                  <a:lnTo>
                    <a:pt x="58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4" name="Freeform 153"/>
            <p:cNvSpPr>
              <a:spLocks noEditPoints="1"/>
            </p:cNvSpPr>
            <p:nvPr/>
          </p:nvSpPr>
          <p:spPr bwMode="auto">
            <a:xfrm>
              <a:off x="17909399" y="-939397"/>
              <a:ext cx="417701" cy="227837"/>
            </a:xfrm>
            <a:custGeom>
              <a:avLst/>
              <a:gdLst/>
              <a:ahLst/>
              <a:cxnLst>
                <a:cxn ang="0">
                  <a:pos x="66" y="0"/>
                </a:cxn>
                <a:cxn ang="0">
                  <a:pos x="66" y="0"/>
                </a:cxn>
                <a:cxn ang="0">
                  <a:pos x="52" y="2"/>
                </a:cxn>
                <a:cxn ang="0">
                  <a:pos x="40" y="6"/>
                </a:cxn>
                <a:cxn ang="0">
                  <a:pos x="30" y="12"/>
                </a:cxn>
                <a:cxn ang="0">
                  <a:pos x="20" y="18"/>
                </a:cxn>
                <a:cxn ang="0">
                  <a:pos x="12" y="28"/>
                </a:cxn>
                <a:cxn ang="0">
                  <a:pos x="6" y="38"/>
                </a:cxn>
                <a:cxn ang="0">
                  <a:pos x="2" y="48"/>
                </a:cxn>
                <a:cxn ang="0">
                  <a:pos x="0" y="60"/>
                </a:cxn>
                <a:cxn ang="0">
                  <a:pos x="8" y="60"/>
                </a:cxn>
                <a:cxn ang="0">
                  <a:pos x="8" y="60"/>
                </a:cxn>
                <a:cxn ang="0">
                  <a:pos x="32" y="60"/>
                </a:cxn>
                <a:cxn ang="0">
                  <a:pos x="32" y="60"/>
                </a:cxn>
                <a:cxn ang="0">
                  <a:pos x="36" y="64"/>
                </a:cxn>
                <a:cxn ang="0">
                  <a:pos x="44" y="68"/>
                </a:cxn>
                <a:cxn ang="0">
                  <a:pos x="54" y="70"/>
                </a:cxn>
                <a:cxn ang="0">
                  <a:pos x="66" y="72"/>
                </a:cxn>
                <a:cxn ang="0">
                  <a:pos x="66" y="72"/>
                </a:cxn>
                <a:cxn ang="0">
                  <a:pos x="78" y="70"/>
                </a:cxn>
                <a:cxn ang="0">
                  <a:pos x="88" y="68"/>
                </a:cxn>
                <a:cxn ang="0">
                  <a:pos x="94" y="64"/>
                </a:cxn>
                <a:cxn ang="0">
                  <a:pos x="100" y="60"/>
                </a:cxn>
                <a:cxn ang="0">
                  <a:pos x="122" y="60"/>
                </a:cxn>
                <a:cxn ang="0">
                  <a:pos x="126" y="60"/>
                </a:cxn>
                <a:cxn ang="0">
                  <a:pos x="132" y="60"/>
                </a:cxn>
                <a:cxn ang="0">
                  <a:pos x="132" y="60"/>
                </a:cxn>
                <a:cxn ang="0">
                  <a:pos x="130" y="48"/>
                </a:cxn>
                <a:cxn ang="0">
                  <a:pos x="124" y="38"/>
                </a:cxn>
                <a:cxn ang="0">
                  <a:pos x="118" y="28"/>
                </a:cxn>
                <a:cxn ang="0">
                  <a:pos x="110" y="18"/>
                </a:cxn>
                <a:cxn ang="0">
                  <a:pos x="102" y="12"/>
                </a:cxn>
                <a:cxn ang="0">
                  <a:pos x="90" y="6"/>
                </a:cxn>
                <a:cxn ang="0">
                  <a:pos x="78" y="2"/>
                </a:cxn>
                <a:cxn ang="0">
                  <a:pos x="66" y="0"/>
                </a:cxn>
                <a:cxn ang="0">
                  <a:pos x="66" y="0"/>
                </a:cxn>
                <a:cxn ang="0">
                  <a:pos x="66" y="52"/>
                </a:cxn>
                <a:cxn ang="0">
                  <a:pos x="66" y="52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4" y="44"/>
                </a:cxn>
                <a:cxn ang="0">
                  <a:pos x="54" y="40"/>
                </a:cxn>
                <a:cxn ang="0">
                  <a:pos x="54" y="40"/>
                </a:cxn>
                <a:cxn ang="0">
                  <a:pos x="54" y="34"/>
                </a:cxn>
                <a:cxn ang="0">
                  <a:pos x="56" y="30"/>
                </a:cxn>
                <a:cxn ang="0">
                  <a:pos x="60" y="28"/>
                </a:cxn>
                <a:cxn ang="0">
                  <a:pos x="66" y="28"/>
                </a:cxn>
                <a:cxn ang="0">
                  <a:pos x="66" y="28"/>
                </a:cxn>
                <a:cxn ang="0">
                  <a:pos x="70" y="28"/>
                </a:cxn>
                <a:cxn ang="0">
                  <a:pos x="74" y="30"/>
                </a:cxn>
                <a:cxn ang="0">
                  <a:pos x="76" y="34"/>
                </a:cxn>
                <a:cxn ang="0">
                  <a:pos x="78" y="40"/>
                </a:cxn>
                <a:cxn ang="0">
                  <a:pos x="78" y="40"/>
                </a:cxn>
                <a:cxn ang="0">
                  <a:pos x="76" y="44"/>
                </a:cxn>
                <a:cxn ang="0">
                  <a:pos x="74" y="48"/>
                </a:cxn>
                <a:cxn ang="0">
                  <a:pos x="70" y="52"/>
                </a:cxn>
                <a:cxn ang="0">
                  <a:pos x="66" y="52"/>
                </a:cxn>
                <a:cxn ang="0">
                  <a:pos x="66" y="52"/>
                </a:cxn>
              </a:cxnLst>
              <a:rect l="0" t="0" r="r" b="b"/>
              <a:pathLst>
                <a:path w="132" h="72">
                  <a:moveTo>
                    <a:pt x="66" y="0"/>
                  </a:moveTo>
                  <a:lnTo>
                    <a:pt x="66" y="0"/>
                  </a:lnTo>
                  <a:lnTo>
                    <a:pt x="52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18"/>
                  </a:lnTo>
                  <a:lnTo>
                    <a:pt x="12" y="28"/>
                  </a:lnTo>
                  <a:lnTo>
                    <a:pt x="6" y="38"/>
                  </a:lnTo>
                  <a:lnTo>
                    <a:pt x="2" y="48"/>
                  </a:lnTo>
                  <a:lnTo>
                    <a:pt x="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44" y="68"/>
                  </a:lnTo>
                  <a:lnTo>
                    <a:pt x="54" y="70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78" y="70"/>
                  </a:lnTo>
                  <a:lnTo>
                    <a:pt x="88" y="68"/>
                  </a:lnTo>
                  <a:lnTo>
                    <a:pt x="94" y="64"/>
                  </a:lnTo>
                  <a:lnTo>
                    <a:pt x="100" y="60"/>
                  </a:lnTo>
                  <a:lnTo>
                    <a:pt x="122" y="60"/>
                  </a:lnTo>
                  <a:lnTo>
                    <a:pt x="126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0" y="48"/>
                  </a:lnTo>
                  <a:lnTo>
                    <a:pt x="124" y="38"/>
                  </a:lnTo>
                  <a:lnTo>
                    <a:pt x="118" y="28"/>
                  </a:lnTo>
                  <a:lnTo>
                    <a:pt x="110" y="18"/>
                  </a:lnTo>
                  <a:lnTo>
                    <a:pt x="102" y="12"/>
                  </a:lnTo>
                  <a:lnTo>
                    <a:pt x="90" y="6"/>
                  </a:lnTo>
                  <a:lnTo>
                    <a:pt x="78" y="2"/>
                  </a:lnTo>
                  <a:lnTo>
                    <a:pt x="66" y="0"/>
                  </a:lnTo>
                  <a:lnTo>
                    <a:pt x="66" y="0"/>
                  </a:lnTo>
                  <a:close/>
                  <a:moveTo>
                    <a:pt x="66" y="52"/>
                  </a:moveTo>
                  <a:lnTo>
                    <a:pt x="66" y="52"/>
                  </a:lnTo>
                  <a:lnTo>
                    <a:pt x="60" y="52"/>
                  </a:lnTo>
                  <a:lnTo>
                    <a:pt x="56" y="48"/>
                  </a:lnTo>
                  <a:lnTo>
                    <a:pt x="54" y="44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4"/>
                  </a:lnTo>
                  <a:lnTo>
                    <a:pt x="56" y="30"/>
                  </a:lnTo>
                  <a:lnTo>
                    <a:pt x="60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70" y="28"/>
                  </a:lnTo>
                  <a:lnTo>
                    <a:pt x="74" y="30"/>
                  </a:lnTo>
                  <a:lnTo>
                    <a:pt x="76" y="34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6" y="44"/>
                  </a:lnTo>
                  <a:lnTo>
                    <a:pt x="74" y="48"/>
                  </a:lnTo>
                  <a:lnTo>
                    <a:pt x="70" y="52"/>
                  </a:lnTo>
                  <a:lnTo>
                    <a:pt x="66" y="52"/>
                  </a:lnTo>
                  <a:lnTo>
                    <a:pt x="66" y="5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组合 356"/>
          <p:cNvGrpSpPr/>
          <p:nvPr/>
        </p:nvGrpSpPr>
        <p:grpSpPr>
          <a:xfrm>
            <a:off x="6712724" y="3951046"/>
            <a:ext cx="939240" cy="571129"/>
            <a:chOff x="5920142" y="2076740"/>
            <a:chExt cx="1006134" cy="712629"/>
          </a:xfrm>
        </p:grpSpPr>
        <p:grpSp>
          <p:nvGrpSpPr>
            <p:cNvPr id="15" name="组合 309"/>
            <p:cNvGrpSpPr/>
            <p:nvPr/>
          </p:nvGrpSpPr>
          <p:grpSpPr>
            <a:xfrm>
              <a:off x="5920142" y="2076740"/>
              <a:ext cx="1006134" cy="712629"/>
              <a:chOff x="7904860" y="2104037"/>
              <a:chExt cx="1006134" cy="712629"/>
            </a:xfrm>
          </p:grpSpPr>
          <p:grpSp>
            <p:nvGrpSpPr>
              <p:cNvPr id="20" name="组合 360"/>
              <p:cNvGrpSpPr/>
              <p:nvPr/>
            </p:nvGrpSpPr>
            <p:grpSpPr>
              <a:xfrm>
                <a:off x="8024885" y="2210930"/>
                <a:ext cx="368492" cy="423087"/>
                <a:chOff x="16732250" y="2501900"/>
                <a:chExt cx="563562" cy="927100"/>
              </a:xfrm>
              <a:solidFill>
                <a:srgbClr val="000000">
                  <a:lumMod val="50000"/>
                  <a:lumOff val="50000"/>
                </a:srgbClr>
              </a:solidFill>
            </p:grpSpPr>
            <p:sp>
              <p:nvSpPr>
                <p:cNvPr id="229" name="Freeform 126"/>
                <p:cNvSpPr>
                  <a:spLocks noEditPoints="1"/>
                </p:cNvSpPr>
                <p:nvPr/>
              </p:nvSpPr>
              <p:spPr bwMode="auto">
                <a:xfrm>
                  <a:off x="16732250" y="2632075"/>
                  <a:ext cx="563562" cy="796925"/>
                </a:xfrm>
                <a:custGeom>
                  <a:avLst/>
                  <a:gdLst/>
                  <a:ahLst/>
                  <a:cxnLst>
                    <a:cxn ang="0">
                      <a:pos x="69" y="0"/>
                    </a:cxn>
                    <a:cxn ang="0">
                      <a:pos x="22" y="22"/>
                    </a:cxn>
                    <a:cxn ang="0">
                      <a:pos x="0" y="69"/>
                    </a:cxn>
                    <a:cxn ang="0">
                      <a:pos x="4" y="450"/>
                    </a:cxn>
                    <a:cxn ang="0">
                      <a:pos x="43" y="498"/>
                    </a:cxn>
                    <a:cxn ang="0">
                      <a:pos x="286" y="502"/>
                    </a:cxn>
                    <a:cxn ang="0">
                      <a:pos x="312" y="498"/>
                    </a:cxn>
                    <a:cxn ang="0">
                      <a:pos x="355" y="450"/>
                    </a:cxn>
                    <a:cxn ang="0">
                      <a:pos x="355" y="69"/>
                    </a:cxn>
                    <a:cxn ang="0">
                      <a:pos x="333" y="22"/>
                    </a:cxn>
                    <a:cxn ang="0">
                      <a:pos x="286" y="0"/>
                    </a:cxn>
                    <a:cxn ang="0">
                      <a:pos x="65" y="455"/>
                    </a:cxn>
                    <a:cxn ang="0">
                      <a:pos x="52" y="416"/>
                    </a:cxn>
                    <a:cxn ang="0">
                      <a:pos x="65" y="403"/>
                    </a:cxn>
                    <a:cxn ang="0">
                      <a:pos x="138" y="416"/>
                    </a:cxn>
                    <a:cxn ang="0">
                      <a:pos x="138" y="446"/>
                    </a:cxn>
                    <a:cxn ang="0">
                      <a:pos x="216" y="446"/>
                    </a:cxn>
                    <a:cxn ang="0">
                      <a:pos x="208" y="459"/>
                    </a:cxn>
                    <a:cxn ang="0">
                      <a:pos x="199" y="468"/>
                    </a:cxn>
                    <a:cxn ang="0">
                      <a:pos x="195" y="468"/>
                    </a:cxn>
                    <a:cxn ang="0">
                      <a:pos x="169" y="468"/>
                    </a:cxn>
                    <a:cxn ang="0">
                      <a:pos x="169" y="468"/>
                    </a:cxn>
                    <a:cxn ang="0">
                      <a:pos x="160" y="463"/>
                    </a:cxn>
                    <a:cxn ang="0">
                      <a:pos x="156" y="459"/>
                    </a:cxn>
                    <a:cxn ang="0">
                      <a:pos x="151" y="450"/>
                    </a:cxn>
                    <a:cxn ang="0">
                      <a:pos x="147" y="446"/>
                    </a:cxn>
                    <a:cxn ang="0">
                      <a:pos x="147" y="433"/>
                    </a:cxn>
                    <a:cxn ang="0">
                      <a:pos x="151" y="416"/>
                    </a:cxn>
                    <a:cxn ang="0">
                      <a:pos x="156" y="407"/>
                    </a:cxn>
                    <a:cxn ang="0">
                      <a:pos x="169" y="398"/>
                    </a:cxn>
                    <a:cxn ang="0">
                      <a:pos x="177" y="394"/>
                    </a:cxn>
                    <a:cxn ang="0">
                      <a:pos x="182" y="394"/>
                    </a:cxn>
                    <a:cxn ang="0">
                      <a:pos x="190" y="394"/>
                    </a:cxn>
                    <a:cxn ang="0">
                      <a:pos x="199" y="398"/>
                    </a:cxn>
                    <a:cxn ang="0">
                      <a:pos x="208" y="407"/>
                    </a:cxn>
                    <a:cxn ang="0">
                      <a:pos x="216" y="416"/>
                    </a:cxn>
                    <a:cxn ang="0">
                      <a:pos x="221" y="424"/>
                    </a:cxn>
                    <a:cxn ang="0">
                      <a:pos x="221" y="433"/>
                    </a:cxn>
                    <a:cxn ang="0">
                      <a:pos x="307" y="442"/>
                    </a:cxn>
                    <a:cxn ang="0">
                      <a:pos x="290" y="455"/>
                    </a:cxn>
                    <a:cxn ang="0">
                      <a:pos x="229" y="446"/>
                    </a:cxn>
                    <a:cxn ang="0">
                      <a:pos x="225" y="416"/>
                    </a:cxn>
                    <a:cxn ang="0">
                      <a:pos x="290" y="403"/>
                    </a:cxn>
                    <a:cxn ang="0">
                      <a:pos x="307" y="442"/>
                    </a:cxn>
                    <a:cxn ang="0">
                      <a:pos x="307" y="329"/>
                    </a:cxn>
                    <a:cxn ang="0">
                      <a:pos x="260" y="359"/>
                    </a:cxn>
                    <a:cxn ang="0">
                      <a:pos x="73" y="355"/>
                    </a:cxn>
                    <a:cxn ang="0">
                      <a:pos x="43" y="312"/>
                    </a:cxn>
                    <a:cxn ang="0">
                      <a:pos x="48" y="69"/>
                    </a:cxn>
                    <a:cxn ang="0">
                      <a:pos x="95" y="39"/>
                    </a:cxn>
                    <a:cxn ang="0">
                      <a:pos x="281" y="43"/>
                    </a:cxn>
                    <a:cxn ang="0">
                      <a:pos x="312" y="87"/>
                    </a:cxn>
                  </a:cxnLst>
                  <a:rect l="0" t="0" r="r" b="b"/>
                  <a:pathLst>
                    <a:path w="355" h="502">
                      <a:moveTo>
                        <a:pt x="286" y="0"/>
                      </a:moveTo>
                      <a:lnTo>
                        <a:pt x="69" y="0"/>
                      </a:lnTo>
                      <a:lnTo>
                        <a:pt x="69" y="0"/>
                      </a:lnTo>
                      <a:lnTo>
                        <a:pt x="56" y="0"/>
                      </a:lnTo>
                      <a:lnTo>
                        <a:pt x="43" y="4"/>
                      </a:lnTo>
                      <a:lnTo>
                        <a:pt x="22" y="22"/>
                      </a:lnTo>
                      <a:lnTo>
                        <a:pt x="4" y="43"/>
                      </a:lnTo>
                      <a:lnTo>
                        <a:pt x="4" y="56"/>
                      </a:lnTo>
                      <a:lnTo>
                        <a:pt x="0" y="69"/>
                      </a:lnTo>
                      <a:lnTo>
                        <a:pt x="0" y="433"/>
                      </a:lnTo>
                      <a:lnTo>
                        <a:pt x="0" y="433"/>
                      </a:lnTo>
                      <a:lnTo>
                        <a:pt x="4" y="450"/>
                      </a:lnTo>
                      <a:lnTo>
                        <a:pt x="4" y="463"/>
                      </a:lnTo>
                      <a:lnTo>
                        <a:pt x="22" y="485"/>
                      </a:lnTo>
                      <a:lnTo>
                        <a:pt x="43" y="498"/>
                      </a:lnTo>
                      <a:lnTo>
                        <a:pt x="56" y="502"/>
                      </a:lnTo>
                      <a:lnTo>
                        <a:pt x="69" y="502"/>
                      </a:lnTo>
                      <a:lnTo>
                        <a:pt x="286" y="502"/>
                      </a:lnTo>
                      <a:lnTo>
                        <a:pt x="286" y="502"/>
                      </a:lnTo>
                      <a:lnTo>
                        <a:pt x="299" y="502"/>
                      </a:lnTo>
                      <a:lnTo>
                        <a:pt x="312" y="498"/>
                      </a:lnTo>
                      <a:lnTo>
                        <a:pt x="333" y="485"/>
                      </a:lnTo>
                      <a:lnTo>
                        <a:pt x="350" y="463"/>
                      </a:lnTo>
                      <a:lnTo>
                        <a:pt x="355" y="450"/>
                      </a:lnTo>
                      <a:lnTo>
                        <a:pt x="355" y="433"/>
                      </a:lnTo>
                      <a:lnTo>
                        <a:pt x="355" y="69"/>
                      </a:lnTo>
                      <a:lnTo>
                        <a:pt x="355" y="69"/>
                      </a:lnTo>
                      <a:lnTo>
                        <a:pt x="355" y="56"/>
                      </a:lnTo>
                      <a:lnTo>
                        <a:pt x="350" y="43"/>
                      </a:lnTo>
                      <a:lnTo>
                        <a:pt x="333" y="22"/>
                      </a:lnTo>
                      <a:lnTo>
                        <a:pt x="312" y="4"/>
                      </a:lnTo>
                      <a:lnTo>
                        <a:pt x="299" y="0"/>
                      </a:lnTo>
                      <a:lnTo>
                        <a:pt x="286" y="0"/>
                      </a:lnTo>
                      <a:lnTo>
                        <a:pt x="286" y="0"/>
                      </a:lnTo>
                      <a:close/>
                      <a:moveTo>
                        <a:pt x="65" y="455"/>
                      </a:moveTo>
                      <a:lnTo>
                        <a:pt x="65" y="455"/>
                      </a:lnTo>
                      <a:lnTo>
                        <a:pt x="56" y="450"/>
                      </a:lnTo>
                      <a:lnTo>
                        <a:pt x="52" y="442"/>
                      </a:lnTo>
                      <a:lnTo>
                        <a:pt x="52" y="416"/>
                      </a:lnTo>
                      <a:lnTo>
                        <a:pt x="52" y="416"/>
                      </a:lnTo>
                      <a:lnTo>
                        <a:pt x="56" y="407"/>
                      </a:lnTo>
                      <a:lnTo>
                        <a:pt x="65" y="403"/>
                      </a:lnTo>
                      <a:lnTo>
                        <a:pt x="147" y="403"/>
                      </a:lnTo>
                      <a:lnTo>
                        <a:pt x="147" y="403"/>
                      </a:lnTo>
                      <a:lnTo>
                        <a:pt x="138" y="416"/>
                      </a:lnTo>
                      <a:lnTo>
                        <a:pt x="134" y="433"/>
                      </a:lnTo>
                      <a:lnTo>
                        <a:pt x="134" y="433"/>
                      </a:lnTo>
                      <a:lnTo>
                        <a:pt x="138" y="446"/>
                      </a:lnTo>
                      <a:lnTo>
                        <a:pt x="138" y="455"/>
                      </a:lnTo>
                      <a:lnTo>
                        <a:pt x="65" y="455"/>
                      </a:lnTo>
                      <a:close/>
                      <a:moveTo>
                        <a:pt x="216" y="446"/>
                      </a:moveTo>
                      <a:lnTo>
                        <a:pt x="216" y="446"/>
                      </a:lnTo>
                      <a:lnTo>
                        <a:pt x="208" y="459"/>
                      </a:lnTo>
                      <a:lnTo>
                        <a:pt x="208" y="459"/>
                      </a:lnTo>
                      <a:lnTo>
                        <a:pt x="203" y="463"/>
                      </a:lnTo>
                      <a:lnTo>
                        <a:pt x="203" y="463"/>
                      </a:lnTo>
                      <a:lnTo>
                        <a:pt x="199" y="468"/>
                      </a:lnTo>
                      <a:lnTo>
                        <a:pt x="195" y="468"/>
                      </a:lnTo>
                      <a:lnTo>
                        <a:pt x="195" y="468"/>
                      </a:lnTo>
                      <a:lnTo>
                        <a:pt x="195" y="468"/>
                      </a:lnTo>
                      <a:lnTo>
                        <a:pt x="195" y="468"/>
                      </a:lnTo>
                      <a:lnTo>
                        <a:pt x="182" y="468"/>
                      </a:lnTo>
                      <a:lnTo>
                        <a:pt x="169" y="468"/>
                      </a:lnTo>
                      <a:lnTo>
                        <a:pt x="169" y="468"/>
                      </a:lnTo>
                      <a:lnTo>
                        <a:pt x="169" y="468"/>
                      </a:lnTo>
                      <a:lnTo>
                        <a:pt x="169" y="468"/>
                      </a:lnTo>
                      <a:lnTo>
                        <a:pt x="164" y="463"/>
                      </a:lnTo>
                      <a:lnTo>
                        <a:pt x="160" y="463"/>
                      </a:lnTo>
                      <a:lnTo>
                        <a:pt x="160" y="463"/>
                      </a:lnTo>
                      <a:lnTo>
                        <a:pt x="156" y="459"/>
                      </a:lnTo>
                      <a:lnTo>
                        <a:pt x="156" y="459"/>
                      </a:lnTo>
                      <a:lnTo>
                        <a:pt x="156" y="459"/>
                      </a:lnTo>
                      <a:lnTo>
                        <a:pt x="156" y="459"/>
                      </a:lnTo>
                      <a:lnTo>
                        <a:pt x="151" y="455"/>
                      </a:lnTo>
                      <a:lnTo>
                        <a:pt x="151" y="450"/>
                      </a:lnTo>
                      <a:lnTo>
                        <a:pt x="151" y="450"/>
                      </a:lnTo>
                      <a:lnTo>
                        <a:pt x="147" y="446"/>
                      </a:lnTo>
                      <a:lnTo>
                        <a:pt x="147" y="446"/>
                      </a:lnTo>
                      <a:lnTo>
                        <a:pt x="147" y="446"/>
                      </a:lnTo>
                      <a:lnTo>
                        <a:pt x="147" y="433"/>
                      </a:lnTo>
                      <a:lnTo>
                        <a:pt x="147" y="433"/>
                      </a:lnTo>
                      <a:lnTo>
                        <a:pt x="147" y="420"/>
                      </a:lnTo>
                      <a:lnTo>
                        <a:pt x="147" y="420"/>
                      </a:lnTo>
                      <a:lnTo>
                        <a:pt x="151" y="416"/>
                      </a:lnTo>
                      <a:lnTo>
                        <a:pt x="151" y="416"/>
                      </a:lnTo>
                      <a:lnTo>
                        <a:pt x="156" y="407"/>
                      </a:lnTo>
                      <a:lnTo>
                        <a:pt x="156" y="407"/>
                      </a:lnTo>
                      <a:lnTo>
                        <a:pt x="169" y="398"/>
                      </a:lnTo>
                      <a:lnTo>
                        <a:pt x="169" y="398"/>
                      </a:lnTo>
                      <a:lnTo>
                        <a:pt x="169" y="398"/>
                      </a:lnTo>
                      <a:lnTo>
                        <a:pt x="173" y="394"/>
                      </a:lnTo>
                      <a:lnTo>
                        <a:pt x="177" y="394"/>
                      </a:lnTo>
                      <a:lnTo>
                        <a:pt x="177" y="394"/>
                      </a:lnTo>
                      <a:lnTo>
                        <a:pt x="182" y="394"/>
                      </a:lnTo>
                      <a:lnTo>
                        <a:pt x="182" y="394"/>
                      </a:lnTo>
                      <a:lnTo>
                        <a:pt x="182" y="394"/>
                      </a:lnTo>
                      <a:lnTo>
                        <a:pt x="182" y="394"/>
                      </a:lnTo>
                      <a:lnTo>
                        <a:pt x="190" y="394"/>
                      </a:lnTo>
                      <a:lnTo>
                        <a:pt x="190" y="394"/>
                      </a:lnTo>
                      <a:lnTo>
                        <a:pt x="195" y="398"/>
                      </a:lnTo>
                      <a:lnTo>
                        <a:pt x="199" y="398"/>
                      </a:lnTo>
                      <a:lnTo>
                        <a:pt x="199" y="398"/>
                      </a:lnTo>
                      <a:lnTo>
                        <a:pt x="199" y="398"/>
                      </a:lnTo>
                      <a:lnTo>
                        <a:pt x="199" y="398"/>
                      </a:lnTo>
                      <a:lnTo>
                        <a:pt x="208" y="407"/>
                      </a:lnTo>
                      <a:lnTo>
                        <a:pt x="216" y="416"/>
                      </a:lnTo>
                      <a:lnTo>
                        <a:pt x="216" y="416"/>
                      </a:lnTo>
                      <a:lnTo>
                        <a:pt x="216" y="416"/>
                      </a:lnTo>
                      <a:lnTo>
                        <a:pt x="216" y="420"/>
                      </a:lnTo>
                      <a:lnTo>
                        <a:pt x="221" y="424"/>
                      </a:lnTo>
                      <a:lnTo>
                        <a:pt x="221" y="424"/>
                      </a:lnTo>
                      <a:lnTo>
                        <a:pt x="221" y="429"/>
                      </a:lnTo>
                      <a:lnTo>
                        <a:pt x="221" y="433"/>
                      </a:lnTo>
                      <a:lnTo>
                        <a:pt x="221" y="433"/>
                      </a:lnTo>
                      <a:lnTo>
                        <a:pt x="216" y="446"/>
                      </a:lnTo>
                      <a:lnTo>
                        <a:pt x="216" y="446"/>
                      </a:lnTo>
                      <a:close/>
                      <a:moveTo>
                        <a:pt x="307" y="442"/>
                      </a:moveTo>
                      <a:lnTo>
                        <a:pt x="307" y="442"/>
                      </a:lnTo>
                      <a:lnTo>
                        <a:pt x="299" y="450"/>
                      </a:lnTo>
                      <a:lnTo>
                        <a:pt x="290" y="455"/>
                      </a:lnTo>
                      <a:lnTo>
                        <a:pt x="225" y="455"/>
                      </a:lnTo>
                      <a:lnTo>
                        <a:pt x="225" y="455"/>
                      </a:lnTo>
                      <a:lnTo>
                        <a:pt x="229" y="446"/>
                      </a:lnTo>
                      <a:lnTo>
                        <a:pt x="229" y="433"/>
                      </a:lnTo>
                      <a:lnTo>
                        <a:pt x="229" y="433"/>
                      </a:lnTo>
                      <a:lnTo>
                        <a:pt x="225" y="416"/>
                      </a:lnTo>
                      <a:lnTo>
                        <a:pt x="216" y="403"/>
                      </a:lnTo>
                      <a:lnTo>
                        <a:pt x="290" y="403"/>
                      </a:lnTo>
                      <a:lnTo>
                        <a:pt x="290" y="403"/>
                      </a:lnTo>
                      <a:lnTo>
                        <a:pt x="299" y="407"/>
                      </a:lnTo>
                      <a:lnTo>
                        <a:pt x="307" y="416"/>
                      </a:lnTo>
                      <a:lnTo>
                        <a:pt x="307" y="442"/>
                      </a:lnTo>
                      <a:close/>
                      <a:moveTo>
                        <a:pt x="312" y="312"/>
                      </a:moveTo>
                      <a:lnTo>
                        <a:pt x="312" y="312"/>
                      </a:lnTo>
                      <a:lnTo>
                        <a:pt x="307" y="329"/>
                      </a:lnTo>
                      <a:lnTo>
                        <a:pt x="299" y="346"/>
                      </a:lnTo>
                      <a:lnTo>
                        <a:pt x="281" y="355"/>
                      </a:lnTo>
                      <a:lnTo>
                        <a:pt x="260" y="359"/>
                      </a:lnTo>
                      <a:lnTo>
                        <a:pt x="95" y="359"/>
                      </a:lnTo>
                      <a:lnTo>
                        <a:pt x="95" y="359"/>
                      </a:lnTo>
                      <a:lnTo>
                        <a:pt x="73" y="355"/>
                      </a:lnTo>
                      <a:lnTo>
                        <a:pt x="56" y="346"/>
                      </a:lnTo>
                      <a:lnTo>
                        <a:pt x="48" y="329"/>
                      </a:lnTo>
                      <a:lnTo>
                        <a:pt x="43" y="312"/>
                      </a:lnTo>
                      <a:lnTo>
                        <a:pt x="43" y="87"/>
                      </a:lnTo>
                      <a:lnTo>
                        <a:pt x="43" y="87"/>
                      </a:lnTo>
                      <a:lnTo>
                        <a:pt x="48" y="69"/>
                      </a:lnTo>
                      <a:lnTo>
                        <a:pt x="56" y="52"/>
                      </a:lnTo>
                      <a:lnTo>
                        <a:pt x="73" y="43"/>
                      </a:lnTo>
                      <a:lnTo>
                        <a:pt x="95" y="39"/>
                      </a:lnTo>
                      <a:lnTo>
                        <a:pt x="260" y="39"/>
                      </a:lnTo>
                      <a:lnTo>
                        <a:pt x="260" y="39"/>
                      </a:lnTo>
                      <a:lnTo>
                        <a:pt x="281" y="43"/>
                      </a:lnTo>
                      <a:lnTo>
                        <a:pt x="299" y="52"/>
                      </a:lnTo>
                      <a:lnTo>
                        <a:pt x="307" y="69"/>
                      </a:lnTo>
                      <a:lnTo>
                        <a:pt x="312" y="87"/>
                      </a:lnTo>
                      <a:lnTo>
                        <a:pt x="312" y="31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30" name="Freeform 127"/>
                <p:cNvSpPr>
                  <a:spLocks/>
                </p:cNvSpPr>
                <p:nvPr/>
              </p:nvSpPr>
              <p:spPr bwMode="auto">
                <a:xfrm>
                  <a:off x="17124363" y="2501900"/>
                  <a:ext cx="82550" cy="115888"/>
                </a:xfrm>
                <a:custGeom>
                  <a:avLst/>
                  <a:gdLst/>
                  <a:ahLst/>
                  <a:cxnLst>
                    <a:cxn ang="0">
                      <a:pos x="52" y="56"/>
                    </a:cxn>
                    <a:cxn ang="0">
                      <a:pos x="52" y="56"/>
                    </a:cxn>
                    <a:cxn ang="0">
                      <a:pos x="52" y="60"/>
                    </a:cxn>
                    <a:cxn ang="0">
                      <a:pos x="47" y="69"/>
                    </a:cxn>
                    <a:cxn ang="0">
                      <a:pos x="39" y="69"/>
                    </a:cxn>
                    <a:cxn ang="0">
                      <a:pos x="34" y="73"/>
                    </a:cxn>
                    <a:cxn ang="0">
                      <a:pos x="17" y="73"/>
                    </a:cxn>
                    <a:cxn ang="0">
                      <a:pos x="17" y="73"/>
                    </a:cxn>
                    <a:cxn ang="0">
                      <a:pos x="8" y="69"/>
                    </a:cxn>
                    <a:cxn ang="0">
                      <a:pos x="4" y="69"/>
                    </a:cxn>
                    <a:cxn ang="0">
                      <a:pos x="0" y="60"/>
                    </a:cxn>
                    <a:cxn ang="0">
                      <a:pos x="0" y="56"/>
                    </a:cxn>
                    <a:cxn ang="0">
                      <a:pos x="0" y="17"/>
                    </a:cxn>
                    <a:cxn ang="0">
                      <a:pos x="0" y="17"/>
                    </a:cxn>
                    <a:cxn ang="0">
                      <a:pos x="0" y="8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7" y="0"/>
                    </a:cxn>
                    <a:cxn ang="0">
                      <a:pos x="34" y="0"/>
                    </a:cxn>
                    <a:cxn ang="0">
                      <a:pos x="34" y="0"/>
                    </a:cxn>
                    <a:cxn ang="0">
                      <a:pos x="39" y="0"/>
                    </a:cxn>
                    <a:cxn ang="0">
                      <a:pos x="47" y="4"/>
                    </a:cxn>
                    <a:cxn ang="0">
                      <a:pos x="52" y="8"/>
                    </a:cxn>
                    <a:cxn ang="0">
                      <a:pos x="52" y="17"/>
                    </a:cxn>
                    <a:cxn ang="0">
                      <a:pos x="52" y="56"/>
                    </a:cxn>
                  </a:cxnLst>
                  <a:rect l="0" t="0" r="r" b="b"/>
                  <a:pathLst>
                    <a:path w="52" h="73">
                      <a:moveTo>
                        <a:pt x="52" y="56"/>
                      </a:moveTo>
                      <a:lnTo>
                        <a:pt x="52" y="56"/>
                      </a:lnTo>
                      <a:lnTo>
                        <a:pt x="52" y="60"/>
                      </a:lnTo>
                      <a:lnTo>
                        <a:pt x="47" y="69"/>
                      </a:lnTo>
                      <a:lnTo>
                        <a:pt x="39" y="69"/>
                      </a:lnTo>
                      <a:lnTo>
                        <a:pt x="34" y="73"/>
                      </a:lnTo>
                      <a:lnTo>
                        <a:pt x="17" y="73"/>
                      </a:lnTo>
                      <a:lnTo>
                        <a:pt x="17" y="73"/>
                      </a:lnTo>
                      <a:lnTo>
                        <a:pt x="8" y="69"/>
                      </a:lnTo>
                      <a:lnTo>
                        <a:pt x="4" y="69"/>
                      </a:lnTo>
                      <a:lnTo>
                        <a:pt x="0" y="60"/>
                      </a:lnTo>
                      <a:lnTo>
                        <a:pt x="0" y="56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0" y="8"/>
                      </a:lnTo>
                      <a:lnTo>
                        <a:pt x="4" y="4"/>
                      </a:lnTo>
                      <a:lnTo>
                        <a:pt x="8" y="0"/>
                      </a:lnTo>
                      <a:lnTo>
                        <a:pt x="17" y="0"/>
                      </a:lnTo>
                      <a:lnTo>
                        <a:pt x="34" y="0"/>
                      </a:lnTo>
                      <a:lnTo>
                        <a:pt x="34" y="0"/>
                      </a:lnTo>
                      <a:lnTo>
                        <a:pt x="39" y="0"/>
                      </a:lnTo>
                      <a:lnTo>
                        <a:pt x="47" y="4"/>
                      </a:lnTo>
                      <a:lnTo>
                        <a:pt x="52" y="8"/>
                      </a:lnTo>
                      <a:lnTo>
                        <a:pt x="52" y="17"/>
                      </a:lnTo>
                      <a:lnTo>
                        <a:pt x="52" y="56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27" name="组合 2561"/>
              <p:cNvGrpSpPr/>
              <p:nvPr/>
            </p:nvGrpSpPr>
            <p:grpSpPr>
              <a:xfrm>
                <a:off x="8174887" y="2104037"/>
                <a:ext cx="129422" cy="159847"/>
                <a:chOff x="7642614" y="2731824"/>
                <a:chExt cx="129422" cy="159847"/>
              </a:xfrm>
            </p:grpSpPr>
            <p:sp>
              <p:nvSpPr>
                <p:cNvPr id="226" name="Freeform 12"/>
                <p:cNvSpPr>
                  <a:spLocks/>
                </p:cNvSpPr>
                <p:nvPr/>
              </p:nvSpPr>
              <p:spPr bwMode="auto">
                <a:xfrm>
                  <a:off x="7642614" y="2731824"/>
                  <a:ext cx="102386" cy="129267"/>
                </a:xfrm>
                <a:custGeom>
                  <a:avLst/>
                  <a:gdLst/>
                  <a:ahLst/>
                  <a:cxnLst>
                    <a:cxn ang="0">
                      <a:pos x="169" y="0"/>
                    </a:cxn>
                    <a:cxn ang="0">
                      <a:pos x="169" y="0"/>
                    </a:cxn>
                    <a:cxn ang="0">
                      <a:pos x="134" y="5"/>
                    </a:cxn>
                    <a:cxn ang="0">
                      <a:pos x="104" y="13"/>
                    </a:cxn>
                    <a:cxn ang="0">
                      <a:pos x="78" y="26"/>
                    </a:cxn>
                    <a:cxn ang="0">
                      <a:pos x="56" y="48"/>
                    </a:cxn>
                    <a:cxn ang="0">
                      <a:pos x="56" y="48"/>
                    </a:cxn>
                    <a:cxn ang="0">
                      <a:pos x="35" y="74"/>
                    </a:cxn>
                    <a:cxn ang="0">
                      <a:pos x="18" y="104"/>
                    </a:cxn>
                    <a:cxn ang="0">
                      <a:pos x="5" y="139"/>
                    </a:cxn>
                    <a:cxn ang="0">
                      <a:pos x="0" y="178"/>
                    </a:cxn>
                    <a:cxn ang="0">
                      <a:pos x="0" y="178"/>
                    </a:cxn>
                    <a:cxn ang="0">
                      <a:pos x="5" y="182"/>
                    </a:cxn>
                    <a:cxn ang="0">
                      <a:pos x="13" y="186"/>
                    </a:cxn>
                    <a:cxn ang="0">
                      <a:pos x="13" y="186"/>
                    </a:cxn>
                    <a:cxn ang="0">
                      <a:pos x="18" y="182"/>
                    </a:cxn>
                    <a:cxn ang="0">
                      <a:pos x="22" y="178"/>
                    </a:cxn>
                    <a:cxn ang="0">
                      <a:pos x="22" y="178"/>
                    </a:cxn>
                    <a:cxn ang="0">
                      <a:pos x="22" y="143"/>
                    </a:cxn>
                    <a:cxn ang="0">
                      <a:pos x="35" y="113"/>
                    </a:cxn>
                    <a:cxn ang="0">
                      <a:pos x="48" y="87"/>
                    </a:cxn>
                    <a:cxn ang="0">
                      <a:pos x="69" y="61"/>
                    </a:cxn>
                    <a:cxn ang="0">
                      <a:pos x="69" y="61"/>
                    </a:cxn>
                    <a:cxn ang="0">
                      <a:pos x="87" y="44"/>
                    </a:cxn>
                    <a:cxn ang="0">
                      <a:pos x="113" y="31"/>
                    </a:cxn>
                    <a:cxn ang="0">
                      <a:pos x="139" y="22"/>
                    </a:cxn>
                    <a:cxn ang="0">
                      <a:pos x="169" y="18"/>
                    </a:cxn>
                    <a:cxn ang="0">
                      <a:pos x="169" y="18"/>
                    </a:cxn>
                    <a:cxn ang="0">
                      <a:pos x="173" y="18"/>
                    </a:cxn>
                    <a:cxn ang="0">
                      <a:pos x="178" y="9"/>
                    </a:cxn>
                    <a:cxn ang="0">
                      <a:pos x="178" y="9"/>
                    </a:cxn>
                    <a:cxn ang="0">
                      <a:pos x="173" y="5"/>
                    </a:cxn>
                    <a:cxn ang="0">
                      <a:pos x="169" y="0"/>
                    </a:cxn>
                    <a:cxn ang="0">
                      <a:pos x="169" y="0"/>
                    </a:cxn>
                  </a:cxnLst>
                  <a:rect l="0" t="0" r="r" b="b"/>
                  <a:pathLst>
                    <a:path w="178" h="186">
                      <a:moveTo>
                        <a:pt x="169" y="0"/>
                      </a:moveTo>
                      <a:lnTo>
                        <a:pt x="169" y="0"/>
                      </a:lnTo>
                      <a:lnTo>
                        <a:pt x="134" y="5"/>
                      </a:lnTo>
                      <a:lnTo>
                        <a:pt x="104" y="13"/>
                      </a:lnTo>
                      <a:lnTo>
                        <a:pt x="78" y="26"/>
                      </a:lnTo>
                      <a:lnTo>
                        <a:pt x="56" y="48"/>
                      </a:lnTo>
                      <a:lnTo>
                        <a:pt x="56" y="48"/>
                      </a:lnTo>
                      <a:lnTo>
                        <a:pt x="35" y="74"/>
                      </a:lnTo>
                      <a:lnTo>
                        <a:pt x="18" y="104"/>
                      </a:lnTo>
                      <a:lnTo>
                        <a:pt x="5" y="139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5" y="182"/>
                      </a:lnTo>
                      <a:lnTo>
                        <a:pt x="13" y="186"/>
                      </a:lnTo>
                      <a:lnTo>
                        <a:pt x="13" y="186"/>
                      </a:lnTo>
                      <a:lnTo>
                        <a:pt x="18" y="182"/>
                      </a:lnTo>
                      <a:lnTo>
                        <a:pt x="22" y="178"/>
                      </a:lnTo>
                      <a:lnTo>
                        <a:pt x="22" y="178"/>
                      </a:lnTo>
                      <a:lnTo>
                        <a:pt x="22" y="143"/>
                      </a:lnTo>
                      <a:lnTo>
                        <a:pt x="35" y="113"/>
                      </a:lnTo>
                      <a:lnTo>
                        <a:pt x="48" y="87"/>
                      </a:lnTo>
                      <a:lnTo>
                        <a:pt x="69" y="61"/>
                      </a:lnTo>
                      <a:lnTo>
                        <a:pt x="69" y="61"/>
                      </a:lnTo>
                      <a:lnTo>
                        <a:pt x="87" y="44"/>
                      </a:lnTo>
                      <a:lnTo>
                        <a:pt x="113" y="31"/>
                      </a:lnTo>
                      <a:lnTo>
                        <a:pt x="139" y="22"/>
                      </a:lnTo>
                      <a:lnTo>
                        <a:pt x="169" y="18"/>
                      </a:lnTo>
                      <a:lnTo>
                        <a:pt x="169" y="18"/>
                      </a:lnTo>
                      <a:lnTo>
                        <a:pt x="173" y="18"/>
                      </a:lnTo>
                      <a:lnTo>
                        <a:pt x="178" y="9"/>
                      </a:lnTo>
                      <a:lnTo>
                        <a:pt x="178" y="9"/>
                      </a:lnTo>
                      <a:lnTo>
                        <a:pt x="173" y="5"/>
                      </a:lnTo>
                      <a:lnTo>
                        <a:pt x="169" y="0"/>
                      </a:lnTo>
                      <a:lnTo>
                        <a:pt x="169" y="0"/>
                      </a:lnTo>
                      <a:close/>
                    </a:path>
                  </a:pathLst>
                </a:custGeom>
                <a:solidFill>
                  <a:srgbClr val="000000">
                    <a:lumMod val="50000"/>
                    <a:lumOff val="50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7" name="Freeform 13"/>
                <p:cNvSpPr>
                  <a:spLocks/>
                </p:cNvSpPr>
                <p:nvPr/>
              </p:nvSpPr>
              <p:spPr bwMode="auto">
                <a:xfrm>
                  <a:off x="7670224" y="2765183"/>
                  <a:ext cx="86856" cy="111198"/>
                </a:xfrm>
                <a:custGeom>
                  <a:avLst/>
                  <a:gdLst/>
                  <a:ahLst/>
                  <a:cxnLst>
                    <a:cxn ang="0">
                      <a:pos x="143" y="0"/>
                    </a:cxn>
                    <a:cxn ang="0">
                      <a:pos x="143" y="0"/>
                    </a:cxn>
                    <a:cxn ang="0">
                      <a:pos x="117" y="0"/>
                    </a:cxn>
                    <a:cxn ang="0">
                      <a:pos x="91" y="9"/>
                    </a:cxn>
                    <a:cxn ang="0">
                      <a:pos x="65" y="22"/>
                    </a:cxn>
                    <a:cxn ang="0">
                      <a:pos x="43" y="39"/>
                    </a:cxn>
                    <a:cxn ang="0">
                      <a:pos x="43" y="39"/>
                    </a:cxn>
                    <a:cxn ang="0">
                      <a:pos x="26" y="65"/>
                    </a:cxn>
                    <a:cxn ang="0">
                      <a:pos x="13" y="91"/>
                    </a:cxn>
                    <a:cxn ang="0">
                      <a:pos x="4" y="121"/>
                    </a:cxn>
                    <a:cxn ang="0">
                      <a:pos x="0" y="151"/>
                    </a:cxn>
                    <a:cxn ang="0">
                      <a:pos x="0" y="151"/>
                    </a:cxn>
                    <a:cxn ang="0">
                      <a:pos x="4" y="160"/>
                    </a:cxn>
                    <a:cxn ang="0">
                      <a:pos x="8" y="160"/>
                    </a:cxn>
                    <a:cxn ang="0">
                      <a:pos x="8" y="160"/>
                    </a:cxn>
                    <a:cxn ang="0">
                      <a:pos x="17" y="160"/>
                    </a:cxn>
                    <a:cxn ang="0">
                      <a:pos x="17" y="151"/>
                    </a:cxn>
                    <a:cxn ang="0">
                      <a:pos x="17" y="151"/>
                    </a:cxn>
                    <a:cxn ang="0">
                      <a:pos x="21" y="121"/>
                    </a:cxn>
                    <a:cxn ang="0">
                      <a:pos x="30" y="95"/>
                    </a:cxn>
                    <a:cxn ang="0">
                      <a:pos x="43" y="74"/>
                    </a:cxn>
                    <a:cxn ang="0">
                      <a:pos x="56" y="52"/>
                    </a:cxn>
                    <a:cxn ang="0">
                      <a:pos x="56" y="52"/>
                    </a:cxn>
                    <a:cxn ang="0">
                      <a:pos x="78" y="39"/>
                    </a:cxn>
                    <a:cxn ang="0">
                      <a:pos x="95" y="26"/>
                    </a:cxn>
                    <a:cxn ang="0">
                      <a:pos x="117" y="22"/>
                    </a:cxn>
                    <a:cxn ang="0">
                      <a:pos x="143" y="17"/>
                    </a:cxn>
                    <a:cxn ang="0">
                      <a:pos x="143" y="17"/>
                    </a:cxn>
                    <a:cxn ang="0">
                      <a:pos x="151" y="13"/>
                    </a:cxn>
                    <a:cxn ang="0">
                      <a:pos x="151" y="9"/>
                    </a:cxn>
                    <a:cxn ang="0">
                      <a:pos x="151" y="9"/>
                    </a:cxn>
                    <a:cxn ang="0">
                      <a:pos x="151" y="0"/>
                    </a:cxn>
                    <a:cxn ang="0">
                      <a:pos x="143" y="0"/>
                    </a:cxn>
                    <a:cxn ang="0">
                      <a:pos x="143" y="0"/>
                    </a:cxn>
                  </a:cxnLst>
                  <a:rect l="0" t="0" r="r" b="b"/>
                  <a:pathLst>
                    <a:path w="151" h="160">
                      <a:moveTo>
                        <a:pt x="143" y="0"/>
                      </a:moveTo>
                      <a:lnTo>
                        <a:pt x="143" y="0"/>
                      </a:lnTo>
                      <a:lnTo>
                        <a:pt x="117" y="0"/>
                      </a:lnTo>
                      <a:lnTo>
                        <a:pt x="91" y="9"/>
                      </a:lnTo>
                      <a:lnTo>
                        <a:pt x="65" y="22"/>
                      </a:lnTo>
                      <a:lnTo>
                        <a:pt x="43" y="39"/>
                      </a:lnTo>
                      <a:lnTo>
                        <a:pt x="43" y="39"/>
                      </a:lnTo>
                      <a:lnTo>
                        <a:pt x="26" y="65"/>
                      </a:lnTo>
                      <a:lnTo>
                        <a:pt x="13" y="91"/>
                      </a:lnTo>
                      <a:lnTo>
                        <a:pt x="4" y="121"/>
                      </a:lnTo>
                      <a:lnTo>
                        <a:pt x="0" y="151"/>
                      </a:lnTo>
                      <a:lnTo>
                        <a:pt x="0" y="151"/>
                      </a:lnTo>
                      <a:lnTo>
                        <a:pt x="4" y="160"/>
                      </a:lnTo>
                      <a:lnTo>
                        <a:pt x="8" y="160"/>
                      </a:lnTo>
                      <a:lnTo>
                        <a:pt x="8" y="160"/>
                      </a:lnTo>
                      <a:lnTo>
                        <a:pt x="17" y="160"/>
                      </a:lnTo>
                      <a:lnTo>
                        <a:pt x="17" y="151"/>
                      </a:lnTo>
                      <a:lnTo>
                        <a:pt x="17" y="151"/>
                      </a:lnTo>
                      <a:lnTo>
                        <a:pt x="21" y="121"/>
                      </a:lnTo>
                      <a:lnTo>
                        <a:pt x="30" y="95"/>
                      </a:lnTo>
                      <a:lnTo>
                        <a:pt x="43" y="74"/>
                      </a:lnTo>
                      <a:lnTo>
                        <a:pt x="56" y="52"/>
                      </a:lnTo>
                      <a:lnTo>
                        <a:pt x="56" y="52"/>
                      </a:lnTo>
                      <a:lnTo>
                        <a:pt x="78" y="39"/>
                      </a:lnTo>
                      <a:lnTo>
                        <a:pt x="95" y="26"/>
                      </a:lnTo>
                      <a:lnTo>
                        <a:pt x="117" y="22"/>
                      </a:lnTo>
                      <a:lnTo>
                        <a:pt x="143" y="17"/>
                      </a:lnTo>
                      <a:lnTo>
                        <a:pt x="143" y="17"/>
                      </a:lnTo>
                      <a:lnTo>
                        <a:pt x="151" y="13"/>
                      </a:lnTo>
                      <a:lnTo>
                        <a:pt x="151" y="9"/>
                      </a:lnTo>
                      <a:lnTo>
                        <a:pt x="151" y="9"/>
                      </a:lnTo>
                      <a:lnTo>
                        <a:pt x="151" y="0"/>
                      </a:lnTo>
                      <a:lnTo>
                        <a:pt x="143" y="0"/>
                      </a:lnTo>
                      <a:lnTo>
                        <a:pt x="143" y="0"/>
                      </a:lnTo>
                      <a:close/>
                    </a:path>
                  </a:pathLst>
                </a:custGeom>
                <a:solidFill>
                  <a:srgbClr val="000000">
                    <a:lumMod val="50000"/>
                    <a:lumOff val="50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28" name="Freeform 14"/>
                <p:cNvSpPr>
                  <a:spLocks/>
                </p:cNvSpPr>
                <p:nvPr/>
              </p:nvSpPr>
              <p:spPr bwMode="auto">
                <a:xfrm>
                  <a:off x="7697259" y="2795068"/>
                  <a:ext cx="74777" cy="96603"/>
                </a:xfrm>
                <a:custGeom>
                  <a:avLst/>
                  <a:gdLst/>
                  <a:ahLst/>
                  <a:cxnLst>
                    <a:cxn ang="0">
                      <a:pos x="117" y="0"/>
                    </a:cxn>
                    <a:cxn ang="0">
                      <a:pos x="117" y="0"/>
                    </a:cxn>
                    <a:cxn ang="0">
                      <a:pos x="96" y="5"/>
                    </a:cxn>
                    <a:cxn ang="0">
                      <a:pos x="74" y="13"/>
                    </a:cxn>
                    <a:cxn ang="0">
                      <a:pos x="52" y="22"/>
                    </a:cxn>
                    <a:cxn ang="0">
                      <a:pos x="35" y="39"/>
                    </a:cxn>
                    <a:cxn ang="0">
                      <a:pos x="35" y="39"/>
                    </a:cxn>
                    <a:cxn ang="0">
                      <a:pos x="22" y="56"/>
                    </a:cxn>
                    <a:cxn ang="0">
                      <a:pos x="9" y="78"/>
                    </a:cxn>
                    <a:cxn ang="0">
                      <a:pos x="0" y="104"/>
                    </a:cxn>
                    <a:cxn ang="0">
                      <a:pos x="0" y="130"/>
                    </a:cxn>
                    <a:cxn ang="0">
                      <a:pos x="0" y="130"/>
                    </a:cxn>
                    <a:cxn ang="0">
                      <a:pos x="0" y="139"/>
                    </a:cxn>
                    <a:cxn ang="0">
                      <a:pos x="9" y="139"/>
                    </a:cxn>
                    <a:cxn ang="0">
                      <a:pos x="9" y="139"/>
                    </a:cxn>
                    <a:cxn ang="0">
                      <a:pos x="13" y="139"/>
                    </a:cxn>
                    <a:cxn ang="0">
                      <a:pos x="18" y="130"/>
                    </a:cxn>
                    <a:cxn ang="0">
                      <a:pos x="18" y="130"/>
                    </a:cxn>
                    <a:cxn ang="0">
                      <a:pos x="18" y="108"/>
                    </a:cxn>
                    <a:cxn ang="0">
                      <a:pos x="26" y="87"/>
                    </a:cxn>
                    <a:cxn ang="0">
                      <a:pos x="35" y="65"/>
                    </a:cxn>
                    <a:cxn ang="0">
                      <a:pos x="48" y="52"/>
                    </a:cxn>
                    <a:cxn ang="0">
                      <a:pos x="48" y="52"/>
                    </a:cxn>
                    <a:cxn ang="0">
                      <a:pos x="65" y="39"/>
                    </a:cxn>
                    <a:cxn ang="0">
                      <a:pos x="83" y="31"/>
                    </a:cxn>
                    <a:cxn ang="0">
                      <a:pos x="100" y="22"/>
                    </a:cxn>
                    <a:cxn ang="0">
                      <a:pos x="117" y="22"/>
                    </a:cxn>
                    <a:cxn ang="0">
                      <a:pos x="117" y="22"/>
                    </a:cxn>
                    <a:cxn ang="0">
                      <a:pos x="126" y="18"/>
                    </a:cxn>
                    <a:cxn ang="0">
                      <a:pos x="130" y="13"/>
                    </a:cxn>
                    <a:cxn ang="0">
                      <a:pos x="130" y="13"/>
                    </a:cxn>
                    <a:cxn ang="0">
                      <a:pos x="126" y="5"/>
                    </a:cxn>
                    <a:cxn ang="0">
                      <a:pos x="117" y="0"/>
                    </a:cxn>
                    <a:cxn ang="0">
                      <a:pos x="117" y="0"/>
                    </a:cxn>
                  </a:cxnLst>
                  <a:rect l="0" t="0" r="r" b="b"/>
                  <a:pathLst>
                    <a:path w="130" h="139">
                      <a:moveTo>
                        <a:pt x="117" y="0"/>
                      </a:moveTo>
                      <a:lnTo>
                        <a:pt x="117" y="0"/>
                      </a:lnTo>
                      <a:lnTo>
                        <a:pt x="96" y="5"/>
                      </a:lnTo>
                      <a:lnTo>
                        <a:pt x="74" y="13"/>
                      </a:lnTo>
                      <a:lnTo>
                        <a:pt x="52" y="22"/>
                      </a:lnTo>
                      <a:lnTo>
                        <a:pt x="35" y="39"/>
                      </a:lnTo>
                      <a:lnTo>
                        <a:pt x="35" y="39"/>
                      </a:lnTo>
                      <a:lnTo>
                        <a:pt x="22" y="56"/>
                      </a:lnTo>
                      <a:lnTo>
                        <a:pt x="9" y="78"/>
                      </a:lnTo>
                      <a:lnTo>
                        <a:pt x="0" y="104"/>
                      </a:lnTo>
                      <a:lnTo>
                        <a:pt x="0" y="130"/>
                      </a:lnTo>
                      <a:lnTo>
                        <a:pt x="0" y="130"/>
                      </a:lnTo>
                      <a:lnTo>
                        <a:pt x="0" y="139"/>
                      </a:lnTo>
                      <a:lnTo>
                        <a:pt x="9" y="139"/>
                      </a:lnTo>
                      <a:lnTo>
                        <a:pt x="9" y="139"/>
                      </a:lnTo>
                      <a:lnTo>
                        <a:pt x="13" y="139"/>
                      </a:lnTo>
                      <a:lnTo>
                        <a:pt x="18" y="130"/>
                      </a:lnTo>
                      <a:lnTo>
                        <a:pt x="18" y="130"/>
                      </a:lnTo>
                      <a:lnTo>
                        <a:pt x="18" y="108"/>
                      </a:lnTo>
                      <a:lnTo>
                        <a:pt x="26" y="87"/>
                      </a:lnTo>
                      <a:lnTo>
                        <a:pt x="35" y="65"/>
                      </a:lnTo>
                      <a:lnTo>
                        <a:pt x="48" y="52"/>
                      </a:lnTo>
                      <a:lnTo>
                        <a:pt x="48" y="52"/>
                      </a:lnTo>
                      <a:lnTo>
                        <a:pt x="65" y="39"/>
                      </a:lnTo>
                      <a:lnTo>
                        <a:pt x="83" y="31"/>
                      </a:lnTo>
                      <a:lnTo>
                        <a:pt x="100" y="22"/>
                      </a:lnTo>
                      <a:lnTo>
                        <a:pt x="117" y="22"/>
                      </a:lnTo>
                      <a:lnTo>
                        <a:pt x="117" y="22"/>
                      </a:lnTo>
                      <a:lnTo>
                        <a:pt x="126" y="18"/>
                      </a:lnTo>
                      <a:lnTo>
                        <a:pt x="130" y="13"/>
                      </a:lnTo>
                      <a:lnTo>
                        <a:pt x="130" y="13"/>
                      </a:lnTo>
                      <a:lnTo>
                        <a:pt x="126" y="5"/>
                      </a:lnTo>
                      <a:lnTo>
                        <a:pt x="117" y="0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solidFill>
                  <a:srgbClr val="000000">
                    <a:lumMod val="50000"/>
                    <a:lumOff val="50000"/>
                  </a:srgb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pic>
            <p:nvPicPr>
              <p:cNvPr id="224" name="图片 193" descr="警察（卡通）.png"/>
              <p:cNvPicPr>
                <a:picLocks noChangeAspect="1"/>
              </p:cNvPicPr>
              <p:nvPr/>
            </p:nvPicPr>
            <p:blipFill>
              <a:blip r:embed="rId8" cstate="screen"/>
              <a:srcRect/>
              <a:stretch>
                <a:fillRect/>
              </a:stretch>
            </p:blipFill>
            <p:spPr bwMode="auto">
              <a:xfrm>
                <a:off x="8382357" y="2201591"/>
                <a:ext cx="528637" cy="38338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25" name="矩形 224"/>
              <p:cNvSpPr/>
              <p:nvPr/>
            </p:nvSpPr>
            <p:spPr>
              <a:xfrm>
                <a:off x="7904860" y="2605450"/>
                <a:ext cx="197888" cy="2112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5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221" name="图片 220" descr="u=3578089508,3254339624&amp;fm=23&amp;gp=0.jpg"/>
            <p:cNvPicPr>
              <a:picLocks/>
            </p:cNvPicPr>
            <p:nvPr/>
          </p:nvPicPr>
          <p:blipFill>
            <a:blip r:embed="rId9" cstate="screen"/>
            <a:stretch>
              <a:fillRect/>
            </a:stretch>
          </p:blipFill>
          <p:spPr>
            <a:xfrm>
              <a:off x="6081458" y="2276157"/>
              <a:ext cx="280800" cy="234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51" name="Freeform 72"/>
          <p:cNvSpPr>
            <a:spLocks/>
          </p:cNvSpPr>
          <p:nvPr/>
        </p:nvSpPr>
        <p:spPr bwMode="auto">
          <a:xfrm rot="9805235">
            <a:off x="6043448" y="2749510"/>
            <a:ext cx="392264" cy="588228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B2B2B2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grpSp>
        <p:nvGrpSpPr>
          <p:cNvPr id="28" name="组合 439"/>
          <p:cNvGrpSpPr/>
          <p:nvPr/>
        </p:nvGrpSpPr>
        <p:grpSpPr>
          <a:xfrm>
            <a:off x="6667686" y="1168993"/>
            <a:ext cx="756471" cy="451936"/>
            <a:chOff x="252483" y="2133599"/>
            <a:chExt cx="547618" cy="325987"/>
          </a:xfrm>
        </p:grpSpPr>
        <p:pic>
          <p:nvPicPr>
            <p:cNvPr id="178" name="图片 177" descr="u=3578089508,3254339624&amp;fm=23&amp;gp=0.jpg"/>
            <p:cNvPicPr>
              <a:picLocks/>
            </p:cNvPicPr>
            <p:nvPr/>
          </p:nvPicPr>
          <p:blipFill>
            <a:blip r:embed="rId10" cstate="screen"/>
            <a:stretch>
              <a:fillRect/>
            </a:stretch>
          </p:blipFill>
          <p:spPr>
            <a:xfrm>
              <a:off x="461787" y="2152082"/>
              <a:ext cx="108000" cy="108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grpSp>
          <p:nvGrpSpPr>
            <p:cNvPr id="30" name="组合 397"/>
            <p:cNvGrpSpPr/>
            <p:nvPr/>
          </p:nvGrpSpPr>
          <p:grpSpPr>
            <a:xfrm>
              <a:off x="252483" y="2133599"/>
              <a:ext cx="547618" cy="325987"/>
              <a:chOff x="9144000" y="450381"/>
              <a:chExt cx="1551582" cy="1009935"/>
            </a:xfrm>
          </p:grpSpPr>
          <p:grpSp>
            <p:nvGrpSpPr>
              <p:cNvPr id="35" name="组合 155"/>
              <p:cNvGrpSpPr/>
              <p:nvPr/>
            </p:nvGrpSpPr>
            <p:grpSpPr>
              <a:xfrm>
                <a:off x="9144000" y="450381"/>
                <a:ext cx="1551582" cy="1009935"/>
                <a:chOff x="9391650" y="3060700"/>
                <a:chExt cx="1928813" cy="769938"/>
              </a:xfrm>
              <a:solidFill>
                <a:srgbClr val="000000">
                  <a:lumMod val="50000"/>
                  <a:lumOff val="50000"/>
                </a:srgbClr>
              </a:solidFill>
            </p:grpSpPr>
            <p:sp>
              <p:nvSpPr>
                <p:cNvPr id="190" name="Freeform 6"/>
                <p:cNvSpPr>
                  <a:spLocks noEditPoints="1"/>
                </p:cNvSpPr>
                <p:nvPr/>
              </p:nvSpPr>
              <p:spPr bwMode="auto">
                <a:xfrm>
                  <a:off x="9391650" y="3384550"/>
                  <a:ext cx="1928813" cy="446088"/>
                </a:xfrm>
                <a:custGeom>
                  <a:avLst/>
                  <a:gdLst/>
                  <a:ahLst/>
                  <a:cxnLst>
                    <a:cxn ang="0">
                      <a:pos x="62" y="330"/>
                    </a:cxn>
                    <a:cxn ang="0">
                      <a:pos x="212" y="278"/>
                    </a:cxn>
                    <a:cxn ang="0">
                      <a:pos x="2393" y="128"/>
                    </a:cxn>
                    <a:cxn ang="0">
                      <a:pos x="4510" y="206"/>
                    </a:cxn>
                    <a:cxn ang="0">
                      <a:pos x="7765" y="353"/>
                    </a:cxn>
                    <a:cxn ang="0">
                      <a:pos x="10877" y="240"/>
                    </a:cxn>
                    <a:cxn ang="0">
                      <a:pos x="13961" y="54"/>
                    </a:cxn>
                    <a:cxn ang="0">
                      <a:pos x="16864" y="102"/>
                    </a:cxn>
                    <a:cxn ang="0">
                      <a:pos x="16999" y="197"/>
                    </a:cxn>
                    <a:cxn ang="0">
                      <a:pos x="16963" y="378"/>
                    </a:cxn>
                    <a:cxn ang="0">
                      <a:pos x="16746" y="799"/>
                    </a:cxn>
                    <a:cxn ang="0">
                      <a:pos x="16144" y="2365"/>
                    </a:cxn>
                    <a:cxn ang="0">
                      <a:pos x="15928" y="2534"/>
                    </a:cxn>
                    <a:cxn ang="0">
                      <a:pos x="15168" y="2502"/>
                    </a:cxn>
                    <a:cxn ang="0">
                      <a:pos x="14362" y="2416"/>
                    </a:cxn>
                    <a:cxn ang="0">
                      <a:pos x="14106" y="2326"/>
                    </a:cxn>
                    <a:cxn ang="0">
                      <a:pos x="13964" y="2178"/>
                    </a:cxn>
                    <a:cxn ang="0">
                      <a:pos x="13919" y="2001"/>
                    </a:cxn>
                    <a:cxn ang="0">
                      <a:pos x="12236" y="3551"/>
                    </a:cxn>
                    <a:cxn ang="0">
                      <a:pos x="12157" y="3752"/>
                    </a:cxn>
                    <a:cxn ang="0">
                      <a:pos x="11921" y="3844"/>
                    </a:cxn>
                    <a:cxn ang="0">
                      <a:pos x="11645" y="3844"/>
                    </a:cxn>
                    <a:cxn ang="0">
                      <a:pos x="10774" y="3204"/>
                    </a:cxn>
                    <a:cxn ang="0">
                      <a:pos x="10657" y="2863"/>
                    </a:cxn>
                    <a:cxn ang="0">
                      <a:pos x="10627" y="2313"/>
                    </a:cxn>
                    <a:cxn ang="0">
                      <a:pos x="6840" y="1774"/>
                    </a:cxn>
                    <a:cxn ang="0">
                      <a:pos x="6783" y="3140"/>
                    </a:cxn>
                    <a:cxn ang="0">
                      <a:pos x="6615" y="3402"/>
                    </a:cxn>
                    <a:cxn ang="0">
                      <a:pos x="6098" y="3899"/>
                    </a:cxn>
                    <a:cxn ang="0">
                      <a:pos x="5811" y="3936"/>
                    </a:cxn>
                    <a:cxn ang="0">
                      <a:pos x="5562" y="3846"/>
                    </a:cxn>
                    <a:cxn ang="0">
                      <a:pos x="5461" y="3601"/>
                    </a:cxn>
                    <a:cxn ang="0">
                      <a:pos x="5457" y="2622"/>
                    </a:cxn>
                    <a:cxn ang="0">
                      <a:pos x="3263" y="2085"/>
                    </a:cxn>
                    <a:cxn ang="0">
                      <a:pos x="3115" y="2420"/>
                    </a:cxn>
                    <a:cxn ang="0">
                      <a:pos x="2862" y="2578"/>
                    </a:cxn>
                    <a:cxn ang="0">
                      <a:pos x="1682" y="2738"/>
                    </a:cxn>
                    <a:cxn ang="0">
                      <a:pos x="1208" y="2739"/>
                    </a:cxn>
                    <a:cxn ang="0">
                      <a:pos x="954" y="2606"/>
                    </a:cxn>
                    <a:cxn ang="0">
                      <a:pos x="728" y="2303"/>
                    </a:cxn>
                    <a:cxn ang="0">
                      <a:pos x="504" y="937"/>
                    </a:cxn>
                    <a:cxn ang="0">
                      <a:pos x="320" y="728"/>
                    </a:cxn>
                    <a:cxn ang="0">
                      <a:pos x="0" y="493"/>
                    </a:cxn>
                    <a:cxn ang="0">
                      <a:pos x="15805" y="1979"/>
                    </a:cxn>
                    <a:cxn ang="0">
                      <a:pos x="15716" y="2093"/>
                    </a:cxn>
                    <a:cxn ang="0">
                      <a:pos x="15355" y="2064"/>
                    </a:cxn>
                    <a:cxn ang="0">
                      <a:pos x="14590" y="1994"/>
                    </a:cxn>
                    <a:cxn ang="0">
                      <a:pos x="12376" y="1529"/>
                    </a:cxn>
                    <a:cxn ang="0">
                      <a:pos x="11066" y="2953"/>
                    </a:cxn>
                    <a:cxn ang="0">
                      <a:pos x="11017" y="2709"/>
                    </a:cxn>
                    <a:cxn ang="0">
                      <a:pos x="11018" y="1948"/>
                    </a:cxn>
                    <a:cxn ang="0">
                      <a:pos x="6398" y="3094"/>
                    </a:cxn>
                    <a:cxn ang="0">
                      <a:pos x="6480" y="2792"/>
                    </a:cxn>
                    <a:cxn ang="0">
                      <a:pos x="6479" y="2171"/>
                    </a:cxn>
                    <a:cxn ang="0">
                      <a:pos x="2589" y="2054"/>
                    </a:cxn>
                    <a:cxn ang="0">
                      <a:pos x="2512" y="2140"/>
                    </a:cxn>
                    <a:cxn ang="0">
                      <a:pos x="1684" y="2267"/>
                    </a:cxn>
                    <a:cxn ang="0">
                      <a:pos x="1357" y="2281"/>
                    </a:cxn>
                    <a:cxn ang="0">
                      <a:pos x="1307" y="2205"/>
                    </a:cxn>
                  </a:cxnLst>
                  <a:rect l="0" t="0" r="r" b="b"/>
                  <a:pathLst>
                    <a:path w="17010" h="3937">
                      <a:moveTo>
                        <a:pt x="0" y="493"/>
                      </a:moveTo>
                      <a:lnTo>
                        <a:pt x="1" y="483"/>
                      </a:lnTo>
                      <a:lnTo>
                        <a:pt x="5" y="460"/>
                      </a:lnTo>
                      <a:lnTo>
                        <a:pt x="10" y="444"/>
                      </a:lnTo>
                      <a:lnTo>
                        <a:pt x="14" y="426"/>
                      </a:lnTo>
                      <a:lnTo>
                        <a:pt x="20" y="406"/>
                      </a:lnTo>
                      <a:lnTo>
                        <a:pt x="28" y="386"/>
                      </a:lnTo>
                      <a:lnTo>
                        <a:pt x="37" y="366"/>
                      </a:lnTo>
                      <a:lnTo>
                        <a:pt x="48" y="347"/>
                      </a:lnTo>
                      <a:lnTo>
                        <a:pt x="54" y="338"/>
                      </a:lnTo>
                      <a:lnTo>
                        <a:pt x="62" y="330"/>
                      </a:lnTo>
                      <a:lnTo>
                        <a:pt x="68" y="321"/>
                      </a:lnTo>
                      <a:lnTo>
                        <a:pt x="77" y="313"/>
                      </a:lnTo>
                      <a:lnTo>
                        <a:pt x="84" y="306"/>
                      </a:lnTo>
                      <a:lnTo>
                        <a:pt x="94" y="300"/>
                      </a:lnTo>
                      <a:lnTo>
                        <a:pt x="103" y="294"/>
                      </a:lnTo>
                      <a:lnTo>
                        <a:pt x="113" y="289"/>
                      </a:lnTo>
                      <a:lnTo>
                        <a:pt x="123" y="285"/>
                      </a:lnTo>
                      <a:lnTo>
                        <a:pt x="135" y="282"/>
                      </a:lnTo>
                      <a:lnTo>
                        <a:pt x="147" y="281"/>
                      </a:lnTo>
                      <a:lnTo>
                        <a:pt x="159" y="280"/>
                      </a:lnTo>
                      <a:lnTo>
                        <a:pt x="212" y="278"/>
                      </a:lnTo>
                      <a:lnTo>
                        <a:pt x="311" y="272"/>
                      </a:lnTo>
                      <a:lnTo>
                        <a:pt x="453" y="263"/>
                      </a:lnTo>
                      <a:lnTo>
                        <a:pt x="627" y="252"/>
                      </a:lnTo>
                      <a:lnTo>
                        <a:pt x="829" y="238"/>
                      </a:lnTo>
                      <a:lnTo>
                        <a:pt x="1050" y="222"/>
                      </a:lnTo>
                      <a:lnTo>
                        <a:pt x="1284" y="206"/>
                      </a:lnTo>
                      <a:lnTo>
                        <a:pt x="1523" y="189"/>
                      </a:lnTo>
                      <a:lnTo>
                        <a:pt x="1761" y="172"/>
                      </a:lnTo>
                      <a:lnTo>
                        <a:pt x="1990" y="156"/>
                      </a:lnTo>
                      <a:lnTo>
                        <a:pt x="2203" y="141"/>
                      </a:lnTo>
                      <a:lnTo>
                        <a:pt x="2393" y="128"/>
                      </a:lnTo>
                      <a:lnTo>
                        <a:pt x="2554" y="116"/>
                      </a:lnTo>
                      <a:lnTo>
                        <a:pt x="2677" y="107"/>
                      </a:lnTo>
                      <a:lnTo>
                        <a:pt x="2756" y="101"/>
                      </a:lnTo>
                      <a:lnTo>
                        <a:pt x="2784" y="99"/>
                      </a:lnTo>
                      <a:lnTo>
                        <a:pt x="2829" y="102"/>
                      </a:lnTo>
                      <a:lnTo>
                        <a:pt x="2958" y="111"/>
                      </a:lnTo>
                      <a:lnTo>
                        <a:pt x="3160" y="123"/>
                      </a:lnTo>
                      <a:lnTo>
                        <a:pt x="3426" y="140"/>
                      </a:lnTo>
                      <a:lnTo>
                        <a:pt x="3746" y="161"/>
                      </a:lnTo>
                      <a:lnTo>
                        <a:pt x="4111" y="183"/>
                      </a:lnTo>
                      <a:lnTo>
                        <a:pt x="4510" y="206"/>
                      </a:lnTo>
                      <a:lnTo>
                        <a:pt x="4934" y="231"/>
                      </a:lnTo>
                      <a:lnTo>
                        <a:pt x="5373" y="255"/>
                      </a:lnTo>
                      <a:lnTo>
                        <a:pt x="5816" y="279"/>
                      </a:lnTo>
                      <a:lnTo>
                        <a:pt x="6255" y="300"/>
                      </a:lnTo>
                      <a:lnTo>
                        <a:pt x="6680" y="319"/>
                      </a:lnTo>
                      <a:lnTo>
                        <a:pt x="6883" y="328"/>
                      </a:lnTo>
                      <a:lnTo>
                        <a:pt x="7078" y="335"/>
                      </a:lnTo>
                      <a:lnTo>
                        <a:pt x="7266" y="341"/>
                      </a:lnTo>
                      <a:lnTo>
                        <a:pt x="7444" y="347"/>
                      </a:lnTo>
                      <a:lnTo>
                        <a:pt x="7611" y="350"/>
                      </a:lnTo>
                      <a:lnTo>
                        <a:pt x="7765" y="353"/>
                      </a:lnTo>
                      <a:lnTo>
                        <a:pt x="7906" y="354"/>
                      </a:lnTo>
                      <a:lnTo>
                        <a:pt x="8033" y="354"/>
                      </a:lnTo>
                      <a:lnTo>
                        <a:pt x="8161" y="352"/>
                      </a:lnTo>
                      <a:lnTo>
                        <a:pt x="8304" y="350"/>
                      </a:lnTo>
                      <a:lnTo>
                        <a:pt x="8465" y="346"/>
                      </a:lnTo>
                      <a:lnTo>
                        <a:pt x="8639" y="340"/>
                      </a:lnTo>
                      <a:lnTo>
                        <a:pt x="9025" y="326"/>
                      </a:lnTo>
                      <a:lnTo>
                        <a:pt x="9452" y="309"/>
                      </a:lnTo>
                      <a:lnTo>
                        <a:pt x="9910" y="287"/>
                      </a:lnTo>
                      <a:lnTo>
                        <a:pt x="10389" y="265"/>
                      </a:lnTo>
                      <a:lnTo>
                        <a:pt x="10877" y="240"/>
                      </a:lnTo>
                      <a:lnTo>
                        <a:pt x="11365" y="214"/>
                      </a:lnTo>
                      <a:lnTo>
                        <a:pt x="11840" y="188"/>
                      </a:lnTo>
                      <a:lnTo>
                        <a:pt x="12294" y="163"/>
                      </a:lnTo>
                      <a:lnTo>
                        <a:pt x="12715" y="138"/>
                      </a:lnTo>
                      <a:lnTo>
                        <a:pt x="13092" y="116"/>
                      </a:lnTo>
                      <a:lnTo>
                        <a:pt x="13417" y="95"/>
                      </a:lnTo>
                      <a:lnTo>
                        <a:pt x="13677" y="78"/>
                      </a:lnTo>
                      <a:lnTo>
                        <a:pt x="13779" y="70"/>
                      </a:lnTo>
                      <a:lnTo>
                        <a:pt x="13862" y="64"/>
                      </a:lnTo>
                      <a:lnTo>
                        <a:pt x="13923" y="59"/>
                      </a:lnTo>
                      <a:lnTo>
                        <a:pt x="13961" y="54"/>
                      </a:lnTo>
                      <a:lnTo>
                        <a:pt x="14058" y="41"/>
                      </a:lnTo>
                      <a:lnTo>
                        <a:pt x="14135" y="31"/>
                      </a:lnTo>
                      <a:lnTo>
                        <a:pt x="14196" y="21"/>
                      </a:lnTo>
                      <a:lnTo>
                        <a:pt x="14242" y="14"/>
                      </a:lnTo>
                      <a:lnTo>
                        <a:pt x="14275" y="7"/>
                      </a:lnTo>
                      <a:lnTo>
                        <a:pt x="14295" y="3"/>
                      </a:lnTo>
                      <a:lnTo>
                        <a:pt x="14306" y="0"/>
                      </a:lnTo>
                      <a:lnTo>
                        <a:pt x="14310" y="0"/>
                      </a:lnTo>
                      <a:lnTo>
                        <a:pt x="16831" y="91"/>
                      </a:lnTo>
                      <a:lnTo>
                        <a:pt x="16841" y="94"/>
                      </a:lnTo>
                      <a:lnTo>
                        <a:pt x="16864" y="102"/>
                      </a:lnTo>
                      <a:lnTo>
                        <a:pt x="16879" y="107"/>
                      </a:lnTo>
                      <a:lnTo>
                        <a:pt x="16896" y="115"/>
                      </a:lnTo>
                      <a:lnTo>
                        <a:pt x="16914" y="123"/>
                      </a:lnTo>
                      <a:lnTo>
                        <a:pt x="16932" y="134"/>
                      </a:lnTo>
                      <a:lnTo>
                        <a:pt x="16950" y="146"/>
                      </a:lnTo>
                      <a:lnTo>
                        <a:pt x="16966" y="159"/>
                      </a:lnTo>
                      <a:lnTo>
                        <a:pt x="16975" y="165"/>
                      </a:lnTo>
                      <a:lnTo>
                        <a:pt x="16981" y="172"/>
                      </a:lnTo>
                      <a:lnTo>
                        <a:pt x="16988" y="180"/>
                      </a:lnTo>
                      <a:lnTo>
                        <a:pt x="16994" y="188"/>
                      </a:lnTo>
                      <a:lnTo>
                        <a:pt x="16999" y="197"/>
                      </a:lnTo>
                      <a:lnTo>
                        <a:pt x="17004" y="205"/>
                      </a:lnTo>
                      <a:lnTo>
                        <a:pt x="17007" y="215"/>
                      </a:lnTo>
                      <a:lnTo>
                        <a:pt x="17009" y="224"/>
                      </a:lnTo>
                      <a:lnTo>
                        <a:pt x="17010" y="234"/>
                      </a:lnTo>
                      <a:lnTo>
                        <a:pt x="17010" y="244"/>
                      </a:lnTo>
                      <a:lnTo>
                        <a:pt x="17009" y="254"/>
                      </a:lnTo>
                      <a:lnTo>
                        <a:pt x="17006" y="266"/>
                      </a:lnTo>
                      <a:lnTo>
                        <a:pt x="16998" y="289"/>
                      </a:lnTo>
                      <a:lnTo>
                        <a:pt x="16988" y="317"/>
                      </a:lnTo>
                      <a:lnTo>
                        <a:pt x="16976" y="346"/>
                      </a:lnTo>
                      <a:lnTo>
                        <a:pt x="16963" y="378"/>
                      </a:lnTo>
                      <a:lnTo>
                        <a:pt x="16933" y="443"/>
                      </a:lnTo>
                      <a:lnTo>
                        <a:pt x="16902" y="510"/>
                      </a:lnTo>
                      <a:lnTo>
                        <a:pt x="16871" y="574"/>
                      </a:lnTo>
                      <a:lnTo>
                        <a:pt x="16842" y="631"/>
                      </a:lnTo>
                      <a:lnTo>
                        <a:pt x="16819" y="677"/>
                      </a:lnTo>
                      <a:lnTo>
                        <a:pt x="16804" y="706"/>
                      </a:lnTo>
                      <a:lnTo>
                        <a:pt x="16793" y="727"/>
                      </a:lnTo>
                      <a:lnTo>
                        <a:pt x="16782" y="746"/>
                      </a:lnTo>
                      <a:lnTo>
                        <a:pt x="16772" y="763"/>
                      </a:lnTo>
                      <a:lnTo>
                        <a:pt x="16761" y="778"/>
                      </a:lnTo>
                      <a:lnTo>
                        <a:pt x="16746" y="799"/>
                      </a:lnTo>
                      <a:lnTo>
                        <a:pt x="16740" y="807"/>
                      </a:lnTo>
                      <a:lnTo>
                        <a:pt x="16300" y="899"/>
                      </a:lnTo>
                      <a:lnTo>
                        <a:pt x="16235" y="2164"/>
                      </a:lnTo>
                      <a:lnTo>
                        <a:pt x="16230" y="2182"/>
                      </a:lnTo>
                      <a:lnTo>
                        <a:pt x="16215" y="2228"/>
                      </a:lnTo>
                      <a:lnTo>
                        <a:pt x="16202" y="2257"/>
                      </a:lnTo>
                      <a:lnTo>
                        <a:pt x="16186" y="2291"/>
                      </a:lnTo>
                      <a:lnTo>
                        <a:pt x="16178" y="2309"/>
                      </a:lnTo>
                      <a:lnTo>
                        <a:pt x="16167" y="2328"/>
                      </a:lnTo>
                      <a:lnTo>
                        <a:pt x="16155" y="2347"/>
                      </a:lnTo>
                      <a:lnTo>
                        <a:pt x="16144" y="2365"/>
                      </a:lnTo>
                      <a:lnTo>
                        <a:pt x="16130" y="2384"/>
                      </a:lnTo>
                      <a:lnTo>
                        <a:pt x="16115" y="2402"/>
                      </a:lnTo>
                      <a:lnTo>
                        <a:pt x="16099" y="2420"/>
                      </a:lnTo>
                      <a:lnTo>
                        <a:pt x="16082" y="2438"/>
                      </a:lnTo>
                      <a:lnTo>
                        <a:pt x="16064" y="2454"/>
                      </a:lnTo>
                      <a:lnTo>
                        <a:pt x="16045" y="2471"/>
                      </a:lnTo>
                      <a:lnTo>
                        <a:pt x="16024" y="2486"/>
                      </a:lnTo>
                      <a:lnTo>
                        <a:pt x="16002" y="2500"/>
                      </a:lnTo>
                      <a:lnTo>
                        <a:pt x="15979" y="2513"/>
                      </a:lnTo>
                      <a:lnTo>
                        <a:pt x="15953" y="2523"/>
                      </a:lnTo>
                      <a:lnTo>
                        <a:pt x="15928" y="2534"/>
                      </a:lnTo>
                      <a:lnTo>
                        <a:pt x="15900" y="2541"/>
                      </a:lnTo>
                      <a:lnTo>
                        <a:pt x="15870" y="2548"/>
                      </a:lnTo>
                      <a:lnTo>
                        <a:pt x="15839" y="2551"/>
                      </a:lnTo>
                      <a:lnTo>
                        <a:pt x="15808" y="2553"/>
                      </a:lnTo>
                      <a:lnTo>
                        <a:pt x="15774" y="2553"/>
                      </a:lnTo>
                      <a:lnTo>
                        <a:pt x="15697" y="2549"/>
                      </a:lnTo>
                      <a:lnTo>
                        <a:pt x="15607" y="2541"/>
                      </a:lnTo>
                      <a:lnTo>
                        <a:pt x="15507" y="2534"/>
                      </a:lnTo>
                      <a:lnTo>
                        <a:pt x="15398" y="2524"/>
                      </a:lnTo>
                      <a:lnTo>
                        <a:pt x="15285" y="2514"/>
                      </a:lnTo>
                      <a:lnTo>
                        <a:pt x="15168" y="2502"/>
                      </a:lnTo>
                      <a:lnTo>
                        <a:pt x="15050" y="2490"/>
                      </a:lnTo>
                      <a:lnTo>
                        <a:pt x="14934" y="2479"/>
                      </a:lnTo>
                      <a:lnTo>
                        <a:pt x="14822" y="2467"/>
                      </a:lnTo>
                      <a:lnTo>
                        <a:pt x="14718" y="2455"/>
                      </a:lnTo>
                      <a:lnTo>
                        <a:pt x="14622" y="2445"/>
                      </a:lnTo>
                      <a:lnTo>
                        <a:pt x="14539" y="2436"/>
                      </a:lnTo>
                      <a:lnTo>
                        <a:pt x="14469" y="2429"/>
                      </a:lnTo>
                      <a:lnTo>
                        <a:pt x="14417" y="2422"/>
                      </a:lnTo>
                      <a:lnTo>
                        <a:pt x="14384" y="2418"/>
                      </a:lnTo>
                      <a:lnTo>
                        <a:pt x="14372" y="2417"/>
                      </a:lnTo>
                      <a:lnTo>
                        <a:pt x="14362" y="2416"/>
                      </a:lnTo>
                      <a:lnTo>
                        <a:pt x="14334" y="2409"/>
                      </a:lnTo>
                      <a:lnTo>
                        <a:pt x="14315" y="2405"/>
                      </a:lnTo>
                      <a:lnTo>
                        <a:pt x="14293" y="2400"/>
                      </a:lnTo>
                      <a:lnTo>
                        <a:pt x="14268" y="2393"/>
                      </a:lnTo>
                      <a:lnTo>
                        <a:pt x="14242" y="2385"/>
                      </a:lnTo>
                      <a:lnTo>
                        <a:pt x="14215" y="2376"/>
                      </a:lnTo>
                      <a:lnTo>
                        <a:pt x="14187" y="2366"/>
                      </a:lnTo>
                      <a:lnTo>
                        <a:pt x="14159" y="2354"/>
                      </a:lnTo>
                      <a:lnTo>
                        <a:pt x="14132" y="2340"/>
                      </a:lnTo>
                      <a:lnTo>
                        <a:pt x="14118" y="2334"/>
                      </a:lnTo>
                      <a:lnTo>
                        <a:pt x="14106" y="2326"/>
                      </a:lnTo>
                      <a:lnTo>
                        <a:pt x="14093" y="2318"/>
                      </a:lnTo>
                      <a:lnTo>
                        <a:pt x="14080" y="2309"/>
                      </a:lnTo>
                      <a:lnTo>
                        <a:pt x="14068" y="2301"/>
                      </a:lnTo>
                      <a:lnTo>
                        <a:pt x="14058" y="2291"/>
                      </a:lnTo>
                      <a:lnTo>
                        <a:pt x="14047" y="2283"/>
                      </a:lnTo>
                      <a:lnTo>
                        <a:pt x="14038" y="2272"/>
                      </a:lnTo>
                      <a:lnTo>
                        <a:pt x="14019" y="2252"/>
                      </a:lnTo>
                      <a:lnTo>
                        <a:pt x="14003" y="2233"/>
                      </a:lnTo>
                      <a:lnTo>
                        <a:pt x="13989" y="2214"/>
                      </a:lnTo>
                      <a:lnTo>
                        <a:pt x="13976" y="2196"/>
                      </a:lnTo>
                      <a:lnTo>
                        <a:pt x="13964" y="2178"/>
                      </a:lnTo>
                      <a:lnTo>
                        <a:pt x="13955" y="2161"/>
                      </a:lnTo>
                      <a:lnTo>
                        <a:pt x="13945" y="2143"/>
                      </a:lnTo>
                      <a:lnTo>
                        <a:pt x="13938" y="2126"/>
                      </a:lnTo>
                      <a:lnTo>
                        <a:pt x="13932" y="2111"/>
                      </a:lnTo>
                      <a:lnTo>
                        <a:pt x="13927" y="2093"/>
                      </a:lnTo>
                      <a:lnTo>
                        <a:pt x="13923" y="2079"/>
                      </a:lnTo>
                      <a:lnTo>
                        <a:pt x="13921" y="2063"/>
                      </a:lnTo>
                      <a:lnTo>
                        <a:pt x="13918" y="2047"/>
                      </a:lnTo>
                      <a:lnTo>
                        <a:pt x="13918" y="2032"/>
                      </a:lnTo>
                      <a:lnTo>
                        <a:pt x="13918" y="2016"/>
                      </a:lnTo>
                      <a:lnTo>
                        <a:pt x="13919" y="2001"/>
                      </a:lnTo>
                      <a:lnTo>
                        <a:pt x="13927" y="1946"/>
                      </a:lnTo>
                      <a:lnTo>
                        <a:pt x="13932" y="1903"/>
                      </a:lnTo>
                      <a:lnTo>
                        <a:pt x="13937" y="1875"/>
                      </a:lnTo>
                      <a:lnTo>
                        <a:pt x="13938" y="1865"/>
                      </a:lnTo>
                      <a:lnTo>
                        <a:pt x="12265" y="1792"/>
                      </a:lnTo>
                      <a:lnTo>
                        <a:pt x="12247" y="3421"/>
                      </a:lnTo>
                      <a:lnTo>
                        <a:pt x="12247" y="3435"/>
                      </a:lnTo>
                      <a:lnTo>
                        <a:pt x="12245" y="3470"/>
                      </a:lnTo>
                      <a:lnTo>
                        <a:pt x="12243" y="3494"/>
                      </a:lnTo>
                      <a:lnTo>
                        <a:pt x="12240" y="3521"/>
                      </a:lnTo>
                      <a:lnTo>
                        <a:pt x="12236" y="3551"/>
                      </a:lnTo>
                      <a:lnTo>
                        <a:pt x="12230" y="3582"/>
                      </a:lnTo>
                      <a:lnTo>
                        <a:pt x="12223" y="3614"/>
                      </a:lnTo>
                      <a:lnTo>
                        <a:pt x="12214" y="3644"/>
                      </a:lnTo>
                      <a:lnTo>
                        <a:pt x="12209" y="3660"/>
                      </a:lnTo>
                      <a:lnTo>
                        <a:pt x="12204" y="3675"/>
                      </a:lnTo>
                      <a:lnTo>
                        <a:pt x="12197" y="3690"/>
                      </a:lnTo>
                      <a:lnTo>
                        <a:pt x="12190" y="3704"/>
                      </a:lnTo>
                      <a:lnTo>
                        <a:pt x="12182" y="3717"/>
                      </a:lnTo>
                      <a:lnTo>
                        <a:pt x="12175" y="3730"/>
                      </a:lnTo>
                      <a:lnTo>
                        <a:pt x="12165" y="3741"/>
                      </a:lnTo>
                      <a:lnTo>
                        <a:pt x="12157" y="3752"/>
                      </a:lnTo>
                      <a:lnTo>
                        <a:pt x="12146" y="3761"/>
                      </a:lnTo>
                      <a:lnTo>
                        <a:pt x="12136" y="3770"/>
                      </a:lnTo>
                      <a:lnTo>
                        <a:pt x="12124" y="3777"/>
                      </a:lnTo>
                      <a:lnTo>
                        <a:pt x="12111" y="3783"/>
                      </a:lnTo>
                      <a:lnTo>
                        <a:pt x="12086" y="3793"/>
                      </a:lnTo>
                      <a:lnTo>
                        <a:pt x="12059" y="3803"/>
                      </a:lnTo>
                      <a:lnTo>
                        <a:pt x="12032" y="3813"/>
                      </a:lnTo>
                      <a:lnTo>
                        <a:pt x="12005" y="3821"/>
                      </a:lnTo>
                      <a:lnTo>
                        <a:pt x="11976" y="3830"/>
                      </a:lnTo>
                      <a:lnTo>
                        <a:pt x="11948" y="3837"/>
                      </a:lnTo>
                      <a:lnTo>
                        <a:pt x="11921" y="3844"/>
                      </a:lnTo>
                      <a:lnTo>
                        <a:pt x="11892" y="3850"/>
                      </a:lnTo>
                      <a:lnTo>
                        <a:pt x="11864" y="3855"/>
                      </a:lnTo>
                      <a:lnTo>
                        <a:pt x="11837" y="3859"/>
                      </a:lnTo>
                      <a:lnTo>
                        <a:pt x="11810" y="3861"/>
                      </a:lnTo>
                      <a:lnTo>
                        <a:pt x="11784" y="3864"/>
                      </a:lnTo>
                      <a:lnTo>
                        <a:pt x="11758" y="3864"/>
                      </a:lnTo>
                      <a:lnTo>
                        <a:pt x="11733" y="3863"/>
                      </a:lnTo>
                      <a:lnTo>
                        <a:pt x="11709" y="3859"/>
                      </a:lnTo>
                      <a:lnTo>
                        <a:pt x="11687" y="3855"/>
                      </a:lnTo>
                      <a:lnTo>
                        <a:pt x="11666" y="3850"/>
                      </a:lnTo>
                      <a:lnTo>
                        <a:pt x="11645" y="3844"/>
                      </a:lnTo>
                      <a:lnTo>
                        <a:pt x="11627" y="3838"/>
                      </a:lnTo>
                      <a:lnTo>
                        <a:pt x="11610" y="3832"/>
                      </a:lnTo>
                      <a:lnTo>
                        <a:pt x="11594" y="3824"/>
                      </a:lnTo>
                      <a:lnTo>
                        <a:pt x="11581" y="3818"/>
                      </a:lnTo>
                      <a:lnTo>
                        <a:pt x="11568" y="3811"/>
                      </a:lnTo>
                      <a:lnTo>
                        <a:pt x="11557" y="3805"/>
                      </a:lnTo>
                      <a:lnTo>
                        <a:pt x="11538" y="3792"/>
                      </a:lnTo>
                      <a:lnTo>
                        <a:pt x="11525" y="3783"/>
                      </a:lnTo>
                      <a:lnTo>
                        <a:pt x="11518" y="3776"/>
                      </a:lnTo>
                      <a:lnTo>
                        <a:pt x="11515" y="3774"/>
                      </a:lnTo>
                      <a:lnTo>
                        <a:pt x="10774" y="3204"/>
                      </a:lnTo>
                      <a:lnTo>
                        <a:pt x="10768" y="3194"/>
                      </a:lnTo>
                      <a:lnTo>
                        <a:pt x="10755" y="3165"/>
                      </a:lnTo>
                      <a:lnTo>
                        <a:pt x="10746" y="3144"/>
                      </a:lnTo>
                      <a:lnTo>
                        <a:pt x="10735" y="3119"/>
                      </a:lnTo>
                      <a:lnTo>
                        <a:pt x="10724" y="3091"/>
                      </a:lnTo>
                      <a:lnTo>
                        <a:pt x="10712" y="3059"/>
                      </a:lnTo>
                      <a:lnTo>
                        <a:pt x="10700" y="3025"/>
                      </a:lnTo>
                      <a:lnTo>
                        <a:pt x="10689" y="2988"/>
                      </a:lnTo>
                      <a:lnTo>
                        <a:pt x="10677" y="2948"/>
                      </a:lnTo>
                      <a:lnTo>
                        <a:pt x="10666" y="2906"/>
                      </a:lnTo>
                      <a:lnTo>
                        <a:pt x="10657" y="2863"/>
                      </a:lnTo>
                      <a:lnTo>
                        <a:pt x="10649" y="2818"/>
                      </a:lnTo>
                      <a:lnTo>
                        <a:pt x="10645" y="2796"/>
                      </a:lnTo>
                      <a:lnTo>
                        <a:pt x="10642" y="2772"/>
                      </a:lnTo>
                      <a:lnTo>
                        <a:pt x="10640" y="2749"/>
                      </a:lnTo>
                      <a:lnTo>
                        <a:pt x="10638" y="2724"/>
                      </a:lnTo>
                      <a:lnTo>
                        <a:pt x="10634" y="2672"/>
                      </a:lnTo>
                      <a:lnTo>
                        <a:pt x="10632" y="2612"/>
                      </a:lnTo>
                      <a:lnTo>
                        <a:pt x="10630" y="2543"/>
                      </a:lnTo>
                      <a:lnTo>
                        <a:pt x="10629" y="2469"/>
                      </a:lnTo>
                      <a:lnTo>
                        <a:pt x="10628" y="2392"/>
                      </a:lnTo>
                      <a:lnTo>
                        <a:pt x="10627" y="2313"/>
                      </a:lnTo>
                      <a:lnTo>
                        <a:pt x="10627" y="2233"/>
                      </a:lnTo>
                      <a:lnTo>
                        <a:pt x="10627" y="2155"/>
                      </a:lnTo>
                      <a:lnTo>
                        <a:pt x="10627" y="2080"/>
                      </a:lnTo>
                      <a:lnTo>
                        <a:pt x="10627" y="2008"/>
                      </a:lnTo>
                      <a:lnTo>
                        <a:pt x="10627" y="1945"/>
                      </a:lnTo>
                      <a:lnTo>
                        <a:pt x="10628" y="1887"/>
                      </a:lnTo>
                      <a:lnTo>
                        <a:pt x="10628" y="1840"/>
                      </a:lnTo>
                      <a:lnTo>
                        <a:pt x="10628" y="1805"/>
                      </a:lnTo>
                      <a:lnTo>
                        <a:pt x="10629" y="1783"/>
                      </a:lnTo>
                      <a:lnTo>
                        <a:pt x="10629" y="1774"/>
                      </a:lnTo>
                      <a:lnTo>
                        <a:pt x="6840" y="1774"/>
                      </a:lnTo>
                      <a:lnTo>
                        <a:pt x="6840" y="2797"/>
                      </a:lnTo>
                      <a:lnTo>
                        <a:pt x="6840" y="2812"/>
                      </a:lnTo>
                      <a:lnTo>
                        <a:pt x="6837" y="2851"/>
                      </a:lnTo>
                      <a:lnTo>
                        <a:pt x="6835" y="2877"/>
                      </a:lnTo>
                      <a:lnTo>
                        <a:pt x="6832" y="2908"/>
                      </a:lnTo>
                      <a:lnTo>
                        <a:pt x="6826" y="2943"/>
                      </a:lnTo>
                      <a:lnTo>
                        <a:pt x="6821" y="2981"/>
                      </a:lnTo>
                      <a:lnTo>
                        <a:pt x="6814" y="3019"/>
                      </a:lnTo>
                      <a:lnTo>
                        <a:pt x="6805" y="3059"/>
                      </a:lnTo>
                      <a:lnTo>
                        <a:pt x="6795" y="3100"/>
                      </a:lnTo>
                      <a:lnTo>
                        <a:pt x="6783" y="3140"/>
                      </a:lnTo>
                      <a:lnTo>
                        <a:pt x="6776" y="3160"/>
                      </a:lnTo>
                      <a:lnTo>
                        <a:pt x="6769" y="3180"/>
                      </a:lnTo>
                      <a:lnTo>
                        <a:pt x="6761" y="3199"/>
                      </a:lnTo>
                      <a:lnTo>
                        <a:pt x="6753" y="3218"/>
                      </a:lnTo>
                      <a:lnTo>
                        <a:pt x="6744" y="3236"/>
                      </a:lnTo>
                      <a:lnTo>
                        <a:pt x="6735" y="3253"/>
                      </a:lnTo>
                      <a:lnTo>
                        <a:pt x="6724" y="3270"/>
                      </a:lnTo>
                      <a:lnTo>
                        <a:pt x="6714" y="3286"/>
                      </a:lnTo>
                      <a:lnTo>
                        <a:pt x="6688" y="3319"/>
                      </a:lnTo>
                      <a:lnTo>
                        <a:pt x="6654" y="3358"/>
                      </a:lnTo>
                      <a:lnTo>
                        <a:pt x="6615" y="3402"/>
                      </a:lnTo>
                      <a:lnTo>
                        <a:pt x="6571" y="3449"/>
                      </a:lnTo>
                      <a:lnTo>
                        <a:pt x="6523" y="3499"/>
                      </a:lnTo>
                      <a:lnTo>
                        <a:pt x="6473" y="3549"/>
                      </a:lnTo>
                      <a:lnTo>
                        <a:pt x="6422" y="3600"/>
                      </a:lnTo>
                      <a:lnTo>
                        <a:pt x="6371" y="3650"/>
                      </a:lnTo>
                      <a:lnTo>
                        <a:pt x="6275" y="3743"/>
                      </a:lnTo>
                      <a:lnTo>
                        <a:pt x="6194" y="3820"/>
                      </a:lnTo>
                      <a:lnTo>
                        <a:pt x="6137" y="3872"/>
                      </a:lnTo>
                      <a:lnTo>
                        <a:pt x="6117" y="3891"/>
                      </a:lnTo>
                      <a:lnTo>
                        <a:pt x="6112" y="3893"/>
                      </a:lnTo>
                      <a:lnTo>
                        <a:pt x="6098" y="3899"/>
                      </a:lnTo>
                      <a:lnTo>
                        <a:pt x="6075" y="3906"/>
                      </a:lnTo>
                      <a:lnTo>
                        <a:pt x="6045" y="3915"/>
                      </a:lnTo>
                      <a:lnTo>
                        <a:pt x="6027" y="3919"/>
                      </a:lnTo>
                      <a:lnTo>
                        <a:pt x="6008" y="3923"/>
                      </a:lnTo>
                      <a:lnTo>
                        <a:pt x="5986" y="3926"/>
                      </a:lnTo>
                      <a:lnTo>
                        <a:pt x="5964" y="3930"/>
                      </a:lnTo>
                      <a:lnTo>
                        <a:pt x="5941" y="3933"/>
                      </a:lnTo>
                      <a:lnTo>
                        <a:pt x="5916" y="3935"/>
                      </a:lnTo>
                      <a:lnTo>
                        <a:pt x="5891" y="3937"/>
                      </a:lnTo>
                      <a:lnTo>
                        <a:pt x="5864" y="3937"/>
                      </a:lnTo>
                      <a:lnTo>
                        <a:pt x="5811" y="3936"/>
                      </a:lnTo>
                      <a:lnTo>
                        <a:pt x="5763" y="3933"/>
                      </a:lnTo>
                      <a:lnTo>
                        <a:pt x="5721" y="3928"/>
                      </a:lnTo>
                      <a:lnTo>
                        <a:pt x="5683" y="3923"/>
                      </a:lnTo>
                      <a:lnTo>
                        <a:pt x="5653" y="3919"/>
                      </a:lnTo>
                      <a:lnTo>
                        <a:pt x="5630" y="3914"/>
                      </a:lnTo>
                      <a:lnTo>
                        <a:pt x="5615" y="3911"/>
                      </a:lnTo>
                      <a:lnTo>
                        <a:pt x="5611" y="3909"/>
                      </a:lnTo>
                      <a:lnTo>
                        <a:pt x="5604" y="3902"/>
                      </a:lnTo>
                      <a:lnTo>
                        <a:pt x="5587" y="3880"/>
                      </a:lnTo>
                      <a:lnTo>
                        <a:pt x="5575" y="3865"/>
                      </a:lnTo>
                      <a:lnTo>
                        <a:pt x="5562" y="3846"/>
                      </a:lnTo>
                      <a:lnTo>
                        <a:pt x="5548" y="3824"/>
                      </a:lnTo>
                      <a:lnTo>
                        <a:pt x="5534" y="3800"/>
                      </a:lnTo>
                      <a:lnTo>
                        <a:pt x="5520" y="3774"/>
                      </a:lnTo>
                      <a:lnTo>
                        <a:pt x="5506" y="3746"/>
                      </a:lnTo>
                      <a:lnTo>
                        <a:pt x="5492" y="3716"/>
                      </a:lnTo>
                      <a:lnTo>
                        <a:pt x="5481" y="3685"/>
                      </a:lnTo>
                      <a:lnTo>
                        <a:pt x="5476" y="3669"/>
                      </a:lnTo>
                      <a:lnTo>
                        <a:pt x="5471" y="3652"/>
                      </a:lnTo>
                      <a:lnTo>
                        <a:pt x="5467" y="3635"/>
                      </a:lnTo>
                      <a:lnTo>
                        <a:pt x="5463" y="3618"/>
                      </a:lnTo>
                      <a:lnTo>
                        <a:pt x="5461" y="3601"/>
                      </a:lnTo>
                      <a:lnTo>
                        <a:pt x="5459" y="3584"/>
                      </a:lnTo>
                      <a:lnTo>
                        <a:pt x="5457" y="3566"/>
                      </a:lnTo>
                      <a:lnTo>
                        <a:pt x="5457" y="3548"/>
                      </a:lnTo>
                      <a:lnTo>
                        <a:pt x="5457" y="3498"/>
                      </a:lnTo>
                      <a:lnTo>
                        <a:pt x="5457" y="3420"/>
                      </a:lnTo>
                      <a:lnTo>
                        <a:pt x="5457" y="3320"/>
                      </a:lnTo>
                      <a:lnTo>
                        <a:pt x="5457" y="3201"/>
                      </a:lnTo>
                      <a:lnTo>
                        <a:pt x="5457" y="3067"/>
                      </a:lnTo>
                      <a:lnTo>
                        <a:pt x="5457" y="2923"/>
                      </a:lnTo>
                      <a:lnTo>
                        <a:pt x="5457" y="2773"/>
                      </a:lnTo>
                      <a:lnTo>
                        <a:pt x="5457" y="2622"/>
                      </a:lnTo>
                      <a:lnTo>
                        <a:pt x="5457" y="2472"/>
                      </a:lnTo>
                      <a:lnTo>
                        <a:pt x="5457" y="2329"/>
                      </a:lnTo>
                      <a:lnTo>
                        <a:pt x="5457" y="2197"/>
                      </a:lnTo>
                      <a:lnTo>
                        <a:pt x="5457" y="2079"/>
                      </a:lnTo>
                      <a:lnTo>
                        <a:pt x="5457" y="1980"/>
                      </a:lnTo>
                      <a:lnTo>
                        <a:pt x="5457" y="1903"/>
                      </a:lnTo>
                      <a:lnTo>
                        <a:pt x="5457" y="1855"/>
                      </a:lnTo>
                      <a:lnTo>
                        <a:pt x="5457" y="1838"/>
                      </a:lnTo>
                      <a:lnTo>
                        <a:pt x="3278" y="2009"/>
                      </a:lnTo>
                      <a:lnTo>
                        <a:pt x="3274" y="2031"/>
                      </a:lnTo>
                      <a:lnTo>
                        <a:pt x="3263" y="2085"/>
                      </a:lnTo>
                      <a:lnTo>
                        <a:pt x="3252" y="2121"/>
                      </a:lnTo>
                      <a:lnTo>
                        <a:pt x="3240" y="2163"/>
                      </a:lnTo>
                      <a:lnTo>
                        <a:pt x="3226" y="2208"/>
                      </a:lnTo>
                      <a:lnTo>
                        <a:pt x="3206" y="2255"/>
                      </a:lnTo>
                      <a:lnTo>
                        <a:pt x="3197" y="2280"/>
                      </a:lnTo>
                      <a:lnTo>
                        <a:pt x="3185" y="2304"/>
                      </a:lnTo>
                      <a:lnTo>
                        <a:pt x="3173" y="2328"/>
                      </a:lnTo>
                      <a:lnTo>
                        <a:pt x="3160" y="2352"/>
                      </a:lnTo>
                      <a:lnTo>
                        <a:pt x="3146" y="2375"/>
                      </a:lnTo>
                      <a:lnTo>
                        <a:pt x="3131" y="2398"/>
                      </a:lnTo>
                      <a:lnTo>
                        <a:pt x="3115" y="2420"/>
                      </a:lnTo>
                      <a:lnTo>
                        <a:pt x="3099" y="2441"/>
                      </a:lnTo>
                      <a:lnTo>
                        <a:pt x="3081" y="2462"/>
                      </a:lnTo>
                      <a:lnTo>
                        <a:pt x="3062" y="2481"/>
                      </a:lnTo>
                      <a:lnTo>
                        <a:pt x="3042" y="2499"/>
                      </a:lnTo>
                      <a:lnTo>
                        <a:pt x="3021" y="2515"/>
                      </a:lnTo>
                      <a:lnTo>
                        <a:pt x="2999" y="2530"/>
                      </a:lnTo>
                      <a:lnTo>
                        <a:pt x="2976" y="2542"/>
                      </a:lnTo>
                      <a:lnTo>
                        <a:pt x="2951" y="2553"/>
                      </a:lnTo>
                      <a:lnTo>
                        <a:pt x="2926" y="2562"/>
                      </a:lnTo>
                      <a:lnTo>
                        <a:pt x="2896" y="2570"/>
                      </a:lnTo>
                      <a:lnTo>
                        <a:pt x="2862" y="2578"/>
                      </a:lnTo>
                      <a:lnTo>
                        <a:pt x="2823" y="2586"/>
                      </a:lnTo>
                      <a:lnTo>
                        <a:pt x="2778" y="2595"/>
                      </a:lnTo>
                      <a:lnTo>
                        <a:pt x="2679" y="2612"/>
                      </a:lnTo>
                      <a:lnTo>
                        <a:pt x="2565" y="2629"/>
                      </a:lnTo>
                      <a:lnTo>
                        <a:pt x="2442" y="2647"/>
                      </a:lnTo>
                      <a:lnTo>
                        <a:pt x="2313" y="2664"/>
                      </a:lnTo>
                      <a:lnTo>
                        <a:pt x="2180" y="2681"/>
                      </a:lnTo>
                      <a:lnTo>
                        <a:pt x="2048" y="2697"/>
                      </a:lnTo>
                      <a:lnTo>
                        <a:pt x="1918" y="2712"/>
                      </a:lnTo>
                      <a:lnTo>
                        <a:pt x="1795" y="2725"/>
                      </a:lnTo>
                      <a:lnTo>
                        <a:pt x="1682" y="2738"/>
                      </a:lnTo>
                      <a:lnTo>
                        <a:pt x="1582" y="2749"/>
                      </a:lnTo>
                      <a:lnTo>
                        <a:pt x="1498" y="2757"/>
                      </a:lnTo>
                      <a:lnTo>
                        <a:pt x="1434" y="2765"/>
                      </a:lnTo>
                      <a:lnTo>
                        <a:pt x="1394" y="2769"/>
                      </a:lnTo>
                      <a:lnTo>
                        <a:pt x="1379" y="2770"/>
                      </a:lnTo>
                      <a:lnTo>
                        <a:pt x="1366" y="2769"/>
                      </a:lnTo>
                      <a:lnTo>
                        <a:pt x="1330" y="2766"/>
                      </a:lnTo>
                      <a:lnTo>
                        <a:pt x="1304" y="2762"/>
                      </a:lnTo>
                      <a:lnTo>
                        <a:pt x="1276" y="2756"/>
                      </a:lnTo>
                      <a:lnTo>
                        <a:pt x="1243" y="2749"/>
                      </a:lnTo>
                      <a:lnTo>
                        <a:pt x="1208" y="2739"/>
                      </a:lnTo>
                      <a:lnTo>
                        <a:pt x="1171" y="2728"/>
                      </a:lnTo>
                      <a:lnTo>
                        <a:pt x="1131" y="2713"/>
                      </a:lnTo>
                      <a:lnTo>
                        <a:pt x="1111" y="2704"/>
                      </a:lnTo>
                      <a:lnTo>
                        <a:pt x="1091" y="2696"/>
                      </a:lnTo>
                      <a:lnTo>
                        <a:pt x="1072" y="2685"/>
                      </a:lnTo>
                      <a:lnTo>
                        <a:pt x="1051" y="2674"/>
                      </a:lnTo>
                      <a:lnTo>
                        <a:pt x="1031" y="2663"/>
                      </a:lnTo>
                      <a:lnTo>
                        <a:pt x="1011" y="2650"/>
                      </a:lnTo>
                      <a:lnTo>
                        <a:pt x="992" y="2636"/>
                      </a:lnTo>
                      <a:lnTo>
                        <a:pt x="973" y="2622"/>
                      </a:lnTo>
                      <a:lnTo>
                        <a:pt x="954" y="2606"/>
                      </a:lnTo>
                      <a:lnTo>
                        <a:pt x="936" y="2589"/>
                      </a:lnTo>
                      <a:lnTo>
                        <a:pt x="917" y="2572"/>
                      </a:lnTo>
                      <a:lnTo>
                        <a:pt x="900" y="2553"/>
                      </a:lnTo>
                      <a:lnTo>
                        <a:pt x="868" y="2515"/>
                      </a:lnTo>
                      <a:lnTo>
                        <a:pt x="839" y="2479"/>
                      </a:lnTo>
                      <a:lnTo>
                        <a:pt x="813" y="2443"/>
                      </a:lnTo>
                      <a:lnTo>
                        <a:pt x="791" y="2412"/>
                      </a:lnTo>
                      <a:lnTo>
                        <a:pt x="772" y="2381"/>
                      </a:lnTo>
                      <a:lnTo>
                        <a:pt x="755" y="2353"/>
                      </a:lnTo>
                      <a:lnTo>
                        <a:pt x="740" y="2326"/>
                      </a:lnTo>
                      <a:lnTo>
                        <a:pt x="728" y="2303"/>
                      </a:lnTo>
                      <a:lnTo>
                        <a:pt x="719" y="2282"/>
                      </a:lnTo>
                      <a:lnTo>
                        <a:pt x="710" y="2263"/>
                      </a:lnTo>
                      <a:lnTo>
                        <a:pt x="704" y="2247"/>
                      </a:lnTo>
                      <a:lnTo>
                        <a:pt x="700" y="2234"/>
                      </a:lnTo>
                      <a:lnTo>
                        <a:pt x="693" y="2215"/>
                      </a:lnTo>
                      <a:lnTo>
                        <a:pt x="692" y="2209"/>
                      </a:lnTo>
                      <a:lnTo>
                        <a:pt x="689" y="2085"/>
                      </a:lnTo>
                      <a:lnTo>
                        <a:pt x="830" y="1948"/>
                      </a:lnTo>
                      <a:lnTo>
                        <a:pt x="768" y="1021"/>
                      </a:lnTo>
                      <a:lnTo>
                        <a:pt x="511" y="943"/>
                      </a:lnTo>
                      <a:lnTo>
                        <a:pt x="504" y="937"/>
                      </a:lnTo>
                      <a:lnTo>
                        <a:pt x="485" y="921"/>
                      </a:lnTo>
                      <a:lnTo>
                        <a:pt x="458" y="897"/>
                      </a:lnTo>
                      <a:lnTo>
                        <a:pt x="425" y="866"/>
                      </a:lnTo>
                      <a:lnTo>
                        <a:pt x="408" y="848"/>
                      </a:lnTo>
                      <a:lnTo>
                        <a:pt x="391" y="830"/>
                      </a:lnTo>
                      <a:lnTo>
                        <a:pt x="374" y="810"/>
                      </a:lnTo>
                      <a:lnTo>
                        <a:pt x="358" y="789"/>
                      </a:lnTo>
                      <a:lnTo>
                        <a:pt x="344" y="769"/>
                      </a:lnTo>
                      <a:lnTo>
                        <a:pt x="332" y="749"/>
                      </a:lnTo>
                      <a:lnTo>
                        <a:pt x="325" y="738"/>
                      </a:lnTo>
                      <a:lnTo>
                        <a:pt x="320" y="728"/>
                      </a:lnTo>
                      <a:lnTo>
                        <a:pt x="316" y="717"/>
                      </a:lnTo>
                      <a:lnTo>
                        <a:pt x="313" y="707"/>
                      </a:lnTo>
                      <a:lnTo>
                        <a:pt x="301" y="669"/>
                      </a:lnTo>
                      <a:lnTo>
                        <a:pt x="291" y="636"/>
                      </a:lnTo>
                      <a:lnTo>
                        <a:pt x="285" y="608"/>
                      </a:lnTo>
                      <a:lnTo>
                        <a:pt x="281" y="585"/>
                      </a:lnTo>
                      <a:lnTo>
                        <a:pt x="279" y="567"/>
                      </a:lnTo>
                      <a:lnTo>
                        <a:pt x="276" y="554"/>
                      </a:lnTo>
                      <a:lnTo>
                        <a:pt x="276" y="547"/>
                      </a:lnTo>
                      <a:lnTo>
                        <a:pt x="276" y="545"/>
                      </a:lnTo>
                      <a:lnTo>
                        <a:pt x="0" y="493"/>
                      </a:lnTo>
                      <a:close/>
                      <a:moveTo>
                        <a:pt x="1208" y="1116"/>
                      </a:moveTo>
                      <a:lnTo>
                        <a:pt x="1894" y="1205"/>
                      </a:lnTo>
                      <a:lnTo>
                        <a:pt x="2601" y="1652"/>
                      </a:lnTo>
                      <a:lnTo>
                        <a:pt x="2595" y="1817"/>
                      </a:lnTo>
                      <a:lnTo>
                        <a:pt x="1276" y="1914"/>
                      </a:lnTo>
                      <a:lnTo>
                        <a:pt x="1208" y="1116"/>
                      </a:lnTo>
                      <a:close/>
                      <a:moveTo>
                        <a:pt x="14533" y="1838"/>
                      </a:moveTo>
                      <a:lnTo>
                        <a:pt x="15819" y="1936"/>
                      </a:lnTo>
                      <a:lnTo>
                        <a:pt x="15817" y="1945"/>
                      </a:lnTo>
                      <a:lnTo>
                        <a:pt x="15811" y="1965"/>
                      </a:lnTo>
                      <a:lnTo>
                        <a:pt x="15805" y="1979"/>
                      </a:lnTo>
                      <a:lnTo>
                        <a:pt x="15800" y="1995"/>
                      </a:lnTo>
                      <a:lnTo>
                        <a:pt x="15793" y="2011"/>
                      </a:lnTo>
                      <a:lnTo>
                        <a:pt x="15783" y="2026"/>
                      </a:lnTo>
                      <a:lnTo>
                        <a:pt x="15774" y="2042"/>
                      </a:lnTo>
                      <a:lnTo>
                        <a:pt x="15761" y="2058"/>
                      </a:lnTo>
                      <a:lnTo>
                        <a:pt x="15754" y="2066"/>
                      </a:lnTo>
                      <a:lnTo>
                        <a:pt x="15748" y="2072"/>
                      </a:lnTo>
                      <a:lnTo>
                        <a:pt x="15741" y="2079"/>
                      </a:lnTo>
                      <a:lnTo>
                        <a:pt x="15733" y="2084"/>
                      </a:lnTo>
                      <a:lnTo>
                        <a:pt x="15725" y="2089"/>
                      </a:lnTo>
                      <a:lnTo>
                        <a:pt x="15716" y="2093"/>
                      </a:lnTo>
                      <a:lnTo>
                        <a:pt x="15708" y="2097"/>
                      </a:lnTo>
                      <a:lnTo>
                        <a:pt x="15698" y="2099"/>
                      </a:lnTo>
                      <a:lnTo>
                        <a:pt x="15689" y="2101"/>
                      </a:lnTo>
                      <a:lnTo>
                        <a:pt x="15678" y="2101"/>
                      </a:lnTo>
                      <a:lnTo>
                        <a:pt x="15667" y="2101"/>
                      </a:lnTo>
                      <a:lnTo>
                        <a:pt x="15657" y="2099"/>
                      </a:lnTo>
                      <a:lnTo>
                        <a:pt x="15624" y="2093"/>
                      </a:lnTo>
                      <a:lnTo>
                        <a:pt x="15576" y="2087"/>
                      </a:lnTo>
                      <a:lnTo>
                        <a:pt x="15512" y="2080"/>
                      </a:lnTo>
                      <a:lnTo>
                        <a:pt x="15438" y="2072"/>
                      </a:lnTo>
                      <a:lnTo>
                        <a:pt x="15355" y="2064"/>
                      </a:lnTo>
                      <a:lnTo>
                        <a:pt x="15265" y="2055"/>
                      </a:lnTo>
                      <a:lnTo>
                        <a:pt x="15172" y="2046"/>
                      </a:lnTo>
                      <a:lnTo>
                        <a:pt x="15077" y="2037"/>
                      </a:lnTo>
                      <a:lnTo>
                        <a:pt x="14984" y="2029"/>
                      </a:lnTo>
                      <a:lnTo>
                        <a:pt x="14895" y="2020"/>
                      </a:lnTo>
                      <a:lnTo>
                        <a:pt x="14813" y="2013"/>
                      </a:lnTo>
                      <a:lnTo>
                        <a:pt x="14739" y="2006"/>
                      </a:lnTo>
                      <a:lnTo>
                        <a:pt x="14678" y="2001"/>
                      </a:lnTo>
                      <a:lnTo>
                        <a:pt x="14631" y="1997"/>
                      </a:lnTo>
                      <a:lnTo>
                        <a:pt x="14601" y="1994"/>
                      </a:lnTo>
                      <a:lnTo>
                        <a:pt x="14590" y="1994"/>
                      </a:lnTo>
                      <a:lnTo>
                        <a:pt x="14533" y="1838"/>
                      </a:lnTo>
                      <a:close/>
                      <a:moveTo>
                        <a:pt x="14557" y="1651"/>
                      </a:moveTo>
                      <a:lnTo>
                        <a:pt x="15811" y="1733"/>
                      </a:lnTo>
                      <a:lnTo>
                        <a:pt x="15860" y="1007"/>
                      </a:lnTo>
                      <a:lnTo>
                        <a:pt x="15192" y="1081"/>
                      </a:lnTo>
                      <a:lnTo>
                        <a:pt x="14549" y="1504"/>
                      </a:lnTo>
                      <a:lnTo>
                        <a:pt x="14557" y="1651"/>
                      </a:lnTo>
                      <a:close/>
                      <a:moveTo>
                        <a:pt x="12376" y="1529"/>
                      </a:moveTo>
                      <a:lnTo>
                        <a:pt x="13914" y="1627"/>
                      </a:lnTo>
                      <a:lnTo>
                        <a:pt x="13947" y="1277"/>
                      </a:lnTo>
                      <a:lnTo>
                        <a:pt x="12376" y="1529"/>
                      </a:lnTo>
                      <a:close/>
                      <a:moveTo>
                        <a:pt x="11017" y="1773"/>
                      </a:moveTo>
                      <a:lnTo>
                        <a:pt x="11815" y="1773"/>
                      </a:lnTo>
                      <a:lnTo>
                        <a:pt x="11799" y="3516"/>
                      </a:lnTo>
                      <a:lnTo>
                        <a:pt x="11147" y="3092"/>
                      </a:lnTo>
                      <a:lnTo>
                        <a:pt x="11142" y="3085"/>
                      </a:lnTo>
                      <a:lnTo>
                        <a:pt x="11126" y="3063"/>
                      </a:lnTo>
                      <a:lnTo>
                        <a:pt x="11115" y="3047"/>
                      </a:lnTo>
                      <a:lnTo>
                        <a:pt x="11103" y="3027"/>
                      </a:lnTo>
                      <a:lnTo>
                        <a:pt x="11092" y="3005"/>
                      </a:lnTo>
                      <a:lnTo>
                        <a:pt x="11079" y="2981"/>
                      </a:lnTo>
                      <a:lnTo>
                        <a:pt x="11066" y="2953"/>
                      </a:lnTo>
                      <a:lnTo>
                        <a:pt x="11054" y="2924"/>
                      </a:lnTo>
                      <a:lnTo>
                        <a:pt x="11044" y="2892"/>
                      </a:lnTo>
                      <a:lnTo>
                        <a:pt x="11034" y="2859"/>
                      </a:lnTo>
                      <a:lnTo>
                        <a:pt x="11030" y="2841"/>
                      </a:lnTo>
                      <a:lnTo>
                        <a:pt x="11026" y="2823"/>
                      </a:lnTo>
                      <a:lnTo>
                        <a:pt x="11022" y="2805"/>
                      </a:lnTo>
                      <a:lnTo>
                        <a:pt x="11020" y="2787"/>
                      </a:lnTo>
                      <a:lnTo>
                        <a:pt x="11018" y="2768"/>
                      </a:lnTo>
                      <a:lnTo>
                        <a:pt x="11017" y="2749"/>
                      </a:lnTo>
                      <a:lnTo>
                        <a:pt x="11016" y="2730"/>
                      </a:lnTo>
                      <a:lnTo>
                        <a:pt x="11017" y="2709"/>
                      </a:lnTo>
                      <a:lnTo>
                        <a:pt x="11018" y="2665"/>
                      </a:lnTo>
                      <a:lnTo>
                        <a:pt x="11019" y="2608"/>
                      </a:lnTo>
                      <a:lnTo>
                        <a:pt x="11019" y="2545"/>
                      </a:lnTo>
                      <a:lnTo>
                        <a:pt x="11020" y="2474"/>
                      </a:lnTo>
                      <a:lnTo>
                        <a:pt x="11020" y="2399"/>
                      </a:lnTo>
                      <a:lnTo>
                        <a:pt x="11020" y="2320"/>
                      </a:lnTo>
                      <a:lnTo>
                        <a:pt x="11020" y="2241"/>
                      </a:lnTo>
                      <a:lnTo>
                        <a:pt x="11020" y="2162"/>
                      </a:lnTo>
                      <a:lnTo>
                        <a:pt x="11019" y="2086"/>
                      </a:lnTo>
                      <a:lnTo>
                        <a:pt x="11019" y="2014"/>
                      </a:lnTo>
                      <a:lnTo>
                        <a:pt x="11018" y="1948"/>
                      </a:lnTo>
                      <a:lnTo>
                        <a:pt x="11018" y="1889"/>
                      </a:lnTo>
                      <a:lnTo>
                        <a:pt x="11017" y="1841"/>
                      </a:lnTo>
                      <a:lnTo>
                        <a:pt x="11017" y="1805"/>
                      </a:lnTo>
                      <a:lnTo>
                        <a:pt x="11017" y="1782"/>
                      </a:lnTo>
                      <a:lnTo>
                        <a:pt x="11017" y="1773"/>
                      </a:lnTo>
                      <a:close/>
                      <a:moveTo>
                        <a:pt x="6481" y="1773"/>
                      </a:moveTo>
                      <a:lnTo>
                        <a:pt x="5876" y="1773"/>
                      </a:lnTo>
                      <a:lnTo>
                        <a:pt x="5888" y="3559"/>
                      </a:lnTo>
                      <a:lnTo>
                        <a:pt x="6382" y="3125"/>
                      </a:lnTo>
                      <a:lnTo>
                        <a:pt x="6386" y="3117"/>
                      </a:lnTo>
                      <a:lnTo>
                        <a:pt x="6398" y="3094"/>
                      </a:lnTo>
                      <a:lnTo>
                        <a:pt x="6406" y="3077"/>
                      </a:lnTo>
                      <a:lnTo>
                        <a:pt x="6415" y="3058"/>
                      </a:lnTo>
                      <a:lnTo>
                        <a:pt x="6424" y="3036"/>
                      </a:lnTo>
                      <a:lnTo>
                        <a:pt x="6434" y="3010"/>
                      </a:lnTo>
                      <a:lnTo>
                        <a:pt x="6443" y="2983"/>
                      </a:lnTo>
                      <a:lnTo>
                        <a:pt x="6452" y="2952"/>
                      </a:lnTo>
                      <a:lnTo>
                        <a:pt x="6461" y="2920"/>
                      </a:lnTo>
                      <a:lnTo>
                        <a:pt x="6468" y="2886"/>
                      </a:lnTo>
                      <a:lnTo>
                        <a:pt x="6473" y="2850"/>
                      </a:lnTo>
                      <a:lnTo>
                        <a:pt x="6479" y="2812"/>
                      </a:lnTo>
                      <a:lnTo>
                        <a:pt x="6480" y="2792"/>
                      </a:lnTo>
                      <a:lnTo>
                        <a:pt x="6481" y="2773"/>
                      </a:lnTo>
                      <a:lnTo>
                        <a:pt x="6481" y="2753"/>
                      </a:lnTo>
                      <a:lnTo>
                        <a:pt x="6481" y="2733"/>
                      </a:lnTo>
                      <a:lnTo>
                        <a:pt x="6480" y="2686"/>
                      </a:lnTo>
                      <a:lnTo>
                        <a:pt x="6479" y="2630"/>
                      </a:lnTo>
                      <a:lnTo>
                        <a:pt x="6479" y="2564"/>
                      </a:lnTo>
                      <a:lnTo>
                        <a:pt x="6478" y="2491"/>
                      </a:lnTo>
                      <a:lnTo>
                        <a:pt x="6478" y="2414"/>
                      </a:lnTo>
                      <a:lnTo>
                        <a:pt x="6478" y="2334"/>
                      </a:lnTo>
                      <a:lnTo>
                        <a:pt x="6478" y="2252"/>
                      </a:lnTo>
                      <a:lnTo>
                        <a:pt x="6479" y="2171"/>
                      </a:lnTo>
                      <a:lnTo>
                        <a:pt x="6479" y="2093"/>
                      </a:lnTo>
                      <a:lnTo>
                        <a:pt x="6479" y="2020"/>
                      </a:lnTo>
                      <a:lnTo>
                        <a:pt x="6480" y="1952"/>
                      </a:lnTo>
                      <a:lnTo>
                        <a:pt x="6480" y="1892"/>
                      </a:lnTo>
                      <a:lnTo>
                        <a:pt x="6480" y="1844"/>
                      </a:lnTo>
                      <a:lnTo>
                        <a:pt x="6481" y="1805"/>
                      </a:lnTo>
                      <a:lnTo>
                        <a:pt x="6481" y="1782"/>
                      </a:lnTo>
                      <a:lnTo>
                        <a:pt x="6481" y="1773"/>
                      </a:lnTo>
                      <a:close/>
                      <a:moveTo>
                        <a:pt x="1303" y="2202"/>
                      </a:moveTo>
                      <a:lnTo>
                        <a:pt x="2588" y="2051"/>
                      </a:lnTo>
                      <a:lnTo>
                        <a:pt x="2589" y="2054"/>
                      </a:lnTo>
                      <a:lnTo>
                        <a:pt x="2588" y="2062"/>
                      </a:lnTo>
                      <a:lnTo>
                        <a:pt x="2586" y="2072"/>
                      </a:lnTo>
                      <a:lnTo>
                        <a:pt x="2581" y="2085"/>
                      </a:lnTo>
                      <a:lnTo>
                        <a:pt x="2577" y="2092"/>
                      </a:lnTo>
                      <a:lnTo>
                        <a:pt x="2573" y="2100"/>
                      </a:lnTo>
                      <a:lnTo>
                        <a:pt x="2566" y="2107"/>
                      </a:lnTo>
                      <a:lnTo>
                        <a:pt x="2559" y="2115"/>
                      </a:lnTo>
                      <a:lnTo>
                        <a:pt x="2550" y="2122"/>
                      </a:lnTo>
                      <a:lnTo>
                        <a:pt x="2540" y="2129"/>
                      </a:lnTo>
                      <a:lnTo>
                        <a:pt x="2527" y="2135"/>
                      </a:lnTo>
                      <a:lnTo>
                        <a:pt x="2512" y="2140"/>
                      </a:lnTo>
                      <a:lnTo>
                        <a:pt x="2487" y="2147"/>
                      </a:lnTo>
                      <a:lnTo>
                        <a:pt x="2443" y="2155"/>
                      </a:lnTo>
                      <a:lnTo>
                        <a:pt x="2385" y="2165"/>
                      </a:lnTo>
                      <a:lnTo>
                        <a:pt x="2312" y="2176"/>
                      </a:lnTo>
                      <a:lnTo>
                        <a:pt x="2230" y="2189"/>
                      </a:lnTo>
                      <a:lnTo>
                        <a:pt x="2142" y="2202"/>
                      </a:lnTo>
                      <a:lnTo>
                        <a:pt x="2048" y="2216"/>
                      </a:lnTo>
                      <a:lnTo>
                        <a:pt x="1953" y="2230"/>
                      </a:lnTo>
                      <a:lnTo>
                        <a:pt x="1858" y="2243"/>
                      </a:lnTo>
                      <a:lnTo>
                        <a:pt x="1768" y="2256"/>
                      </a:lnTo>
                      <a:lnTo>
                        <a:pt x="1684" y="2267"/>
                      </a:lnTo>
                      <a:lnTo>
                        <a:pt x="1609" y="2278"/>
                      </a:lnTo>
                      <a:lnTo>
                        <a:pt x="1546" y="2286"/>
                      </a:lnTo>
                      <a:lnTo>
                        <a:pt x="1497" y="2292"/>
                      </a:lnTo>
                      <a:lnTo>
                        <a:pt x="1466" y="2297"/>
                      </a:lnTo>
                      <a:lnTo>
                        <a:pt x="1454" y="2299"/>
                      </a:lnTo>
                      <a:lnTo>
                        <a:pt x="1437" y="2298"/>
                      </a:lnTo>
                      <a:lnTo>
                        <a:pt x="1398" y="2293"/>
                      </a:lnTo>
                      <a:lnTo>
                        <a:pt x="1387" y="2291"/>
                      </a:lnTo>
                      <a:lnTo>
                        <a:pt x="1377" y="2288"/>
                      </a:lnTo>
                      <a:lnTo>
                        <a:pt x="1366" y="2285"/>
                      </a:lnTo>
                      <a:lnTo>
                        <a:pt x="1357" y="2281"/>
                      </a:lnTo>
                      <a:lnTo>
                        <a:pt x="1348" y="2276"/>
                      </a:lnTo>
                      <a:lnTo>
                        <a:pt x="1341" y="2271"/>
                      </a:lnTo>
                      <a:lnTo>
                        <a:pt x="1337" y="2268"/>
                      </a:lnTo>
                      <a:lnTo>
                        <a:pt x="1335" y="2265"/>
                      </a:lnTo>
                      <a:lnTo>
                        <a:pt x="1333" y="2261"/>
                      </a:lnTo>
                      <a:lnTo>
                        <a:pt x="1331" y="2257"/>
                      </a:lnTo>
                      <a:lnTo>
                        <a:pt x="1326" y="2243"/>
                      </a:lnTo>
                      <a:lnTo>
                        <a:pt x="1321" y="2232"/>
                      </a:lnTo>
                      <a:lnTo>
                        <a:pt x="1316" y="2222"/>
                      </a:lnTo>
                      <a:lnTo>
                        <a:pt x="1312" y="2215"/>
                      </a:lnTo>
                      <a:lnTo>
                        <a:pt x="1307" y="2205"/>
                      </a:lnTo>
                      <a:lnTo>
                        <a:pt x="1303" y="220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1" name="Freeform 7"/>
                <p:cNvSpPr>
                  <a:spLocks noEditPoints="1"/>
                </p:cNvSpPr>
                <p:nvPr/>
              </p:nvSpPr>
              <p:spPr bwMode="auto">
                <a:xfrm>
                  <a:off x="9586913" y="3060700"/>
                  <a:ext cx="1512889" cy="342901"/>
                </a:xfrm>
                <a:custGeom>
                  <a:avLst/>
                  <a:gdLst/>
                  <a:ahLst/>
                  <a:cxnLst>
                    <a:cxn ang="0">
                      <a:pos x="12983" y="15"/>
                    </a:cxn>
                    <a:cxn ang="0">
                      <a:pos x="13125" y="80"/>
                    </a:cxn>
                    <a:cxn ang="0">
                      <a:pos x="13238" y="187"/>
                    </a:cxn>
                    <a:cxn ang="0">
                      <a:pos x="13309" y="327"/>
                    </a:cxn>
                    <a:cxn ang="0">
                      <a:pos x="13330" y="2696"/>
                    </a:cxn>
                    <a:cxn ang="0">
                      <a:pos x="12299" y="2713"/>
                    </a:cxn>
                    <a:cxn ang="0">
                      <a:pos x="11963" y="2746"/>
                    </a:cxn>
                    <a:cxn ang="0">
                      <a:pos x="10964" y="2808"/>
                    </a:cxn>
                    <a:cxn ang="0">
                      <a:pos x="9474" y="2891"/>
                    </a:cxn>
                    <a:cxn ang="0">
                      <a:pos x="8162" y="2957"/>
                    </a:cxn>
                    <a:cxn ang="0">
                      <a:pos x="7295" y="2994"/>
                    </a:cxn>
                    <a:cxn ang="0">
                      <a:pos x="6428" y="3021"/>
                    </a:cxn>
                    <a:cxn ang="0">
                      <a:pos x="5784" y="3017"/>
                    </a:cxn>
                    <a:cxn ang="0">
                      <a:pos x="5142" y="2996"/>
                    </a:cxn>
                    <a:cxn ang="0">
                      <a:pos x="3825" y="2933"/>
                    </a:cxn>
                    <a:cxn ang="0">
                      <a:pos x="2239" y="2842"/>
                    </a:cxn>
                    <a:cxn ang="0">
                      <a:pos x="1229" y="2779"/>
                    </a:cxn>
                    <a:cxn ang="0">
                      <a:pos x="923" y="2776"/>
                    </a:cxn>
                    <a:cxn ang="0">
                      <a:pos x="463" y="2809"/>
                    </a:cxn>
                    <a:cxn ang="0">
                      <a:pos x="4" y="2842"/>
                    </a:cxn>
                    <a:cxn ang="0">
                      <a:pos x="2" y="417"/>
                    </a:cxn>
                    <a:cxn ang="0">
                      <a:pos x="45" y="263"/>
                    </a:cxn>
                    <a:cxn ang="0">
                      <a:pos x="136" y="136"/>
                    </a:cxn>
                    <a:cxn ang="0">
                      <a:pos x="262" y="46"/>
                    </a:cxn>
                    <a:cxn ang="0">
                      <a:pos x="416" y="2"/>
                    </a:cxn>
                    <a:cxn ang="0">
                      <a:pos x="6288" y="165"/>
                    </a:cxn>
                    <a:cxn ang="0">
                      <a:pos x="6323" y="197"/>
                    </a:cxn>
                    <a:cxn ang="0">
                      <a:pos x="6331" y="246"/>
                    </a:cxn>
                    <a:cxn ang="0">
                      <a:pos x="6306" y="286"/>
                    </a:cxn>
                    <a:cxn ang="0">
                      <a:pos x="6260" y="303"/>
                    </a:cxn>
                    <a:cxn ang="0">
                      <a:pos x="6215" y="286"/>
                    </a:cxn>
                    <a:cxn ang="0">
                      <a:pos x="6190" y="246"/>
                    </a:cxn>
                    <a:cxn ang="0">
                      <a:pos x="6198" y="197"/>
                    </a:cxn>
                    <a:cxn ang="0">
                      <a:pos x="6233" y="165"/>
                    </a:cxn>
                    <a:cxn ang="0">
                      <a:pos x="6679" y="161"/>
                    </a:cxn>
                    <a:cxn ang="0">
                      <a:pos x="6721" y="186"/>
                    </a:cxn>
                    <a:cxn ang="0">
                      <a:pos x="6737" y="231"/>
                    </a:cxn>
                    <a:cxn ang="0">
                      <a:pos x="6721" y="277"/>
                    </a:cxn>
                    <a:cxn ang="0">
                      <a:pos x="6679" y="301"/>
                    </a:cxn>
                    <a:cxn ang="0">
                      <a:pos x="6631" y="295"/>
                    </a:cxn>
                    <a:cxn ang="0">
                      <a:pos x="6600" y="260"/>
                    </a:cxn>
                    <a:cxn ang="0">
                      <a:pos x="6596" y="210"/>
                    </a:cxn>
                    <a:cxn ang="0">
                      <a:pos x="6625" y="172"/>
                    </a:cxn>
                    <a:cxn ang="0">
                      <a:pos x="7069" y="160"/>
                    </a:cxn>
                    <a:cxn ang="0">
                      <a:pos x="7115" y="177"/>
                    </a:cxn>
                    <a:cxn ang="0">
                      <a:pos x="7140" y="217"/>
                    </a:cxn>
                    <a:cxn ang="0">
                      <a:pos x="7132" y="265"/>
                    </a:cxn>
                    <a:cxn ang="0">
                      <a:pos x="7098" y="297"/>
                    </a:cxn>
                    <a:cxn ang="0">
                      <a:pos x="7048" y="300"/>
                    </a:cxn>
                    <a:cxn ang="0">
                      <a:pos x="7011" y="271"/>
                    </a:cxn>
                    <a:cxn ang="0">
                      <a:pos x="6998" y="224"/>
                    </a:cxn>
                    <a:cxn ang="0">
                      <a:pos x="7019" y="181"/>
                    </a:cxn>
                    <a:cxn ang="0">
                      <a:pos x="7062" y="160"/>
                    </a:cxn>
                    <a:cxn ang="0">
                      <a:pos x="589" y="468"/>
                    </a:cxn>
                    <a:cxn ang="0">
                      <a:pos x="8587" y="2531"/>
                    </a:cxn>
                    <a:cxn ang="0">
                      <a:pos x="8898" y="468"/>
                    </a:cxn>
                  </a:cxnLst>
                  <a:rect l="0" t="0" r="r" b="b"/>
                  <a:pathLst>
                    <a:path w="13330" h="3022">
                      <a:moveTo>
                        <a:pt x="463" y="0"/>
                      </a:moveTo>
                      <a:lnTo>
                        <a:pt x="12867" y="0"/>
                      </a:lnTo>
                      <a:lnTo>
                        <a:pt x="12891" y="1"/>
                      </a:lnTo>
                      <a:lnTo>
                        <a:pt x="12914" y="2"/>
                      </a:lnTo>
                      <a:lnTo>
                        <a:pt x="12937" y="5"/>
                      </a:lnTo>
                      <a:lnTo>
                        <a:pt x="12960" y="10"/>
                      </a:lnTo>
                      <a:lnTo>
                        <a:pt x="12983" y="15"/>
                      </a:lnTo>
                      <a:lnTo>
                        <a:pt x="13004" y="21"/>
                      </a:lnTo>
                      <a:lnTo>
                        <a:pt x="13026" y="29"/>
                      </a:lnTo>
                      <a:lnTo>
                        <a:pt x="13046" y="36"/>
                      </a:lnTo>
                      <a:lnTo>
                        <a:pt x="13068" y="46"/>
                      </a:lnTo>
                      <a:lnTo>
                        <a:pt x="13088" y="56"/>
                      </a:lnTo>
                      <a:lnTo>
                        <a:pt x="13107" y="67"/>
                      </a:lnTo>
                      <a:lnTo>
                        <a:pt x="13125" y="80"/>
                      </a:lnTo>
                      <a:lnTo>
                        <a:pt x="13144" y="93"/>
                      </a:lnTo>
                      <a:lnTo>
                        <a:pt x="13161" y="106"/>
                      </a:lnTo>
                      <a:lnTo>
                        <a:pt x="13178" y="121"/>
                      </a:lnTo>
                      <a:lnTo>
                        <a:pt x="13194" y="136"/>
                      </a:lnTo>
                      <a:lnTo>
                        <a:pt x="13210" y="152"/>
                      </a:lnTo>
                      <a:lnTo>
                        <a:pt x="13224" y="169"/>
                      </a:lnTo>
                      <a:lnTo>
                        <a:pt x="13238" y="187"/>
                      </a:lnTo>
                      <a:lnTo>
                        <a:pt x="13250" y="205"/>
                      </a:lnTo>
                      <a:lnTo>
                        <a:pt x="13263" y="223"/>
                      </a:lnTo>
                      <a:lnTo>
                        <a:pt x="13274" y="244"/>
                      </a:lnTo>
                      <a:lnTo>
                        <a:pt x="13284" y="263"/>
                      </a:lnTo>
                      <a:lnTo>
                        <a:pt x="13294" y="284"/>
                      </a:lnTo>
                      <a:lnTo>
                        <a:pt x="13303" y="305"/>
                      </a:lnTo>
                      <a:lnTo>
                        <a:pt x="13309" y="327"/>
                      </a:lnTo>
                      <a:lnTo>
                        <a:pt x="13315" y="348"/>
                      </a:lnTo>
                      <a:lnTo>
                        <a:pt x="13321" y="370"/>
                      </a:lnTo>
                      <a:lnTo>
                        <a:pt x="13325" y="394"/>
                      </a:lnTo>
                      <a:lnTo>
                        <a:pt x="13328" y="417"/>
                      </a:lnTo>
                      <a:lnTo>
                        <a:pt x="13330" y="440"/>
                      </a:lnTo>
                      <a:lnTo>
                        <a:pt x="13330" y="464"/>
                      </a:lnTo>
                      <a:lnTo>
                        <a:pt x="13330" y="2696"/>
                      </a:lnTo>
                      <a:lnTo>
                        <a:pt x="12564" y="2668"/>
                      </a:lnTo>
                      <a:lnTo>
                        <a:pt x="12520" y="2677"/>
                      </a:lnTo>
                      <a:lnTo>
                        <a:pt x="12475" y="2686"/>
                      </a:lnTo>
                      <a:lnTo>
                        <a:pt x="12432" y="2693"/>
                      </a:lnTo>
                      <a:lnTo>
                        <a:pt x="12387" y="2700"/>
                      </a:lnTo>
                      <a:lnTo>
                        <a:pt x="12344" y="2707"/>
                      </a:lnTo>
                      <a:lnTo>
                        <a:pt x="12299" y="2713"/>
                      </a:lnTo>
                      <a:lnTo>
                        <a:pt x="12255" y="2719"/>
                      </a:lnTo>
                      <a:lnTo>
                        <a:pt x="12211" y="2724"/>
                      </a:lnTo>
                      <a:lnTo>
                        <a:pt x="12161" y="2730"/>
                      </a:lnTo>
                      <a:lnTo>
                        <a:pt x="12112" y="2734"/>
                      </a:lnTo>
                      <a:lnTo>
                        <a:pt x="12062" y="2738"/>
                      </a:lnTo>
                      <a:lnTo>
                        <a:pt x="12013" y="2741"/>
                      </a:lnTo>
                      <a:lnTo>
                        <a:pt x="11963" y="2746"/>
                      </a:lnTo>
                      <a:lnTo>
                        <a:pt x="11913" y="2749"/>
                      </a:lnTo>
                      <a:lnTo>
                        <a:pt x="11864" y="2752"/>
                      </a:lnTo>
                      <a:lnTo>
                        <a:pt x="11814" y="2755"/>
                      </a:lnTo>
                      <a:lnTo>
                        <a:pt x="11602" y="2769"/>
                      </a:lnTo>
                      <a:lnTo>
                        <a:pt x="11389" y="2783"/>
                      </a:lnTo>
                      <a:lnTo>
                        <a:pt x="11176" y="2796"/>
                      </a:lnTo>
                      <a:lnTo>
                        <a:pt x="10964" y="2808"/>
                      </a:lnTo>
                      <a:lnTo>
                        <a:pt x="10751" y="2821"/>
                      </a:lnTo>
                      <a:lnTo>
                        <a:pt x="10538" y="2834"/>
                      </a:lnTo>
                      <a:lnTo>
                        <a:pt x="10326" y="2846"/>
                      </a:lnTo>
                      <a:lnTo>
                        <a:pt x="10112" y="2857"/>
                      </a:lnTo>
                      <a:lnTo>
                        <a:pt x="9899" y="2869"/>
                      </a:lnTo>
                      <a:lnTo>
                        <a:pt x="9687" y="2881"/>
                      </a:lnTo>
                      <a:lnTo>
                        <a:pt x="9474" y="2891"/>
                      </a:lnTo>
                      <a:lnTo>
                        <a:pt x="9262" y="2903"/>
                      </a:lnTo>
                      <a:lnTo>
                        <a:pt x="9049" y="2914"/>
                      </a:lnTo>
                      <a:lnTo>
                        <a:pt x="8835" y="2924"/>
                      </a:lnTo>
                      <a:lnTo>
                        <a:pt x="8623" y="2935"/>
                      </a:lnTo>
                      <a:lnTo>
                        <a:pt x="8410" y="2946"/>
                      </a:lnTo>
                      <a:lnTo>
                        <a:pt x="8287" y="2951"/>
                      </a:lnTo>
                      <a:lnTo>
                        <a:pt x="8162" y="2957"/>
                      </a:lnTo>
                      <a:lnTo>
                        <a:pt x="8039" y="2963"/>
                      </a:lnTo>
                      <a:lnTo>
                        <a:pt x="7915" y="2968"/>
                      </a:lnTo>
                      <a:lnTo>
                        <a:pt x="7791" y="2974"/>
                      </a:lnTo>
                      <a:lnTo>
                        <a:pt x="7667" y="2980"/>
                      </a:lnTo>
                      <a:lnTo>
                        <a:pt x="7544" y="2985"/>
                      </a:lnTo>
                      <a:lnTo>
                        <a:pt x="7419" y="2990"/>
                      </a:lnTo>
                      <a:lnTo>
                        <a:pt x="7295" y="2994"/>
                      </a:lnTo>
                      <a:lnTo>
                        <a:pt x="7171" y="3000"/>
                      </a:lnTo>
                      <a:lnTo>
                        <a:pt x="7047" y="3004"/>
                      </a:lnTo>
                      <a:lnTo>
                        <a:pt x="6924" y="3008"/>
                      </a:lnTo>
                      <a:lnTo>
                        <a:pt x="6799" y="3012"/>
                      </a:lnTo>
                      <a:lnTo>
                        <a:pt x="6676" y="3016"/>
                      </a:lnTo>
                      <a:lnTo>
                        <a:pt x="6552" y="3019"/>
                      </a:lnTo>
                      <a:lnTo>
                        <a:pt x="6428" y="3021"/>
                      </a:lnTo>
                      <a:lnTo>
                        <a:pt x="6336" y="3022"/>
                      </a:lnTo>
                      <a:lnTo>
                        <a:pt x="6244" y="3022"/>
                      </a:lnTo>
                      <a:lnTo>
                        <a:pt x="6152" y="3022"/>
                      </a:lnTo>
                      <a:lnTo>
                        <a:pt x="6061" y="3022"/>
                      </a:lnTo>
                      <a:lnTo>
                        <a:pt x="5968" y="3021"/>
                      </a:lnTo>
                      <a:lnTo>
                        <a:pt x="5877" y="3019"/>
                      </a:lnTo>
                      <a:lnTo>
                        <a:pt x="5784" y="3017"/>
                      </a:lnTo>
                      <a:lnTo>
                        <a:pt x="5693" y="3015"/>
                      </a:lnTo>
                      <a:lnTo>
                        <a:pt x="5601" y="3012"/>
                      </a:lnTo>
                      <a:lnTo>
                        <a:pt x="5509" y="3009"/>
                      </a:lnTo>
                      <a:lnTo>
                        <a:pt x="5417" y="3006"/>
                      </a:lnTo>
                      <a:lnTo>
                        <a:pt x="5325" y="3003"/>
                      </a:lnTo>
                      <a:lnTo>
                        <a:pt x="5233" y="2999"/>
                      </a:lnTo>
                      <a:lnTo>
                        <a:pt x="5142" y="2996"/>
                      </a:lnTo>
                      <a:lnTo>
                        <a:pt x="5049" y="2991"/>
                      </a:lnTo>
                      <a:lnTo>
                        <a:pt x="4958" y="2988"/>
                      </a:lnTo>
                      <a:lnTo>
                        <a:pt x="4732" y="2977"/>
                      </a:lnTo>
                      <a:lnTo>
                        <a:pt x="4504" y="2967"/>
                      </a:lnTo>
                      <a:lnTo>
                        <a:pt x="4278" y="2956"/>
                      </a:lnTo>
                      <a:lnTo>
                        <a:pt x="4051" y="2944"/>
                      </a:lnTo>
                      <a:lnTo>
                        <a:pt x="3825" y="2933"/>
                      </a:lnTo>
                      <a:lnTo>
                        <a:pt x="3598" y="2921"/>
                      </a:lnTo>
                      <a:lnTo>
                        <a:pt x="3372" y="2908"/>
                      </a:lnTo>
                      <a:lnTo>
                        <a:pt x="3144" y="2896"/>
                      </a:lnTo>
                      <a:lnTo>
                        <a:pt x="2918" y="2883"/>
                      </a:lnTo>
                      <a:lnTo>
                        <a:pt x="2691" y="2870"/>
                      </a:lnTo>
                      <a:lnTo>
                        <a:pt x="2465" y="2856"/>
                      </a:lnTo>
                      <a:lnTo>
                        <a:pt x="2239" y="2842"/>
                      </a:lnTo>
                      <a:lnTo>
                        <a:pt x="2012" y="2829"/>
                      </a:lnTo>
                      <a:lnTo>
                        <a:pt x="1786" y="2815"/>
                      </a:lnTo>
                      <a:lnTo>
                        <a:pt x="1559" y="2800"/>
                      </a:lnTo>
                      <a:lnTo>
                        <a:pt x="1333" y="2786"/>
                      </a:lnTo>
                      <a:lnTo>
                        <a:pt x="1298" y="2784"/>
                      </a:lnTo>
                      <a:lnTo>
                        <a:pt x="1264" y="2781"/>
                      </a:lnTo>
                      <a:lnTo>
                        <a:pt x="1229" y="2779"/>
                      </a:lnTo>
                      <a:lnTo>
                        <a:pt x="1194" y="2776"/>
                      </a:lnTo>
                      <a:lnTo>
                        <a:pt x="1158" y="2774"/>
                      </a:lnTo>
                      <a:lnTo>
                        <a:pt x="1124" y="2772"/>
                      </a:lnTo>
                      <a:lnTo>
                        <a:pt x="1089" y="2770"/>
                      </a:lnTo>
                      <a:lnTo>
                        <a:pt x="1054" y="2768"/>
                      </a:lnTo>
                      <a:lnTo>
                        <a:pt x="988" y="2772"/>
                      </a:lnTo>
                      <a:lnTo>
                        <a:pt x="923" y="2776"/>
                      </a:lnTo>
                      <a:lnTo>
                        <a:pt x="858" y="2782"/>
                      </a:lnTo>
                      <a:lnTo>
                        <a:pt x="792" y="2786"/>
                      </a:lnTo>
                      <a:lnTo>
                        <a:pt x="726" y="2790"/>
                      </a:lnTo>
                      <a:lnTo>
                        <a:pt x="660" y="2796"/>
                      </a:lnTo>
                      <a:lnTo>
                        <a:pt x="595" y="2800"/>
                      </a:lnTo>
                      <a:lnTo>
                        <a:pt x="529" y="2805"/>
                      </a:lnTo>
                      <a:lnTo>
                        <a:pt x="463" y="2809"/>
                      </a:lnTo>
                      <a:lnTo>
                        <a:pt x="397" y="2815"/>
                      </a:lnTo>
                      <a:lnTo>
                        <a:pt x="332" y="2819"/>
                      </a:lnTo>
                      <a:lnTo>
                        <a:pt x="266" y="2823"/>
                      </a:lnTo>
                      <a:lnTo>
                        <a:pt x="201" y="2829"/>
                      </a:lnTo>
                      <a:lnTo>
                        <a:pt x="135" y="2833"/>
                      </a:lnTo>
                      <a:lnTo>
                        <a:pt x="69" y="2838"/>
                      </a:lnTo>
                      <a:lnTo>
                        <a:pt x="4" y="2842"/>
                      </a:lnTo>
                      <a:lnTo>
                        <a:pt x="2" y="2827"/>
                      </a:lnTo>
                      <a:lnTo>
                        <a:pt x="1" y="2813"/>
                      </a:lnTo>
                      <a:lnTo>
                        <a:pt x="0" y="2798"/>
                      </a:lnTo>
                      <a:lnTo>
                        <a:pt x="0" y="2783"/>
                      </a:lnTo>
                      <a:lnTo>
                        <a:pt x="0" y="464"/>
                      </a:lnTo>
                      <a:lnTo>
                        <a:pt x="1" y="440"/>
                      </a:lnTo>
                      <a:lnTo>
                        <a:pt x="2" y="417"/>
                      </a:lnTo>
                      <a:lnTo>
                        <a:pt x="5" y="394"/>
                      </a:lnTo>
                      <a:lnTo>
                        <a:pt x="9" y="370"/>
                      </a:lnTo>
                      <a:lnTo>
                        <a:pt x="15" y="348"/>
                      </a:lnTo>
                      <a:lnTo>
                        <a:pt x="21" y="327"/>
                      </a:lnTo>
                      <a:lnTo>
                        <a:pt x="28" y="305"/>
                      </a:lnTo>
                      <a:lnTo>
                        <a:pt x="36" y="284"/>
                      </a:lnTo>
                      <a:lnTo>
                        <a:pt x="45" y="263"/>
                      </a:lnTo>
                      <a:lnTo>
                        <a:pt x="56" y="244"/>
                      </a:lnTo>
                      <a:lnTo>
                        <a:pt x="67" y="223"/>
                      </a:lnTo>
                      <a:lnTo>
                        <a:pt x="79" y="205"/>
                      </a:lnTo>
                      <a:lnTo>
                        <a:pt x="92" y="187"/>
                      </a:lnTo>
                      <a:lnTo>
                        <a:pt x="106" y="169"/>
                      </a:lnTo>
                      <a:lnTo>
                        <a:pt x="121" y="152"/>
                      </a:lnTo>
                      <a:lnTo>
                        <a:pt x="136" y="136"/>
                      </a:lnTo>
                      <a:lnTo>
                        <a:pt x="152" y="121"/>
                      </a:lnTo>
                      <a:lnTo>
                        <a:pt x="169" y="106"/>
                      </a:lnTo>
                      <a:lnTo>
                        <a:pt x="187" y="93"/>
                      </a:lnTo>
                      <a:lnTo>
                        <a:pt x="205" y="80"/>
                      </a:lnTo>
                      <a:lnTo>
                        <a:pt x="223" y="67"/>
                      </a:lnTo>
                      <a:lnTo>
                        <a:pt x="243" y="56"/>
                      </a:lnTo>
                      <a:lnTo>
                        <a:pt x="262" y="46"/>
                      </a:lnTo>
                      <a:lnTo>
                        <a:pt x="283" y="36"/>
                      </a:lnTo>
                      <a:lnTo>
                        <a:pt x="305" y="29"/>
                      </a:lnTo>
                      <a:lnTo>
                        <a:pt x="326" y="21"/>
                      </a:lnTo>
                      <a:lnTo>
                        <a:pt x="347" y="15"/>
                      </a:lnTo>
                      <a:lnTo>
                        <a:pt x="370" y="10"/>
                      </a:lnTo>
                      <a:lnTo>
                        <a:pt x="393" y="5"/>
                      </a:lnTo>
                      <a:lnTo>
                        <a:pt x="416" y="2"/>
                      </a:lnTo>
                      <a:lnTo>
                        <a:pt x="440" y="1"/>
                      </a:lnTo>
                      <a:lnTo>
                        <a:pt x="463" y="0"/>
                      </a:lnTo>
                      <a:close/>
                      <a:moveTo>
                        <a:pt x="6260" y="160"/>
                      </a:moveTo>
                      <a:lnTo>
                        <a:pt x="6268" y="160"/>
                      </a:lnTo>
                      <a:lnTo>
                        <a:pt x="6274" y="161"/>
                      </a:lnTo>
                      <a:lnTo>
                        <a:pt x="6282" y="163"/>
                      </a:lnTo>
                      <a:lnTo>
                        <a:pt x="6288" y="165"/>
                      </a:lnTo>
                      <a:lnTo>
                        <a:pt x="6294" y="168"/>
                      </a:lnTo>
                      <a:lnTo>
                        <a:pt x="6300" y="172"/>
                      </a:lnTo>
                      <a:lnTo>
                        <a:pt x="6306" y="177"/>
                      </a:lnTo>
                      <a:lnTo>
                        <a:pt x="6310" y="181"/>
                      </a:lnTo>
                      <a:lnTo>
                        <a:pt x="6316" y="186"/>
                      </a:lnTo>
                      <a:lnTo>
                        <a:pt x="6320" y="191"/>
                      </a:lnTo>
                      <a:lnTo>
                        <a:pt x="6323" y="197"/>
                      </a:lnTo>
                      <a:lnTo>
                        <a:pt x="6326" y="203"/>
                      </a:lnTo>
                      <a:lnTo>
                        <a:pt x="6328" y="210"/>
                      </a:lnTo>
                      <a:lnTo>
                        <a:pt x="6331" y="217"/>
                      </a:lnTo>
                      <a:lnTo>
                        <a:pt x="6332" y="224"/>
                      </a:lnTo>
                      <a:lnTo>
                        <a:pt x="6332" y="231"/>
                      </a:lnTo>
                      <a:lnTo>
                        <a:pt x="6332" y="238"/>
                      </a:lnTo>
                      <a:lnTo>
                        <a:pt x="6331" y="246"/>
                      </a:lnTo>
                      <a:lnTo>
                        <a:pt x="6328" y="252"/>
                      </a:lnTo>
                      <a:lnTo>
                        <a:pt x="6326" y="260"/>
                      </a:lnTo>
                      <a:lnTo>
                        <a:pt x="6323" y="265"/>
                      </a:lnTo>
                      <a:lnTo>
                        <a:pt x="6320" y="271"/>
                      </a:lnTo>
                      <a:lnTo>
                        <a:pt x="6316" y="277"/>
                      </a:lnTo>
                      <a:lnTo>
                        <a:pt x="6310" y="282"/>
                      </a:lnTo>
                      <a:lnTo>
                        <a:pt x="6306" y="286"/>
                      </a:lnTo>
                      <a:lnTo>
                        <a:pt x="6300" y="290"/>
                      </a:lnTo>
                      <a:lnTo>
                        <a:pt x="6294" y="295"/>
                      </a:lnTo>
                      <a:lnTo>
                        <a:pt x="6288" y="297"/>
                      </a:lnTo>
                      <a:lnTo>
                        <a:pt x="6282" y="300"/>
                      </a:lnTo>
                      <a:lnTo>
                        <a:pt x="6274" y="301"/>
                      </a:lnTo>
                      <a:lnTo>
                        <a:pt x="6268" y="302"/>
                      </a:lnTo>
                      <a:lnTo>
                        <a:pt x="6260" y="303"/>
                      </a:lnTo>
                      <a:lnTo>
                        <a:pt x="6253" y="302"/>
                      </a:lnTo>
                      <a:lnTo>
                        <a:pt x="6246" y="301"/>
                      </a:lnTo>
                      <a:lnTo>
                        <a:pt x="6239" y="300"/>
                      </a:lnTo>
                      <a:lnTo>
                        <a:pt x="6233" y="297"/>
                      </a:lnTo>
                      <a:lnTo>
                        <a:pt x="6226" y="295"/>
                      </a:lnTo>
                      <a:lnTo>
                        <a:pt x="6220" y="290"/>
                      </a:lnTo>
                      <a:lnTo>
                        <a:pt x="6215" y="286"/>
                      </a:lnTo>
                      <a:lnTo>
                        <a:pt x="6209" y="282"/>
                      </a:lnTo>
                      <a:lnTo>
                        <a:pt x="6205" y="277"/>
                      </a:lnTo>
                      <a:lnTo>
                        <a:pt x="6201" y="271"/>
                      </a:lnTo>
                      <a:lnTo>
                        <a:pt x="6198" y="265"/>
                      </a:lnTo>
                      <a:lnTo>
                        <a:pt x="6194" y="260"/>
                      </a:lnTo>
                      <a:lnTo>
                        <a:pt x="6192" y="252"/>
                      </a:lnTo>
                      <a:lnTo>
                        <a:pt x="6190" y="246"/>
                      </a:lnTo>
                      <a:lnTo>
                        <a:pt x="6189" y="238"/>
                      </a:lnTo>
                      <a:lnTo>
                        <a:pt x="6189" y="231"/>
                      </a:lnTo>
                      <a:lnTo>
                        <a:pt x="6189" y="224"/>
                      </a:lnTo>
                      <a:lnTo>
                        <a:pt x="6190" y="217"/>
                      </a:lnTo>
                      <a:lnTo>
                        <a:pt x="6192" y="210"/>
                      </a:lnTo>
                      <a:lnTo>
                        <a:pt x="6194" y="203"/>
                      </a:lnTo>
                      <a:lnTo>
                        <a:pt x="6198" y="197"/>
                      </a:lnTo>
                      <a:lnTo>
                        <a:pt x="6201" y="191"/>
                      </a:lnTo>
                      <a:lnTo>
                        <a:pt x="6205" y="186"/>
                      </a:lnTo>
                      <a:lnTo>
                        <a:pt x="6209" y="181"/>
                      </a:lnTo>
                      <a:lnTo>
                        <a:pt x="6215" y="177"/>
                      </a:lnTo>
                      <a:lnTo>
                        <a:pt x="6220" y="172"/>
                      </a:lnTo>
                      <a:lnTo>
                        <a:pt x="6226" y="168"/>
                      </a:lnTo>
                      <a:lnTo>
                        <a:pt x="6233" y="165"/>
                      </a:lnTo>
                      <a:lnTo>
                        <a:pt x="6239" y="163"/>
                      </a:lnTo>
                      <a:lnTo>
                        <a:pt x="6246" y="161"/>
                      </a:lnTo>
                      <a:lnTo>
                        <a:pt x="6253" y="160"/>
                      </a:lnTo>
                      <a:lnTo>
                        <a:pt x="6260" y="160"/>
                      </a:lnTo>
                      <a:close/>
                      <a:moveTo>
                        <a:pt x="6665" y="160"/>
                      </a:moveTo>
                      <a:lnTo>
                        <a:pt x="6672" y="160"/>
                      </a:lnTo>
                      <a:lnTo>
                        <a:pt x="6679" y="161"/>
                      </a:lnTo>
                      <a:lnTo>
                        <a:pt x="6687" y="163"/>
                      </a:lnTo>
                      <a:lnTo>
                        <a:pt x="6693" y="165"/>
                      </a:lnTo>
                      <a:lnTo>
                        <a:pt x="6699" y="168"/>
                      </a:lnTo>
                      <a:lnTo>
                        <a:pt x="6705" y="172"/>
                      </a:lnTo>
                      <a:lnTo>
                        <a:pt x="6710" y="177"/>
                      </a:lnTo>
                      <a:lnTo>
                        <a:pt x="6715" y="181"/>
                      </a:lnTo>
                      <a:lnTo>
                        <a:pt x="6721" y="186"/>
                      </a:lnTo>
                      <a:lnTo>
                        <a:pt x="6724" y="191"/>
                      </a:lnTo>
                      <a:lnTo>
                        <a:pt x="6728" y="197"/>
                      </a:lnTo>
                      <a:lnTo>
                        <a:pt x="6731" y="203"/>
                      </a:lnTo>
                      <a:lnTo>
                        <a:pt x="6733" y="210"/>
                      </a:lnTo>
                      <a:lnTo>
                        <a:pt x="6736" y="217"/>
                      </a:lnTo>
                      <a:lnTo>
                        <a:pt x="6737" y="224"/>
                      </a:lnTo>
                      <a:lnTo>
                        <a:pt x="6737" y="231"/>
                      </a:lnTo>
                      <a:lnTo>
                        <a:pt x="6737" y="238"/>
                      </a:lnTo>
                      <a:lnTo>
                        <a:pt x="6736" y="246"/>
                      </a:lnTo>
                      <a:lnTo>
                        <a:pt x="6733" y="252"/>
                      </a:lnTo>
                      <a:lnTo>
                        <a:pt x="6731" y="260"/>
                      </a:lnTo>
                      <a:lnTo>
                        <a:pt x="6728" y="265"/>
                      </a:lnTo>
                      <a:lnTo>
                        <a:pt x="6724" y="271"/>
                      </a:lnTo>
                      <a:lnTo>
                        <a:pt x="6721" y="277"/>
                      </a:lnTo>
                      <a:lnTo>
                        <a:pt x="6715" y="282"/>
                      </a:lnTo>
                      <a:lnTo>
                        <a:pt x="6710" y="286"/>
                      </a:lnTo>
                      <a:lnTo>
                        <a:pt x="6705" y="290"/>
                      </a:lnTo>
                      <a:lnTo>
                        <a:pt x="6699" y="295"/>
                      </a:lnTo>
                      <a:lnTo>
                        <a:pt x="6693" y="297"/>
                      </a:lnTo>
                      <a:lnTo>
                        <a:pt x="6687" y="300"/>
                      </a:lnTo>
                      <a:lnTo>
                        <a:pt x="6679" y="301"/>
                      </a:lnTo>
                      <a:lnTo>
                        <a:pt x="6672" y="302"/>
                      </a:lnTo>
                      <a:lnTo>
                        <a:pt x="6665" y="303"/>
                      </a:lnTo>
                      <a:lnTo>
                        <a:pt x="6658" y="302"/>
                      </a:lnTo>
                      <a:lnTo>
                        <a:pt x="6651" y="301"/>
                      </a:lnTo>
                      <a:lnTo>
                        <a:pt x="6644" y="300"/>
                      </a:lnTo>
                      <a:lnTo>
                        <a:pt x="6637" y="297"/>
                      </a:lnTo>
                      <a:lnTo>
                        <a:pt x="6631" y="295"/>
                      </a:lnTo>
                      <a:lnTo>
                        <a:pt x="6625" y="290"/>
                      </a:lnTo>
                      <a:lnTo>
                        <a:pt x="6620" y="286"/>
                      </a:lnTo>
                      <a:lnTo>
                        <a:pt x="6614" y="282"/>
                      </a:lnTo>
                      <a:lnTo>
                        <a:pt x="6610" y="277"/>
                      </a:lnTo>
                      <a:lnTo>
                        <a:pt x="6606" y="271"/>
                      </a:lnTo>
                      <a:lnTo>
                        <a:pt x="6602" y="265"/>
                      </a:lnTo>
                      <a:lnTo>
                        <a:pt x="6600" y="260"/>
                      </a:lnTo>
                      <a:lnTo>
                        <a:pt x="6596" y="252"/>
                      </a:lnTo>
                      <a:lnTo>
                        <a:pt x="6595" y="246"/>
                      </a:lnTo>
                      <a:lnTo>
                        <a:pt x="6594" y="238"/>
                      </a:lnTo>
                      <a:lnTo>
                        <a:pt x="6593" y="231"/>
                      </a:lnTo>
                      <a:lnTo>
                        <a:pt x="6594" y="224"/>
                      </a:lnTo>
                      <a:lnTo>
                        <a:pt x="6595" y="217"/>
                      </a:lnTo>
                      <a:lnTo>
                        <a:pt x="6596" y="210"/>
                      </a:lnTo>
                      <a:lnTo>
                        <a:pt x="6600" y="203"/>
                      </a:lnTo>
                      <a:lnTo>
                        <a:pt x="6602" y="197"/>
                      </a:lnTo>
                      <a:lnTo>
                        <a:pt x="6606" y="191"/>
                      </a:lnTo>
                      <a:lnTo>
                        <a:pt x="6610" y="186"/>
                      </a:lnTo>
                      <a:lnTo>
                        <a:pt x="6614" y="181"/>
                      </a:lnTo>
                      <a:lnTo>
                        <a:pt x="6620" y="177"/>
                      </a:lnTo>
                      <a:lnTo>
                        <a:pt x="6625" y="172"/>
                      </a:lnTo>
                      <a:lnTo>
                        <a:pt x="6631" y="168"/>
                      </a:lnTo>
                      <a:lnTo>
                        <a:pt x="6637" y="165"/>
                      </a:lnTo>
                      <a:lnTo>
                        <a:pt x="6644" y="163"/>
                      </a:lnTo>
                      <a:lnTo>
                        <a:pt x="6651" y="161"/>
                      </a:lnTo>
                      <a:lnTo>
                        <a:pt x="6658" y="160"/>
                      </a:lnTo>
                      <a:lnTo>
                        <a:pt x="6665" y="160"/>
                      </a:lnTo>
                      <a:close/>
                      <a:moveTo>
                        <a:pt x="7069" y="160"/>
                      </a:moveTo>
                      <a:lnTo>
                        <a:pt x="7077" y="160"/>
                      </a:lnTo>
                      <a:lnTo>
                        <a:pt x="7084" y="161"/>
                      </a:lnTo>
                      <a:lnTo>
                        <a:pt x="7091" y="163"/>
                      </a:lnTo>
                      <a:lnTo>
                        <a:pt x="7098" y="165"/>
                      </a:lnTo>
                      <a:lnTo>
                        <a:pt x="7103" y="168"/>
                      </a:lnTo>
                      <a:lnTo>
                        <a:pt x="7110" y="172"/>
                      </a:lnTo>
                      <a:lnTo>
                        <a:pt x="7115" y="177"/>
                      </a:lnTo>
                      <a:lnTo>
                        <a:pt x="7120" y="181"/>
                      </a:lnTo>
                      <a:lnTo>
                        <a:pt x="7125" y="186"/>
                      </a:lnTo>
                      <a:lnTo>
                        <a:pt x="7129" y="191"/>
                      </a:lnTo>
                      <a:lnTo>
                        <a:pt x="7132" y="197"/>
                      </a:lnTo>
                      <a:lnTo>
                        <a:pt x="7135" y="203"/>
                      </a:lnTo>
                      <a:lnTo>
                        <a:pt x="7139" y="210"/>
                      </a:lnTo>
                      <a:lnTo>
                        <a:pt x="7140" y="217"/>
                      </a:lnTo>
                      <a:lnTo>
                        <a:pt x="7141" y="224"/>
                      </a:lnTo>
                      <a:lnTo>
                        <a:pt x="7142" y="231"/>
                      </a:lnTo>
                      <a:lnTo>
                        <a:pt x="7141" y="238"/>
                      </a:lnTo>
                      <a:lnTo>
                        <a:pt x="7140" y="246"/>
                      </a:lnTo>
                      <a:lnTo>
                        <a:pt x="7139" y="252"/>
                      </a:lnTo>
                      <a:lnTo>
                        <a:pt x="7135" y="260"/>
                      </a:lnTo>
                      <a:lnTo>
                        <a:pt x="7132" y="265"/>
                      </a:lnTo>
                      <a:lnTo>
                        <a:pt x="7129" y="271"/>
                      </a:lnTo>
                      <a:lnTo>
                        <a:pt x="7125" y="277"/>
                      </a:lnTo>
                      <a:lnTo>
                        <a:pt x="7120" y="282"/>
                      </a:lnTo>
                      <a:lnTo>
                        <a:pt x="7115" y="286"/>
                      </a:lnTo>
                      <a:lnTo>
                        <a:pt x="7110" y="290"/>
                      </a:lnTo>
                      <a:lnTo>
                        <a:pt x="7103" y="295"/>
                      </a:lnTo>
                      <a:lnTo>
                        <a:pt x="7098" y="297"/>
                      </a:lnTo>
                      <a:lnTo>
                        <a:pt x="7091" y="300"/>
                      </a:lnTo>
                      <a:lnTo>
                        <a:pt x="7084" y="301"/>
                      </a:lnTo>
                      <a:lnTo>
                        <a:pt x="7077" y="302"/>
                      </a:lnTo>
                      <a:lnTo>
                        <a:pt x="7069" y="303"/>
                      </a:lnTo>
                      <a:lnTo>
                        <a:pt x="7062" y="302"/>
                      </a:lnTo>
                      <a:lnTo>
                        <a:pt x="7056" y="301"/>
                      </a:lnTo>
                      <a:lnTo>
                        <a:pt x="7048" y="300"/>
                      </a:lnTo>
                      <a:lnTo>
                        <a:pt x="7042" y="297"/>
                      </a:lnTo>
                      <a:lnTo>
                        <a:pt x="7035" y="295"/>
                      </a:lnTo>
                      <a:lnTo>
                        <a:pt x="7030" y="290"/>
                      </a:lnTo>
                      <a:lnTo>
                        <a:pt x="7025" y="286"/>
                      </a:lnTo>
                      <a:lnTo>
                        <a:pt x="7019" y="282"/>
                      </a:lnTo>
                      <a:lnTo>
                        <a:pt x="7014" y="277"/>
                      </a:lnTo>
                      <a:lnTo>
                        <a:pt x="7011" y="271"/>
                      </a:lnTo>
                      <a:lnTo>
                        <a:pt x="7007" y="265"/>
                      </a:lnTo>
                      <a:lnTo>
                        <a:pt x="7004" y="260"/>
                      </a:lnTo>
                      <a:lnTo>
                        <a:pt x="7001" y="252"/>
                      </a:lnTo>
                      <a:lnTo>
                        <a:pt x="6999" y="246"/>
                      </a:lnTo>
                      <a:lnTo>
                        <a:pt x="6998" y="238"/>
                      </a:lnTo>
                      <a:lnTo>
                        <a:pt x="6998" y="231"/>
                      </a:lnTo>
                      <a:lnTo>
                        <a:pt x="6998" y="224"/>
                      </a:lnTo>
                      <a:lnTo>
                        <a:pt x="6999" y="217"/>
                      </a:lnTo>
                      <a:lnTo>
                        <a:pt x="7001" y="210"/>
                      </a:lnTo>
                      <a:lnTo>
                        <a:pt x="7004" y="203"/>
                      </a:lnTo>
                      <a:lnTo>
                        <a:pt x="7007" y="197"/>
                      </a:lnTo>
                      <a:lnTo>
                        <a:pt x="7011" y="191"/>
                      </a:lnTo>
                      <a:lnTo>
                        <a:pt x="7014" y="186"/>
                      </a:lnTo>
                      <a:lnTo>
                        <a:pt x="7019" y="181"/>
                      </a:lnTo>
                      <a:lnTo>
                        <a:pt x="7025" y="177"/>
                      </a:lnTo>
                      <a:lnTo>
                        <a:pt x="7030" y="172"/>
                      </a:lnTo>
                      <a:lnTo>
                        <a:pt x="7035" y="168"/>
                      </a:lnTo>
                      <a:lnTo>
                        <a:pt x="7042" y="165"/>
                      </a:lnTo>
                      <a:lnTo>
                        <a:pt x="7048" y="163"/>
                      </a:lnTo>
                      <a:lnTo>
                        <a:pt x="7056" y="161"/>
                      </a:lnTo>
                      <a:lnTo>
                        <a:pt x="7062" y="160"/>
                      </a:lnTo>
                      <a:lnTo>
                        <a:pt x="7069" y="160"/>
                      </a:lnTo>
                      <a:close/>
                      <a:moveTo>
                        <a:pt x="6044" y="78"/>
                      </a:moveTo>
                      <a:lnTo>
                        <a:pt x="7286" y="78"/>
                      </a:lnTo>
                      <a:lnTo>
                        <a:pt x="7286" y="385"/>
                      </a:lnTo>
                      <a:lnTo>
                        <a:pt x="6044" y="385"/>
                      </a:lnTo>
                      <a:lnTo>
                        <a:pt x="6044" y="78"/>
                      </a:lnTo>
                      <a:close/>
                      <a:moveTo>
                        <a:pt x="589" y="468"/>
                      </a:moveTo>
                      <a:lnTo>
                        <a:pt x="4432" y="468"/>
                      </a:lnTo>
                      <a:lnTo>
                        <a:pt x="4432" y="2531"/>
                      </a:lnTo>
                      <a:lnTo>
                        <a:pt x="589" y="2531"/>
                      </a:lnTo>
                      <a:lnTo>
                        <a:pt x="589" y="468"/>
                      </a:lnTo>
                      <a:close/>
                      <a:moveTo>
                        <a:pt x="4743" y="468"/>
                      </a:moveTo>
                      <a:lnTo>
                        <a:pt x="8587" y="468"/>
                      </a:lnTo>
                      <a:lnTo>
                        <a:pt x="8587" y="2531"/>
                      </a:lnTo>
                      <a:lnTo>
                        <a:pt x="4743" y="2531"/>
                      </a:lnTo>
                      <a:lnTo>
                        <a:pt x="4743" y="468"/>
                      </a:lnTo>
                      <a:close/>
                      <a:moveTo>
                        <a:pt x="8898" y="468"/>
                      </a:moveTo>
                      <a:lnTo>
                        <a:pt x="12741" y="468"/>
                      </a:lnTo>
                      <a:lnTo>
                        <a:pt x="12741" y="2531"/>
                      </a:lnTo>
                      <a:lnTo>
                        <a:pt x="8898" y="2531"/>
                      </a:lnTo>
                      <a:lnTo>
                        <a:pt x="8898" y="46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2" name="组合 170"/>
              <p:cNvGrpSpPr/>
              <p:nvPr/>
            </p:nvGrpSpPr>
            <p:grpSpPr>
              <a:xfrm>
                <a:off x="9393894" y="529556"/>
                <a:ext cx="167038" cy="284501"/>
                <a:chOff x="2247900" y="4005263"/>
                <a:chExt cx="787400" cy="1108075"/>
              </a:xfrm>
              <a:solidFill>
                <a:srgbClr val="000000">
                  <a:lumMod val="50000"/>
                  <a:lumOff val="50000"/>
                </a:srgbClr>
              </a:solidFill>
            </p:grpSpPr>
            <p:sp>
              <p:nvSpPr>
                <p:cNvPr id="187" name="Freeform 111"/>
                <p:cNvSpPr>
                  <a:spLocks/>
                </p:cNvSpPr>
                <p:nvPr/>
              </p:nvSpPr>
              <p:spPr bwMode="auto">
                <a:xfrm>
                  <a:off x="2562225" y="4075113"/>
                  <a:ext cx="149225" cy="146050"/>
                </a:xfrm>
                <a:custGeom>
                  <a:avLst/>
                  <a:gdLst/>
                  <a:ahLst/>
                  <a:cxnLst>
                    <a:cxn ang="0">
                      <a:pos x="690" y="2117"/>
                    </a:cxn>
                    <a:cxn ang="0">
                      <a:pos x="1426" y="2117"/>
                    </a:cxn>
                    <a:cxn ang="0">
                      <a:pos x="1426" y="1426"/>
                    </a:cxn>
                    <a:cxn ang="0">
                      <a:pos x="2162" y="1426"/>
                    </a:cxn>
                    <a:cxn ang="0">
                      <a:pos x="2162" y="690"/>
                    </a:cxn>
                    <a:cxn ang="0">
                      <a:pos x="1426" y="690"/>
                    </a:cxn>
                    <a:cxn ang="0">
                      <a:pos x="1426" y="0"/>
                    </a:cxn>
                    <a:cxn ang="0">
                      <a:pos x="690" y="0"/>
                    </a:cxn>
                    <a:cxn ang="0">
                      <a:pos x="690" y="690"/>
                    </a:cxn>
                    <a:cxn ang="0">
                      <a:pos x="0" y="690"/>
                    </a:cxn>
                    <a:cxn ang="0">
                      <a:pos x="0" y="1426"/>
                    </a:cxn>
                    <a:cxn ang="0">
                      <a:pos x="690" y="1426"/>
                    </a:cxn>
                    <a:cxn ang="0">
                      <a:pos x="690" y="2117"/>
                    </a:cxn>
                  </a:cxnLst>
                  <a:rect l="0" t="0" r="r" b="b"/>
                  <a:pathLst>
                    <a:path w="2162" h="2117">
                      <a:moveTo>
                        <a:pt x="690" y="2117"/>
                      </a:moveTo>
                      <a:lnTo>
                        <a:pt x="1426" y="2117"/>
                      </a:lnTo>
                      <a:lnTo>
                        <a:pt x="1426" y="1426"/>
                      </a:lnTo>
                      <a:lnTo>
                        <a:pt x="2162" y="1426"/>
                      </a:lnTo>
                      <a:lnTo>
                        <a:pt x="2162" y="690"/>
                      </a:lnTo>
                      <a:lnTo>
                        <a:pt x="1426" y="690"/>
                      </a:lnTo>
                      <a:lnTo>
                        <a:pt x="1426" y="0"/>
                      </a:lnTo>
                      <a:lnTo>
                        <a:pt x="690" y="0"/>
                      </a:lnTo>
                      <a:lnTo>
                        <a:pt x="690" y="690"/>
                      </a:lnTo>
                      <a:lnTo>
                        <a:pt x="0" y="690"/>
                      </a:lnTo>
                      <a:lnTo>
                        <a:pt x="0" y="1426"/>
                      </a:lnTo>
                      <a:lnTo>
                        <a:pt x="690" y="1426"/>
                      </a:lnTo>
                      <a:lnTo>
                        <a:pt x="690" y="2117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8" name="Freeform 112"/>
                <p:cNvSpPr>
                  <a:spLocks/>
                </p:cNvSpPr>
                <p:nvPr/>
              </p:nvSpPr>
              <p:spPr bwMode="auto">
                <a:xfrm>
                  <a:off x="2247900" y="4824413"/>
                  <a:ext cx="787400" cy="288925"/>
                </a:xfrm>
                <a:custGeom>
                  <a:avLst/>
                  <a:gdLst/>
                  <a:ahLst/>
                  <a:cxnLst>
                    <a:cxn ang="0">
                      <a:pos x="10258" y="414"/>
                    </a:cxn>
                    <a:cxn ang="0">
                      <a:pos x="7084" y="0"/>
                    </a:cxn>
                    <a:cxn ang="0">
                      <a:pos x="5704" y="2346"/>
                    </a:cxn>
                    <a:cxn ang="0">
                      <a:pos x="4232" y="46"/>
                    </a:cxn>
                    <a:cxn ang="0">
                      <a:pos x="1150" y="414"/>
                    </a:cxn>
                    <a:cxn ang="0">
                      <a:pos x="828" y="782"/>
                    </a:cxn>
                    <a:cxn ang="0">
                      <a:pos x="552" y="1242"/>
                    </a:cxn>
                    <a:cxn ang="0">
                      <a:pos x="322" y="1656"/>
                    </a:cxn>
                    <a:cxn ang="0">
                      <a:pos x="184" y="2162"/>
                    </a:cxn>
                    <a:cxn ang="0">
                      <a:pos x="92" y="2622"/>
                    </a:cxn>
                    <a:cxn ang="0">
                      <a:pos x="0" y="3128"/>
                    </a:cxn>
                    <a:cxn ang="0">
                      <a:pos x="0" y="3634"/>
                    </a:cxn>
                    <a:cxn ang="0">
                      <a:pos x="0" y="4186"/>
                    </a:cxn>
                    <a:cxn ang="0">
                      <a:pos x="11362" y="4186"/>
                    </a:cxn>
                    <a:cxn ang="0">
                      <a:pos x="11408" y="3634"/>
                    </a:cxn>
                    <a:cxn ang="0">
                      <a:pos x="11362" y="3128"/>
                    </a:cxn>
                    <a:cxn ang="0">
                      <a:pos x="11316" y="2622"/>
                    </a:cxn>
                    <a:cxn ang="0">
                      <a:pos x="11178" y="2162"/>
                    </a:cxn>
                    <a:cxn ang="0">
                      <a:pos x="11040" y="1656"/>
                    </a:cxn>
                    <a:cxn ang="0">
                      <a:pos x="10810" y="1242"/>
                    </a:cxn>
                    <a:cxn ang="0">
                      <a:pos x="10580" y="782"/>
                    </a:cxn>
                    <a:cxn ang="0">
                      <a:pos x="10258" y="414"/>
                    </a:cxn>
                  </a:cxnLst>
                  <a:rect l="0" t="0" r="r" b="b"/>
                  <a:pathLst>
                    <a:path w="11408" h="4186">
                      <a:moveTo>
                        <a:pt x="10258" y="414"/>
                      </a:moveTo>
                      <a:lnTo>
                        <a:pt x="7084" y="0"/>
                      </a:lnTo>
                      <a:lnTo>
                        <a:pt x="5704" y="2346"/>
                      </a:lnTo>
                      <a:lnTo>
                        <a:pt x="4232" y="46"/>
                      </a:lnTo>
                      <a:lnTo>
                        <a:pt x="1150" y="414"/>
                      </a:lnTo>
                      <a:lnTo>
                        <a:pt x="828" y="782"/>
                      </a:lnTo>
                      <a:lnTo>
                        <a:pt x="552" y="1242"/>
                      </a:lnTo>
                      <a:lnTo>
                        <a:pt x="322" y="1656"/>
                      </a:lnTo>
                      <a:lnTo>
                        <a:pt x="184" y="2162"/>
                      </a:lnTo>
                      <a:lnTo>
                        <a:pt x="92" y="2622"/>
                      </a:lnTo>
                      <a:lnTo>
                        <a:pt x="0" y="3128"/>
                      </a:lnTo>
                      <a:lnTo>
                        <a:pt x="0" y="3634"/>
                      </a:lnTo>
                      <a:lnTo>
                        <a:pt x="0" y="4186"/>
                      </a:lnTo>
                      <a:lnTo>
                        <a:pt x="11362" y="4186"/>
                      </a:lnTo>
                      <a:lnTo>
                        <a:pt x="11408" y="3634"/>
                      </a:lnTo>
                      <a:lnTo>
                        <a:pt x="11362" y="3128"/>
                      </a:lnTo>
                      <a:lnTo>
                        <a:pt x="11316" y="2622"/>
                      </a:lnTo>
                      <a:lnTo>
                        <a:pt x="11178" y="2162"/>
                      </a:lnTo>
                      <a:lnTo>
                        <a:pt x="11040" y="1656"/>
                      </a:lnTo>
                      <a:lnTo>
                        <a:pt x="10810" y="1242"/>
                      </a:lnTo>
                      <a:lnTo>
                        <a:pt x="10580" y="782"/>
                      </a:lnTo>
                      <a:lnTo>
                        <a:pt x="10258" y="414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9" name="Freeform 113"/>
                <p:cNvSpPr>
                  <a:spLocks noEditPoints="1"/>
                </p:cNvSpPr>
                <p:nvPr/>
              </p:nvSpPr>
              <p:spPr bwMode="auto">
                <a:xfrm>
                  <a:off x="2339975" y="4005263"/>
                  <a:ext cx="590550" cy="806450"/>
                </a:xfrm>
                <a:custGeom>
                  <a:avLst/>
                  <a:gdLst/>
                  <a:ahLst/>
                  <a:cxnLst>
                    <a:cxn ang="0">
                      <a:pos x="4324" y="11684"/>
                    </a:cxn>
                    <a:cxn ang="0">
                      <a:pos x="4968" y="11455"/>
                    </a:cxn>
                    <a:cxn ang="0">
                      <a:pos x="5980" y="10810"/>
                    </a:cxn>
                    <a:cxn ang="0">
                      <a:pos x="6440" y="10350"/>
                    </a:cxn>
                    <a:cxn ang="0">
                      <a:pos x="8556" y="10166"/>
                    </a:cxn>
                    <a:cxn ang="0">
                      <a:pos x="8326" y="5842"/>
                    </a:cxn>
                    <a:cxn ang="0">
                      <a:pos x="8188" y="5106"/>
                    </a:cxn>
                    <a:cxn ang="0">
                      <a:pos x="7912" y="4462"/>
                    </a:cxn>
                    <a:cxn ang="0">
                      <a:pos x="7590" y="3864"/>
                    </a:cxn>
                    <a:cxn ang="0">
                      <a:pos x="7590" y="414"/>
                    </a:cxn>
                    <a:cxn ang="0">
                      <a:pos x="7221" y="0"/>
                    </a:cxn>
                    <a:cxn ang="0">
                      <a:pos x="874" y="0"/>
                    </a:cxn>
                    <a:cxn ang="0">
                      <a:pos x="1196" y="3680"/>
                    </a:cxn>
                    <a:cxn ang="0">
                      <a:pos x="690" y="4554"/>
                    </a:cxn>
                    <a:cxn ang="0">
                      <a:pos x="460" y="5152"/>
                    </a:cxn>
                    <a:cxn ang="0">
                      <a:pos x="368" y="5842"/>
                    </a:cxn>
                    <a:cxn ang="0">
                      <a:pos x="0" y="10166"/>
                    </a:cxn>
                    <a:cxn ang="0">
                      <a:pos x="2208" y="10442"/>
                    </a:cxn>
                    <a:cxn ang="0">
                      <a:pos x="2760" y="10948"/>
                    </a:cxn>
                    <a:cxn ang="0">
                      <a:pos x="3312" y="11316"/>
                    </a:cxn>
                    <a:cxn ang="0">
                      <a:pos x="3910" y="11546"/>
                    </a:cxn>
                    <a:cxn ang="0">
                      <a:pos x="6808" y="782"/>
                    </a:cxn>
                    <a:cxn ang="0">
                      <a:pos x="5980" y="3542"/>
                    </a:cxn>
                    <a:cxn ang="0">
                      <a:pos x="4830" y="3404"/>
                    </a:cxn>
                    <a:cxn ang="0">
                      <a:pos x="3680" y="3404"/>
                    </a:cxn>
                    <a:cxn ang="0">
                      <a:pos x="2576" y="3542"/>
                    </a:cxn>
                    <a:cxn ang="0">
                      <a:pos x="1702" y="782"/>
                    </a:cxn>
                    <a:cxn ang="0">
                      <a:pos x="1748" y="6808"/>
                    </a:cxn>
                    <a:cxn ang="0">
                      <a:pos x="2576" y="6440"/>
                    </a:cxn>
                    <a:cxn ang="0">
                      <a:pos x="2852" y="5750"/>
                    </a:cxn>
                    <a:cxn ang="0">
                      <a:pos x="2944" y="6440"/>
                    </a:cxn>
                    <a:cxn ang="0">
                      <a:pos x="3772" y="6762"/>
                    </a:cxn>
                    <a:cxn ang="0">
                      <a:pos x="5106" y="6486"/>
                    </a:cxn>
                    <a:cxn ang="0">
                      <a:pos x="6164" y="6118"/>
                    </a:cxn>
                    <a:cxn ang="0">
                      <a:pos x="6716" y="6854"/>
                    </a:cxn>
                    <a:cxn ang="0">
                      <a:pos x="6670" y="7820"/>
                    </a:cxn>
                    <a:cxn ang="0">
                      <a:pos x="6394" y="8970"/>
                    </a:cxn>
                    <a:cxn ang="0">
                      <a:pos x="5888" y="9890"/>
                    </a:cxn>
                    <a:cxn ang="0">
                      <a:pos x="5796" y="9936"/>
                    </a:cxn>
                    <a:cxn ang="0">
                      <a:pos x="5750" y="10028"/>
                    </a:cxn>
                    <a:cxn ang="0">
                      <a:pos x="5704" y="10074"/>
                    </a:cxn>
                    <a:cxn ang="0">
                      <a:pos x="5658" y="10120"/>
                    </a:cxn>
                    <a:cxn ang="0">
                      <a:pos x="5612" y="10166"/>
                    </a:cxn>
                    <a:cxn ang="0">
                      <a:pos x="5014" y="10626"/>
                    </a:cxn>
                    <a:cxn ang="0">
                      <a:pos x="4324" y="10948"/>
                    </a:cxn>
                    <a:cxn ang="0">
                      <a:pos x="3588" y="10626"/>
                    </a:cxn>
                    <a:cxn ang="0">
                      <a:pos x="2944" y="10166"/>
                    </a:cxn>
                    <a:cxn ang="0">
                      <a:pos x="2898" y="10120"/>
                    </a:cxn>
                    <a:cxn ang="0">
                      <a:pos x="2852" y="10074"/>
                    </a:cxn>
                    <a:cxn ang="0">
                      <a:pos x="2760" y="10028"/>
                    </a:cxn>
                    <a:cxn ang="0">
                      <a:pos x="2714" y="9936"/>
                    </a:cxn>
                    <a:cxn ang="0">
                      <a:pos x="2668" y="9890"/>
                    </a:cxn>
                    <a:cxn ang="0">
                      <a:pos x="2622" y="9798"/>
                    </a:cxn>
                    <a:cxn ang="0">
                      <a:pos x="2576" y="9752"/>
                    </a:cxn>
                    <a:cxn ang="0">
                      <a:pos x="2484" y="9660"/>
                    </a:cxn>
                    <a:cxn ang="0">
                      <a:pos x="2392" y="9522"/>
                    </a:cxn>
                    <a:cxn ang="0">
                      <a:pos x="2346" y="9476"/>
                    </a:cxn>
                    <a:cxn ang="0">
                      <a:pos x="2070" y="8878"/>
                    </a:cxn>
                    <a:cxn ang="0">
                      <a:pos x="1748" y="7590"/>
                    </a:cxn>
                  </a:cxnLst>
                  <a:rect l="0" t="0" r="r" b="b"/>
                  <a:pathLst>
                    <a:path w="8556" h="11684">
                      <a:moveTo>
                        <a:pt x="4232" y="11638"/>
                      </a:moveTo>
                      <a:lnTo>
                        <a:pt x="4324" y="11684"/>
                      </a:lnTo>
                      <a:lnTo>
                        <a:pt x="4370" y="11638"/>
                      </a:lnTo>
                      <a:lnTo>
                        <a:pt x="4968" y="11455"/>
                      </a:lnTo>
                      <a:lnTo>
                        <a:pt x="5474" y="11178"/>
                      </a:lnTo>
                      <a:lnTo>
                        <a:pt x="5980" y="10810"/>
                      </a:lnTo>
                      <a:lnTo>
                        <a:pt x="6210" y="10580"/>
                      </a:lnTo>
                      <a:lnTo>
                        <a:pt x="6440" y="10350"/>
                      </a:lnTo>
                      <a:lnTo>
                        <a:pt x="6532" y="10166"/>
                      </a:lnTo>
                      <a:lnTo>
                        <a:pt x="8556" y="10166"/>
                      </a:lnTo>
                      <a:lnTo>
                        <a:pt x="8326" y="6210"/>
                      </a:lnTo>
                      <a:lnTo>
                        <a:pt x="8326" y="5842"/>
                      </a:lnTo>
                      <a:lnTo>
                        <a:pt x="8234" y="5474"/>
                      </a:lnTo>
                      <a:lnTo>
                        <a:pt x="8188" y="5106"/>
                      </a:lnTo>
                      <a:lnTo>
                        <a:pt x="8050" y="4784"/>
                      </a:lnTo>
                      <a:lnTo>
                        <a:pt x="7912" y="4462"/>
                      </a:lnTo>
                      <a:lnTo>
                        <a:pt x="7774" y="4140"/>
                      </a:lnTo>
                      <a:lnTo>
                        <a:pt x="7590" y="3864"/>
                      </a:lnTo>
                      <a:lnTo>
                        <a:pt x="7360" y="3588"/>
                      </a:lnTo>
                      <a:lnTo>
                        <a:pt x="7590" y="414"/>
                      </a:lnTo>
                      <a:lnTo>
                        <a:pt x="7636" y="0"/>
                      </a:lnTo>
                      <a:lnTo>
                        <a:pt x="7221" y="0"/>
                      </a:lnTo>
                      <a:lnTo>
                        <a:pt x="1288" y="0"/>
                      </a:lnTo>
                      <a:lnTo>
                        <a:pt x="874" y="0"/>
                      </a:lnTo>
                      <a:lnTo>
                        <a:pt x="920" y="414"/>
                      </a:lnTo>
                      <a:lnTo>
                        <a:pt x="1196" y="3680"/>
                      </a:lnTo>
                      <a:lnTo>
                        <a:pt x="828" y="4232"/>
                      </a:lnTo>
                      <a:lnTo>
                        <a:pt x="690" y="4554"/>
                      </a:lnTo>
                      <a:lnTo>
                        <a:pt x="552" y="4830"/>
                      </a:lnTo>
                      <a:lnTo>
                        <a:pt x="460" y="5152"/>
                      </a:lnTo>
                      <a:lnTo>
                        <a:pt x="414" y="5474"/>
                      </a:lnTo>
                      <a:lnTo>
                        <a:pt x="368" y="5842"/>
                      </a:lnTo>
                      <a:lnTo>
                        <a:pt x="322" y="6210"/>
                      </a:lnTo>
                      <a:lnTo>
                        <a:pt x="0" y="10166"/>
                      </a:lnTo>
                      <a:lnTo>
                        <a:pt x="1978" y="10166"/>
                      </a:lnTo>
                      <a:lnTo>
                        <a:pt x="2208" y="10442"/>
                      </a:lnTo>
                      <a:lnTo>
                        <a:pt x="2484" y="10718"/>
                      </a:lnTo>
                      <a:lnTo>
                        <a:pt x="2760" y="10948"/>
                      </a:lnTo>
                      <a:lnTo>
                        <a:pt x="3036" y="11132"/>
                      </a:lnTo>
                      <a:lnTo>
                        <a:pt x="3312" y="11316"/>
                      </a:lnTo>
                      <a:lnTo>
                        <a:pt x="3634" y="11455"/>
                      </a:lnTo>
                      <a:lnTo>
                        <a:pt x="3910" y="11546"/>
                      </a:lnTo>
                      <a:lnTo>
                        <a:pt x="4232" y="11638"/>
                      </a:lnTo>
                      <a:close/>
                      <a:moveTo>
                        <a:pt x="6808" y="782"/>
                      </a:moveTo>
                      <a:lnTo>
                        <a:pt x="6578" y="3634"/>
                      </a:lnTo>
                      <a:lnTo>
                        <a:pt x="5980" y="3542"/>
                      </a:lnTo>
                      <a:lnTo>
                        <a:pt x="5428" y="3450"/>
                      </a:lnTo>
                      <a:lnTo>
                        <a:pt x="4830" y="3404"/>
                      </a:lnTo>
                      <a:lnTo>
                        <a:pt x="4278" y="3358"/>
                      </a:lnTo>
                      <a:lnTo>
                        <a:pt x="3680" y="3404"/>
                      </a:lnTo>
                      <a:lnTo>
                        <a:pt x="3128" y="3450"/>
                      </a:lnTo>
                      <a:lnTo>
                        <a:pt x="2576" y="3542"/>
                      </a:lnTo>
                      <a:lnTo>
                        <a:pt x="1978" y="3634"/>
                      </a:lnTo>
                      <a:lnTo>
                        <a:pt x="1702" y="782"/>
                      </a:lnTo>
                      <a:lnTo>
                        <a:pt x="6808" y="782"/>
                      </a:lnTo>
                      <a:close/>
                      <a:moveTo>
                        <a:pt x="1748" y="6808"/>
                      </a:moveTo>
                      <a:lnTo>
                        <a:pt x="2438" y="6808"/>
                      </a:lnTo>
                      <a:lnTo>
                        <a:pt x="2576" y="6440"/>
                      </a:lnTo>
                      <a:lnTo>
                        <a:pt x="2714" y="6118"/>
                      </a:lnTo>
                      <a:lnTo>
                        <a:pt x="2852" y="5750"/>
                      </a:lnTo>
                      <a:lnTo>
                        <a:pt x="2898" y="6118"/>
                      </a:lnTo>
                      <a:lnTo>
                        <a:pt x="2944" y="6440"/>
                      </a:lnTo>
                      <a:lnTo>
                        <a:pt x="2990" y="6808"/>
                      </a:lnTo>
                      <a:lnTo>
                        <a:pt x="3772" y="6762"/>
                      </a:lnTo>
                      <a:lnTo>
                        <a:pt x="4554" y="6624"/>
                      </a:lnTo>
                      <a:lnTo>
                        <a:pt x="5106" y="6486"/>
                      </a:lnTo>
                      <a:lnTo>
                        <a:pt x="5612" y="6302"/>
                      </a:lnTo>
                      <a:lnTo>
                        <a:pt x="6164" y="6118"/>
                      </a:lnTo>
                      <a:lnTo>
                        <a:pt x="6624" y="5888"/>
                      </a:lnTo>
                      <a:lnTo>
                        <a:pt x="6716" y="6854"/>
                      </a:lnTo>
                      <a:lnTo>
                        <a:pt x="6716" y="7314"/>
                      </a:lnTo>
                      <a:lnTo>
                        <a:pt x="6670" y="7820"/>
                      </a:lnTo>
                      <a:lnTo>
                        <a:pt x="6578" y="8418"/>
                      </a:lnTo>
                      <a:lnTo>
                        <a:pt x="6394" y="8970"/>
                      </a:lnTo>
                      <a:lnTo>
                        <a:pt x="6164" y="9476"/>
                      </a:lnTo>
                      <a:lnTo>
                        <a:pt x="5888" y="9890"/>
                      </a:lnTo>
                      <a:lnTo>
                        <a:pt x="5842" y="9936"/>
                      </a:lnTo>
                      <a:lnTo>
                        <a:pt x="5796" y="9936"/>
                      </a:lnTo>
                      <a:lnTo>
                        <a:pt x="5796" y="9982"/>
                      </a:lnTo>
                      <a:lnTo>
                        <a:pt x="5750" y="10028"/>
                      </a:lnTo>
                      <a:lnTo>
                        <a:pt x="5750" y="10074"/>
                      </a:lnTo>
                      <a:lnTo>
                        <a:pt x="5704" y="10074"/>
                      </a:lnTo>
                      <a:lnTo>
                        <a:pt x="5704" y="10120"/>
                      </a:lnTo>
                      <a:lnTo>
                        <a:pt x="5658" y="10120"/>
                      </a:lnTo>
                      <a:lnTo>
                        <a:pt x="5658" y="10166"/>
                      </a:lnTo>
                      <a:lnTo>
                        <a:pt x="5612" y="10166"/>
                      </a:lnTo>
                      <a:lnTo>
                        <a:pt x="5336" y="10442"/>
                      </a:lnTo>
                      <a:lnTo>
                        <a:pt x="5014" y="10626"/>
                      </a:lnTo>
                      <a:lnTo>
                        <a:pt x="4646" y="10810"/>
                      </a:lnTo>
                      <a:lnTo>
                        <a:pt x="4324" y="10948"/>
                      </a:lnTo>
                      <a:lnTo>
                        <a:pt x="3956" y="10810"/>
                      </a:lnTo>
                      <a:lnTo>
                        <a:pt x="3588" y="10626"/>
                      </a:lnTo>
                      <a:lnTo>
                        <a:pt x="3266" y="10442"/>
                      </a:lnTo>
                      <a:lnTo>
                        <a:pt x="2944" y="10166"/>
                      </a:lnTo>
                      <a:lnTo>
                        <a:pt x="2898" y="10166"/>
                      </a:lnTo>
                      <a:lnTo>
                        <a:pt x="2898" y="10120"/>
                      </a:lnTo>
                      <a:lnTo>
                        <a:pt x="2852" y="10120"/>
                      </a:lnTo>
                      <a:lnTo>
                        <a:pt x="2852" y="10074"/>
                      </a:lnTo>
                      <a:lnTo>
                        <a:pt x="2806" y="10028"/>
                      </a:lnTo>
                      <a:lnTo>
                        <a:pt x="2760" y="10028"/>
                      </a:lnTo>
                      <a:lnTo>
                        <a:pt x="2760" y="9982"/>
                      </a:lnTo>
                      <a:lnTo>
                        <a:pt x="2714" y="9936"/>
                      </a:lnTo>
                      <a:lnTo>
                        <a:pt x="2714" y="9890"/>
                      </a:lnTo>
                      <a:lnTo>
                        <a:pt x="2668" y="9890"/>
                      </a:lnTo>
                      <a:lnTo>
                        <a:pt x="2622" y="9844"/>
                      </a:lnTo>
                      <a:lnTo>
                        <a:pt x="2622" y="9798"/>
                      </a:lnTo>
                      <a:lnTo>
                        <a:pt x="2576" y="9798"/>
                      </a:lnTo>
                      <a:lnTo>
                        <a:pt x="2576" y="9752"/>
                      </a:lnTo>
                      <a:lnTo>
                        <a:pt x="2530" y="9706"/>
                      </a:lnTo>
                      <a:lnTo>
                        <a:pt x="2484" y="9660"/>
                      </a:lnTo>
                      <a:lnTo>
                        <a:pt x="2438" y="9568"/>
                      </a:lnTo>
                      <a:lnTo>
                        <a:pt x="2392" y="9522"/>
                      </a:lnTo>
                      <a:lnTo>
                        <a:pt x="2392" y="9476"/>
                      </a:lnTo>
                      <a:lnTo>
                        <a:pt x="2346" y="9476"/>
                      </a:lnTo>
                      <a:lnTo>
                        <a:pt x="2346" y="9430"/>
                      </a:lnTo>
                      <a:lnTo>
                        <a:pt x="2070" y="8878"/>
                      </a:lnTo>
                      <a:lnTo>
                        <a:pt x="1886" y="8280"/>
                      </a:lnTo>
                      <a:lnTo>
                        <a:pt x="1748" y="7590"/>
                      </a:lnTo>
                      <a:lnTo>
                        <a:pt x="1748" y="6808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grpSp>
            <p:nvGrpSpPr>
              <p:cNvPr id="43" name="组合 2707"/>
              <p:cNvGrpSpPr/>
              <p:nvPr/>
            </p:nvGrpSpPr>
            <p:grpSpPr>
              <a:xfrm>
                <a:off x="10198600" y="559557"/>
                <a:ext cx="173699" cy="234283"/>
                <a:chOff x="17808138" y="-939397"/>
                <a:chExt cx="607566" cy="892362"/>
              </a:xfrm>
              <a:solidFill>
                <a:srgbClr val="C00000"/>
              </a:solidFill>
            </p:grpSpPr>
            <p:sp>
              <p:nvSpPr>
                <p:cNvPr id="183" name="Freeform 150"/>
                <p:cNvSpPr>
                  <a:spLocks/>
                </p:cNvSpPr>
                <p:nvPr/>
              </p:nvSpPr>
              <p:spPr bwMode="auto">
                <a:xfrm>
                  <a:off x="17808138" y="-471065"/>
                  <a:ext cx="607566" cy="424030"/>
                </a:xfrm>
                <a:custGeom>
                  <a:avLst/>
                  <a:gdLst/>
                  <a:ahLst/>
                  <a:cxnLst>
                    <a:cxn ang="0">
                      <a:pos x="154" y="2"/>
                    </a:cxn>
                    <a:cxn ang="0">
                      <a:pos x="138" y="40"/>
                    </a:cxn>
                    <a:cxn ang="0">
                      <a:pos x="98" y="132"/>
                    </a:cxn>
                    <a:cxn ang="0">
                      <a:pos x="56" y="40"/>
                    </a:cxn>
                    <a:cxn ang="0">
                      <a:pos x="40" y="0"/>
                    </a:cxn>
                    <a:cxn ang="0">
                      <a:pos x="40" y="0"/>
                    </a:cxn>
                    <a:cxn ang="0">
                      <a:pos x="32" y="8"/>
                    </a:cxn>
                    <a:cxn ang="0">
                      <a:pos x="24" y="16"/>
                    </a:cxn>
                    <a:cxn ang="0">
                      <a:pos x="16" y="24"/>
                    </a:cxn>
                    <a:cxn ang="0">
                      <a:pos x="12" y="34"/>
                    </a:cxn>
                    <a:cxn ang="0">
                      <a:pos x="6" y="44"/>
                    </a:cxn>
                    <a:cxn ang="0">
                      <a:pos x="4" y="54"/>
                    </a:cxn>
                    <a:cxn ang="0">
                      <a:pos x="2" y="66"/>
                    </a:cxn>
                    <a:cxn ang="0">
                      <a:pos x="0" y="76"/>
                    </a:cxn>
                    <a:cxn ang="0">
                      <a:pos x="0" y="100"/>
                    </a:cxn>
                    <a:cxn ang="0">
                      <a:pos x="0" y="100"/>
                    </a:cxn>
                    <a:cxn ang="0">
                      <a:pos x="22" y="114"/>
                    </a:cxn>
                    <a:cxn ang="0">
                      <a:pos x="44" y="126"/>
                    </a:cxn>
                    <a:cxn ang="0">
                      <a:pos x="70" y="132"/>
                    </a:cxn>
                    <a:cxn ang="0">
                      <a:pos x="82" y="134"/>
                    </a:cxn>
                    <a:cxn ang="0">
                      <a:pos x="96" y="134"/>
                    </a:cxn>
                    <a:cxn ang="0">
                      <a:pos x="96" y="134"/>
                    </a:cxn>
                    <a:cxn ang="0">
                      <a:pos x="110" y="134"/>
                    </a:cxn>
                    <a:cxn ang="0">
                      <a:pos x="122" y="132"/>
                    </a:cxn>
                    <a:cxn ang="0">
                      <a:pos x="148" y="126"/>
                    </a:cxn>
                    <a:cxn ang="0">
                      <a:pos x="170" y="114"/>
                    </a:cxn>
                    <a:cxn ang="0">
                      <a:pos x="192" y="100"/>
                    </a:cxn>
                    <a:cxn ang="0">
                      <a:pos x="192" y="76"/>
                    </a:cxn>
                    <a:cxn ang="0">
                      <a:pos x="192" y="76"/>
                    </a:cxn>
                    <a:cxn ang="0">
                      <a:pos x="190" y="66"/>
                    </a:cxn>
                    <a:cxn ang="0">
                      <a:pos x="188" y="54"/>
                    </a:cxn>
                    <a:cxn ang="0">
                      <a:pos x="186" y="44"/>
                    </a:cxn>
                    <a:cxn ang="0">
                      <a:pos x="182" y="34"/>
                    </a:cxn>
                    <a:cxn ang="0">
                      <a:pos x="176" y="24"/>
                    </a:cxn>
                    <a:cxn ang="0">
                      <a:pos x="170" y="16"/>
                    </a:cxn>
                    <a:cxn ang="0">
                      <a:pos x="162" y="8"/>
                    </a:cxn>
                    <a:cxn ang="0">
                      <a:pos x="154" y="2"/>
                    </a:cxn>
                    <a:cxn ang="0">
                      <a:pos x="154" y="2"/>
                    </a:cxn>
                  </a:cxnLst>
                  <a:rect l="0" t="0" r="r" b="b"/>
                  <a:pathLst>
                    <a:path w="192" h="134">
                      <a:moveTo>
                        <a:pt x="154" y="2"/>
                      </a:moveTo>
                      <a:lnTo>
                        <a:pt x="138" y="40"/>
                      </a:lnTo>
                      <a:lnTo>
                        <a:pt x="98" y="132"/>
                      </a:lnTo>
                      <a:lnTo>
                        <a:pt x="56" y="40"/>
                      </a:lnTo>
                      <a:lnTo>
                        <a:pt x="40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12" y="34"/>
                      </a:lnTo>
                      <a:lnTo>
                        <a:pt x="6" y="44"/>
                      </a:lnTo>
                      <a:lnTo>
                        <a:pt x="4" y="54"/>
                      </a:lnTo>
                      <a:lnTo>
                        <a:pt x="2" y="66"/>
                      </a:lnTo>
                      <a:lnTo>
                        <a:pt x="0" y="76"/>
                      </a:lnTo>
                      <a:lnTo>
                        <a:pt x="0" y="100"/>
                      </a:lnTo>
                      <a:lnTo>
                        <a:pt x="0" y="100"/>
                      </a:lnTo>
                      <a:lnTo>
                        <a:pt x="22" y="114"/>
                      </a:lnTo>
                      <a:lnTo>
                        <a:pt x="44" y="126"/>
                      </a:lnTo>
                      <a:lnTo>
                        <a:pt x="70" y="132"/>
                      </a:lnTo>
                      <a:lnTo>
                        <a:pt x="82" y="134"/>
                      </a:lnTo>
                      <a:lnTo>
                        <a:pt x="96" y="134"/>
                      </a:lnTo>
                      <a:lnTo>
                        <a:pt x="96" y="134"/>
                      </a:lnTo>
                      <a:lnTo>
                        <a:pt x="110" y="134"/>
                      </a:lnTo>
                      <a:lnTo>
                        <a:pt x="122" y="132"/>
                      </a:lnTo>
                      <a:lnTo>
                        <a:pt x="148" y="126"/>
                      </a:lnTo>
                      <a:lnTo>
                        <a:pt x="170" y="114"/>
                      </a:lnTo>
                      <a:lnTo>
                        <a:pt x="192" y="100"/>
                      </a:lnTo>
                      <a:lnTo>
                        <a:pt x="192" y="76"/>
                      </a:lnTo>
                      <a:lnTo>
                        <a:pt x="192" y="76"/>
                      </a:lnTo>
                      <a:lnTo>
                        <a:pt x="190" y="66"/>
                      </a:lnTo>
                      <a:lnTo>
                        <a:pt x="188" y="54"/>
                      </a:lnTo>
                      <a:lnTo>
                        <a:pt x="186" y="44"/>
                      </a:lnTo>
                      <a:lnTo>
                        <a:pt x="182" y="34"/>
                      </a:lnTo>
                      <a:lnTo>
                        <a:pt x="176" y="24"/>
                      </a:lnTo>
                      <a:lnTo>
                        <a:pt x="170" y="16"/>
                      </a:lnTo>
                      <a:lnTo>
                        <a:pt x="162" y="8"/>
                      </a:lnTo>
                      <a:lnTo>
                        <a:pt x="154" y="2"/>
                      </a:lnTo>
                      <a:lnTo>
                        <a:pt x="154" y="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4" name="Freeform 151"/>
                <p:cNvSpPr>
                  <a:spLocks/>
                </p:cNvSpPr>
                <p:nvPr/>
              </p:nvSpPr>
              <p:spPr bwMode="auto">
                <a:xfrm>
                  <a:off x="18061290" y="-407777"/>
                  <a:ext cx="101261" cy="26581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6"/>
                    </a:cxn>
                    <a:cxn ang="0">
                      <a:pos x="8" y="12"/>
                    </a:cxn>
                    <a:cxn ang="0">
                      <a:pos x="2" y="70"/>
                    </a:cxn>
                    <a:cxn ang="0">
                      <a:pos x="16" y="84"/>
                    </a:cxn>
                    <a:cxn ang="0">
                      <a:pos x="30" y="70"/>
                    </a:cxn>
                    <a:cxn ang="0">
                      <a:pos x="26" y="12"/>
                    </a:cxn>
                    <a:cxn ang="0">
                      <a:pos x="26" y="12"/>
                    </a:cxn>
                    <a:cxn ang="0">
                      <a:pos x="30" y="6"/>
                    </a:cxn>
                    <a:cxn ang="0">
                      <a:pos x="32" y="0"/>
                    </a:cxn>
                    <a:cxn ang="0">
                      <a:pos x="32" y="0"/>
                    </a:cxn>
                    <a:cxn ang="0">
                      <a:pos x="16" y="2"/>
                    </a:cxn>
                    <a:cxn ang="0">
                      <a:pos x="16" y="2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2" h="84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8" y="12"/>
                      </a:lnTo>
                      <a:lnTo>
                        <a:pt x="2" y="70"/>
                      </a:lnTo>
                      <a:lnTo>
                        <a:pt x="16" y="84"/>
                      </a:lnTo>
                      <a:lnTo>
                        <a:pt x="30" y="70"/>
                      </a:lnTo>
                      <a:lnTo>
                        <a:pt x="26" y="12"/>
                      </a:lnTo>
                      <a:lnTo>
                        <a:pt x="26" y="12"/>
                      </a:lnTo>
                      <a:lnTo>
                        <a:pt x="30" y="6"/>
                      </a:lnTo>
                      <a:lnTo>
                        <a:pt x="32" y="0"/>
                      </a:lnTo>
                      <a:lnTo>
                        <a:pt x="32" y="0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5" name="Freeform 152"/>
                <p:cNvSpPr>
                  <a:spLocks/>
                </p:cNvSpPr>
                <p:nvPr/>
              </p:nvSpPr>
              <p:spPr bwMode="auto">
                <a:xfrm>
                  <a:off x="17928385" y="-730546"/>
                  <a:ext cx="367071" cy="316440"/>
                </a:xfrm>
                <a:custGeom>
                  <a:avLst/>
                  <a:gdLst/>
                  <a:ahLst/>
                  <a:cxnLst>
                    <a:cxn ang="0">
                      <a:pos x="58" y="10"/>
                    </a:cxn>
                    <a:cxn ang="0">
                      <a:pos x="58" y="10"/>
                    </a:cxn>
                    <a:cxn ang="0">
                      <a:pos x="48" y="10"/>
                    </a:cxn>
                    <a:cxn ang="0">
                      <a:pos x="38" y="8"/>
                    </a:cxn>
                    <a:cxn ang="0">
                      <a:pos x="30" y="4"/>
                    </a:cxn>
                    <a:cxn ang="0">
                      <a:pos x="26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2"/>
                    </a:cxn>
                    <a:cxn ang="0">
                      <a:pos x="0" y="48"/>
                    </a:cxn>
                    <a:cxn ang="0">
                      <a:pos x="0" y="48"/>
                    </a:cxn>
                    <a:cxn ang="0">
                      <a:pos x="0" y="56"/>
                    </a:cxn>
                    <a:cxn ang="0">
                      <a:pos x="2" y="66"/>
                    </a:cxn>
                    <a:cxn ang="0">
                      <a:pos x="6" y="74"/>
                    </a:cxn>
                    <a:cxn ang="0">
                      <a:pos x="12" y="80"/>
                    </a:cxn>
                    <a:cxn ang="0">
                      <a:pos x="18" y="86"/>
                    </a:cxn>
                    <a:cxn ang="0">
                      <a:pos x="26" y="92"/>
                    </a:cxn>
                    <a:cxn ang="0">
                      <a:pos x="34" y="96"/>
                    </a:cxn>
                    <a:cxn ang="0">
                      <a:pos x="42" y="98"/>
                    </a:cxn>
                    <a:cxn ang="0">
                      <a:pos x="42" y="98"/>
                    </a:cxn>
                    <a:cxn ang="0">
                      <a:pos x="58" y="100"/>
                    </a:cxn>
                    <a:cxn ang="0">
                      <a:pos x="58" y="100"/>
                    </a:cxn>
                    <a:cxn ang="0">
                      <a:pos x="74" y="98"/>
                    </a:cxn>
                    <a:cxn ang="0">
                      <a:pos x="74" y="98"/>
                    </a:cxn>
                    <a:cxn ang="0">
                      <a:pos x="82" y="96"/>
                    </a:cxn>
                    <a:cxn ang="0">
                      <a:pos x="90" y="92"/>
                    </a:cxn>
                    <a:cxn ang="0">
                      <a:pos x="98" y="86"/>
                    </a:cxn>
                    <a:cxn ang="0">
                      <a:pos x="104" y="80"/>
                    </a:cxn>
                    <a:cxn ang="0">
                      <a:pos x="110" y="74"/>
                    </a:cxn>
                    <a:cxn ang="0">
                      <a:pos x="114" y="66"/>
                    </a:cxn>
                    <a:cxn ang="0">
                      <a:pos x="116" y="56"/>
                    </a:cxn>
                    <a:cxn ang="0">
                      <a:pos x="116" y="48"/>
                    </a:cxn>
                    <a:cxn ang="0">
                      <a:pos x="116" y="12"/>
                    </a:cxn>
                    <a:cxn ang="0">
                      <a:pos x="116" y="12"/>
                    </a:cxn>
                    <a:cxn ang="0">
                      <a:pos x="116" y="0"/>
                    </a:cxn>
                    <a:cxn ang="0">
                      <a:pos x="92" y="0"/>
                    </a:cxn>
                    <a:cxn ang="0">
                      <a:pos x="92" y="0"/>
                    </a:cxn>
                    <a:cxn ang="0">
                      <a:pos x="88" y="4"/>
                    </a:cxn>
                    <a:cxn ang="0">
                      <a:pos x="80" y="8"/>
                    </a:cxn>
                    <a:cxn ang="0">
                      <a:pos x="70" y="10"/>
                    </a:cxn>
                    <a:cxn ang="0">
                      <a:pos x="58" y="10"/>
                    </a:cxn>
                    <a:cxn ang="0">
                      <a:pos x="58" y="10"/>
                    </a:cxn>
                  </a:cxnLst>
                  <a:rect l="0" t="0" r="r" b="b"/>
                  <a:pathLst>
                    <a:path w="116" h="100">
                      <a:moveTo>
                        <a:pt x="58" y="10"/>
                      </a:moveTo>
                      <a:lnTo>
                        <a:pt x="58" y="10"/>
                      </a:lnTo>
                      <a:lnTo>
                        <a:pt x="48" y="10"/>
                      </a:lnTo>
                      <a:lnTo>
                        <a:pt x="38" y="8"/>
                      </a:lnTo>
                      <a:lnTo>
                        <a:pt x="30" y="4"/>
                      </a:lnTo>
                      <a:lnTo>
                        <a:pt x="26" y="0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12"/>
                      </a:lnTo>
                      <a:lnTo>
                        <a:pt x="0" y="48"/>
                      </a:lnTo>
                      <a:lnTo>
                        <a:pt x="0" y="48"/>
                      </a:lnTo>
                      <a:lnTo>
                        <a:pt x="0" y="56"/>
                      </a:lnTo>
                      <a:lnTo>
                        <a:pt x="2" y="66"/>
                      </a:lnTo>
                      <a:lnTo>
                        <a:pt x="6" y="74"/>
                      </a:lnTo>
                      <a:lnTo>
                        <a:pt x="12" y="80"/>
                      </a:lnTo>
                      <a:lnTo>
                        <a:pt x="18" y="86"/>
                      </a:lnTo>
                      <a:lnTo>
                        <a:pt x="26" y="92"/>
                      </a:lnTo>
                      <a:lnTo>
                        <a:pt x="34" y="96"/>
                      </a:lnTo>
                      <a:lnTo>
                        <a:pt x="42" y="98"/>
                      </a:lnTo>
                      <a:lnTo>
                        <a:pt x="42" y="98"/>
                      </a:lnTo>
                      <a:lnTo>
                        <a:pt x="58" y="100"/>
                      </a:lnTo>
                      <a:lnTo>
                        <a:pt x="58" y="100"/>
                      </a:lnTo>
                      <a:lnTo>
                        <a:pt x="74" y="98"/>
                      </a:lnTo>
                      <a:lnTo>
                        <a:pt x="74" y="98"/>
                      </a:lnTo>
                      <a:lnTo>
                        <a:pt x="82" y="96"/>
                      </a:lnTo>
                      <a:lnTo>
                        <a:pt x="90" y="92"/>
                      </a:lnTo>
                      <a:lnTo>
                        <a:pt x="98" y="86"/>
                      </a:lnTo>
                      <a:lnTo>
                        <a:pt x="104" y="80"/>
                      </a:lnTo>
                      <a:lnTo>
                        <a:pt x="110" y="74"/>
                      </a:lnTo>
                      <a:lnTo>
                        <a:pt x="114" y="66"/>
                      </a:lnTo>
                      <a:lnTo>
                        <a:pt x="116" y="56"/>
                      </a:lnTo>
                      <a:lnTo>
                        <a:pt x="116" y="48"/>
                      </a:lnTo>
                      <a:lnTo>
                        <a:pt x="116" y="12"/>
                      </a:lnTo>
                      <a:lnTo>
                        <a:pt x="116" y="12"/>
                      </a:lnTo>
                      <a:lnTo>
                        <a:pt x="116" y="0"/>
                      </a:lnTo>
                      <a:lnTo>
                        <a:pt x="92" y="0"/>
                      </a:lnTo>
                      <a:lnTo>
                        <a:pt x="92" y="0"/>
                      </a:lnTo>
                      <a:lnTo>
                        <a:pt x="88" y="4"/>
                      </a:lnTo>
                      <a:lnTo>
                        <a:pt x="80" y="8"/>
                      </a:lnTo>
                      <a:lnTo>
                        <a:pt x="70" y="10"/>
                      </a:lnTo>
                      <a:lnTo>
                        <a:pt x="58" y="10"/>
                      </a:lnTo>
                      <a:lnTo>
                        <a:pt x="58" y="10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6" name="Freeform 153"/>
                <p:cNvSpPr>
                  <a:spLocks noEditPoints="1"/>
                </p:cNvSpPr>
                <p:nvPr/>
              </p:nvSpPr>
              <p:spPr bwMode="auto">
                <a:xfrm>
                  <a:off x="17909399" y="-939397"/>
                  <a:ext cx="417701" cy="227837"/>
                </a:xfrm>
                <a:custGeom>
                  <a:avLst/>
                  <a:gdLst/>
                  <a:ahLst/>
                  <a:cxnLst>
                    <a:cxn ang="0">
                      <a:pos x="66" y="0"/>
                    </a:cxn>
                    <a:cxn ang="0">
                      <a:pos x="66" y="0"/>
                    </a:cxn>
                    <a:cxn ang="0">
                      <a:pos x="52" y="2"/>
                    </a:cxn>
                    <a:cxn ang="0">
                      <a:pos x="40" y="6"/>
                    </a:cxn>
                    <a:cxn ang="0">
                      <a:pos x="30" y="12"/>
                    </a:cxn>
                    <a:cxn ang="0">
                      <a:pos x="20" y="18"/>
                    </a:cxn>
                    <a:cxn ang="0">
                      <a:pos x="12" y="28"/>
                    </a:cxn>
                    <a:cxn ang="0">
                      <a:pos x="6" y="38"/>
                    </a:cxn>
                    <a:cxn ang="0">
                      <a:pos x="2" y="48"/>
                    </a:cxn>
                    <a:cxn ang="0">
                      <a:pos x="0" y="60"/>
                    </a:cxn>
                    <a:cxn ang="0">
                      <a:pos x="8" y="60"/>
                    </a:cxn>
                    <a:cxn ang="0">
                      <a:pos x="8" y="60"/>
                    </a:cxn>
                    <a:cxn ang="0">
                      <a:pos x="32" y="60"/>
                    </a:cxn>
                    <a:cxn ang="0">
                      <a:pos x="32" y="60"/>
                    </a:cxn>
                    <a:cxn ang="0">
                      <a:pos x="36" y="64"/>
                    </a:cxn>
                    <a:cxn ang="0">
                      <a:pos x="44" y="68"/>
                    </a:cxn>
                    <a:cxn ang="0">
                      <a:pos x="54" y="70"/>
                    </a:cxn>
                    <a:cxn ang="0">
                      <a:pos x="66" y="72"/>
                    </a:cxn>
                    <a:cxn ang="0">
                      <a:pos x="66" y="72"/>
                    </a:cxn>
                    <a:cxn ang="0">
                      <a:pos x="78" y="70"/>
                    </a:cxn>
                    <a:cxn ang="0">
                      <a:pos x="88" y="68"/>
                    </a:cxn>
                    <a:cxn ang="0">
                      <a:pos x="94" y="64"/>
                    </a:cxn>
                    <a:cxn ang="0">
                      <a:pos x="100" y="60"/>
                    </a:cxn>
                    <a:cxn ang="0">
                      <a:pos x="122" y="60"/>
                    </a:cxn>
                    <a:cxn ang="0">
                      <a:pos x="126" y="60"/>
                    </a:cxn>
                    <a:cxn ang="0">
                      <a:pos x="132" y="60"/>
                    </a:cxn>
                    <a:cxn ang="0">
                      <a:pos x="132" y="60"/>
                    </a:cxn>
                    <a:cxn ang="0">
                      <a:pos x="130" y="48"/>
                    </a:cxn>
                    <a:cxn ang="0">
                      <a:pos x="124" y="38"/>
                    </a:cxn>
                    <a:cxn ang="0">
                      <a:pos x="118" y="28"/>
                    </a:cxn>
                    <a:cxn ang="0">
                      <a:pos x="110" y="18"/>
                    </a:cxn>
                    <a:cxn ang="0">
                      <a:pos x="102" y="12"/>
                    </a:cxn>
                    <a:cxn ang="0">
                      <a:pos x="90" y="6"/>
                    </a:cxn>
                    <a:cxn ang="0">
                      <a:pos x="78" y="2"/>
                    </a:cxn>
                    <a:cxn ang="0">
                      <a:pos x="66" y="0"/>
                    </a:cxn>
                    <a:cxn ang="0">
                      <a:pos x="66" y="0"/>
                    </a:cxn>
                    <a:cxn ang="0">
                      <a:pos x="66" y="52"/>
                    </a:cxn>
                    <a:cxn ang="0">
                      <a:pos x="66" y="52"/>
                    </a:cxn>
                    <a:cxn ang="0">
                      <a:pos x="60" y="52"/>
                    </a:cxn>
                    <a:cxn ang="0">
                      <a:pos x="56" y="48"/>
                    </a:cxn>
                    <a:cxn ang="0">
                      <a:pos x="54" y="44"/>
                    </a:cxn>
                    <a:cxn ang="0">
                      <a:pos x="54" y="40"/>
                    </a:cxn>
                    <a:cxn ang="0">
                      <a:pos x="54" y="40"/>
                    </a:cxn>
                    <a:cxn ang="0">
                      <a:pos x="54" y="34"/>
                    </a:cxn>
                    <a:cxn ang="0">
                      <a:pos x="56" y="30"/>
                    </a:cxn>
                    <a:cxn ang="0">
                      <a:pos x="60" y="28"/>
                    </a:cxn>
                    <a:cxn ang="0">
                      <a:pos x="66" y="28"/>
                    </a:cxn>
                    <a:cxn ang="0">
                      <a:pos x="66" y="28"/>
                    </a:cxn>
                    <a:cxn ang="0">
                      <a:pos x="70" y="28"/>
                    </a:cxn>
                    <a:cxn ang="0">
                      <a:pos x="74" y="30"/>
                    </a:cxn>
                    <a:cxn ang="0">
                      <a:pos x="76" y="34"/>
                    </a:cxn>
                    <a:cxn ang="0">
                      <a:pos x="78" y="40"/>
                    </a:cxn>
                    <a:cxn ang="0">
                      <a:pos x="78" y="40"/>
                    </a:cxn>
                    <a:cxn ang="0">
                      <a:pos x="76" y="44"/>
                    </a:cxn>
                    <a:cxn ang="0">
                      <a:pos x="74" y="48"/>
                    </a:cxn>
                    <a:cxn ang="0">
                      <a:pos x="70" y="52"/>
                    </a:cxn>
                    <a:cxn ang="0">
                      <a:pos x="66" y="52"/>
                    </a:cxn>
                    <a:cxn ang="0">
                      <a:pos x="66" y="52"/>
                    </a:cxn>
                  </a:cxnLst>
                  <a:rect l="0" t="0" r="r" b="b"/>
                  <a:pathLst>
                    <a:path w="132" h="72">
                      <a:moveTo>
                        <a:pt x="66" y="0"/>
                      </a:moveTo>
                      <a:lnTo>
                        <a:pt x="66" y="0"/>
                      </a:lnTo>
                      <a:lnTo>
                        <a:pt x="52" y="2"/>
                      </a:lnTo>
                      <a:lnTo>
                        <a:pt x="40" y="6"/>
                      </a:lnTo>
                      <a:lnTo>
                        <a:pt x="30" y="12"/>
                      </a:lnTo>
                      <a:lnTo>
                        <a:pt x="20" y="18"/>
                      </a:lnTo>
                      <a:lnTo>
                        <a:pt x="12" y="28"/>
                      </a:lnTo>
                      <a:lnTo>
                        <a:pt x="6" y="38"/>
                      </a:lnTo>
                      <a:lnTo>
                        <a:pt x="2" y="48"/>
                      </a:lnTo>
                      <a:lnTo>
                        <a:pt x="0" y="60"/>
                      </a:lnTo>
                      <a:lnTo>
                        <a:pt x="8" y="60"/>
                      </a:lnTo>
                      <a:lnTo>
                        <a:pt x="8" y="60"/>
                      </a:lnTo>
                      <a:lnTo>
                        <a:pt x="32" y="60"/>
                      </a:lnTo>
                      <a:lnTo>
                        <a:pt x="32" y="60"/>
                      </a:lnTo>
                      <a:lnTo>
                        <a:pt x="36" y="64"/>
                      </a:lnTo>
                      <a:lnTo>
                        <a:pt x="44" y="68"/>
                      </a:lnTo>
                      <a:lnTo>
                        <a:pt x="54" y="70"/>
                      </a:lnTo>
                      <a:lnTo>
                        <a:pt x="66" y="72"/>
                      </a:lnTo>
                      <a:lnTo>
                        <a:pt x="66" y="72"/>
                      </a:lnTo>
                      <a:lnTo>
                        <a:pt x="78" y="70"/>
                      </a:lnTo>
                      <a:lnTo>
                        <a:pt x="88" y="68"/>
                      </a:lnTo>
                      <a:lnTo>
                        <a:pt x="94" y="64"/>
                      </a:lnTo>
                      <a:lnTo>
                        <a:pt x="100" y="60"/>
                      </a:lnTo>
                      <a:lnTo>
                        <a:pt x="122" y="60"/>
                      </a:lnTo>
                      <a:lnTo>
                        <a:pt x="126" y="60"/>
                      </a:lnTo>
                      <a:lnTo>
                        <a:pt x="132" y="60"/>
                      </a:lnTo>
                      <a:lnTo>
                        <a:pt x="132" y="60"/>
                      </a:lnTo>
                      <a:lnTo>
                        <a:pt x="130" y="48"/>
                      </a:lnTo>
                      <a:lnTo>
                        <a:pt x="124" y="38"/>
                      </a:lnTo>
                      <a:lnTo>
                        <a:pt x="118" y="28"/>
                      </a:lnTo>
                      <a:lnTo>
                        <a:pt x="110" y="18"/>
                      </a:lnTo>
                      <a:lnTo>
                        <a:pt x="102" y="12"/>
                      </a:lnTo>
                      <a:lnTo>
                        <a:pt x="90" y="6"/>
                      </a:lnTo>
                      <a:lnTo>
                        <a:pt x="78" y="2"/>
                      </a:lnTo>
                      <a:lnTo>
                        <a:pt x="66" y="0"/>
                      </a:lnTo>
                      <a:lnTo>
                        <a:pt x="66" y="0"/>
                      </a:lnTo>
                      <a:close/>
                      <a:moveTo>
                        <a:pt x="66" y="52"/>
                      </a:moveTo>
                      <a:lnTo>
                        <a:pt x="66" y="52"/>
                      </a:lnTo>
                      <a:lnTo>
                        <a:pt x="60" y="52"/>
                      </a:lnTo>
                      <a:lnTo>
                        <a:pt x="56" y="48"/>
                      </a:lnTo>
                      <a:lnTo>
                        <a:pt x="54" y="44"/>
                      </a:lnTo>
                      <a:lnTo>
                        <a:pt x="54" y="40"/>
                      </a:lnTo>
                      <a:lnTo>
                        <a:pt x="54" y="40"/>
                      </a:lnTo>
                      <a:lnTo>
                        <a:pt x="54" y="34"/>
                      </a:lnTo>
                      <a:lnTo>
                        <a:pt x="56" y="30"/>
                      </a:lnTo>
                      <a:lnTo>
                        <a:pt x="60" y="28"/>
                      </a:lnTo>
                      <a:lnTo>
                        <a:pt x="66" y="28"/>
                      </a:lnTo>
                      <a:lnTo>
                        <a:pt x="66" y="28"/>
                      </a:lnTo>
                      <a:lnTo>
                        <a:pt x="70" y="28"/>
                      </a:lnTo>
                      <a:lnTo>
                        <a:pt x="74" y="30"/>
                      </a:lnTo>
                      <a:lnTo>
                        <a:pt x="76" y="34"/>
                      </a:lnTo>
                      <a:lnTo>
                        <a:pt x="78" y="40"/>
                      </a:lnTo>
                      <a:lnTo>
                        <a:pt x="78" y="40"/>
                      </a:lnTo>
                      <a:lnTo>
                        <a:pt x="76" y="44"/>
                      </a:lnTo>
                      <a:lnTo>
                        <a:pt x="74" y="48"/>
                      </a:lnTo>
                      <a:lnTo>
                        <a:pt x="70" y="52"/>
                      </a:lnTo>
                      <a:lnTo>
                        <a:pt x="66" y="52"/>
                      </a:lnTo>
                      <a:lnTo>
                        <a:pt x="66" y="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zh-CN" altLang="en-US" sz="12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</p:grpSp>
      </p:grpSp>
      <p:cxnSp>
        <p:nvCxnSpPr>
          <p:cNvPr id="54" name="直接连接符 53"/>
          <p:cNvCxnSpPr/>
          <p:nvPr/>
        </p:nvCxnSpPr>
        <p:spPr bwMode="auto">
          <a:xfrm>
            <a:off x="2235429" y="1995686"/>
            <a:ext cx="1856143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直接连接符 55"/>
          <p:cNvCxnSpPr/>
          <p:nvPr/>
        </p:nvCxnSpPr>
        <p:spPr bwMode="auto">
          <a:xfrm flipH="1" flipV="1">
            <a:off x="2215653" y="1688867"/>
            <a:ext cx="8451" cy="333272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直接连接符 56"/>
          <p:cNvCxnSpPr/>
          <p:nvPr/>
        </p:nvCxnSpPr>
        <p:spPr bwMode="auto">
          <a:xfrm rot="5400000" flipH="1" flipV="1">
            <a:off x="1748575" y="1992947"/>
            <a:ext cx="426020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直接连接符 57"/>
          <p:cNvCxnSpPr/>
          <p:nvPr/>
        </p:nvCxnSpPr>
        <p:spPr bwMode="auto">
          <a:xfrm flipV="1">
            <a:off x="1010937" y="2209510"/>
            <a:ext cx="949476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9" name="直接连接符 58"/>
          <p:cNvCxnSpPr/>
          <p:nvPr/>
        </p:nvCxnSpPr>
        <p:spPr bwMode="auto">
          <a:xfrm rot="5400000" flipH="1" flipV="1">
            <a:off x="791743" y="2008938"/>
            <a:ext cx="382537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Freeform 27"/>
          <p:cNvSpPr>
            <a:spLocks noEditPoints="1"/>
          </p:cNvSpPr>
          <p:nvPr/>
        </p:nvSpPr>
        <p:spPr bwMode="auto">
          <a:xfrm>
            <a:off x="669945" y="1456971"/>
            <a:ext cx="626134" cy="364172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267"/>
          <p:cNvSpPr>
            <a:spLocks noChangeArrowheads="1"/>
          </p:cNvSpPr>
          <p:nvPr/>
        </p:nvSpPr>
        <p:spPr bwMode="auto">
          <a:xfrm>
            <a:off x="1516231" y="1768061"/>
            <a:ext cx="1239121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Cloud Data Center 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2" name="Rectangle 267"/>
          <p:cNvSpPr>
            <a:spLocks noChangeArrowheads="1"/>
          </p:cNvSpPr>
          <p:nvPr/>
        </p:nvSpPr>
        <p:spPr bwMode="auto">
          <a:xfrm>
            <a:off x="4118175" y="1634373"/>
            <a:ext cx="1708802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Common Operation Center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712073" y="1501965"/>
            <a:ext cx="548548" cy="246221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华文彩云" pitchFamily="2" charset="-122"/>
                <a:cs typeface="Arial" pitchFamily="34" charset="0"/>
              </a:rPr>
              <a:t>Cloud</a:t>
            </a:r>
            <a:endParaRPr kumimoji="0" lang="zh-CN" alt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华文彩云" pitchFamily="2" charset="-122"/>
              <a:cs typeface="Arial" pitchFamily="34" charset="0"/>
            </a:endParaRPr>
          </a:p>
        </p:txBody>
      </p:sp>
      <p:pic>
        <p:nvPicPr>
          <p:cNvPr id="70" name="Picture 2"/>
          <p:cNvPicPr>
            <a:picLocks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6948783" y="3496982"/>
            <a:ext cx="100820" cy="100981"/>
          </a:xfrm>
          <a:prstGeom prst="rect">
            <a:avLst/>
          </a:prstGeom>
        </p:spPr>
      </p:pic>
      <p:sp>
        <p:nvSpPr>
          <p:cNvPr id="74" name="Rectangle 267"/>
          <p:cNvSpPr>
            <a:spLocks noChangeArrowheads="1"/>
          </p:cNvSpPr>
          <p:nvPr/>
        </p:nvSpPr>
        <p:spPr bwMode="auto">
          <a:xfrm>
            <a:off x="6066110" y="1589038"/>
            <a:ext cx="1216680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 smtClean="0">
                <a:latin typeface="Arial" pitchFamily="34" charset="0"/>
                <a:ea typeface="微软雅黑" pitchFamily="34" charset="-122"/>
                <a:cs typeface="Arial" pitchFamily="34" charset="0"/>
              </a:rPr>
              <a:t>Video Consultation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44" name="组合 399"/>
          <p:cNvGrpSpPr/>
          <p:nvPr/>
        </p:nvGrpSpPr>
        <p:grpSpPr>
          <a:xfrm>
            <a:off x="8129520" y="3569864"/>
            <a:ext cx="162926" cy="208476"/>
            <a:chOff x="7490216" y="1910679"/>
            <a:chExt cx="261718" cy="448266"/>
          </a:xfrm>
        </p:grpSpPr>
        <p:sp>
          <p:nvSpPr>
            <p:cNvPr id="143" name="Freeform 11"/>
            <p:cNvSpPr>
              <a:spLocks noEditPoints="1"/>
            </p:cNvSpPr>
            <p:nvPr/>
          </p:nvSpPr>
          <p:spPr bwMode="auto">
            <a:xfrm>
              <a:off x="7582249" y="1995467"/>
              <a:ext cx="169685" cy="363478"/>
            </a:xfrm>
            <a:custGeom>
              <a:avLst/>
              <a:gdLst/>
              <a:ahLst/>
              <a:cxnLst>
                <a:cxn ang="0">
                  <a:pos x="256" y="4"/>
                </a:cxn>
                <a:cxn ang="0">
                  <a:pos x="225" y="4"/>
                </a:cxn>
                <a:cxn ang="0">
                  <a:pos x="61" y="43"/>
                </a:cxn>
                <a:cxn ang="0">
                  <a:pos x="0" y="463"/>
                </a:cxn>
                <a:cxn ang="0">
                  <a:pos x="61" y="523"/>
                </a:cxn>
                <a:cxn ang="0">
                  <a:pos x="290" y="484"/>
                </a:cxn>
                <a:cxn ang="0">
                  <a:pos x="286" y="69"/>
                </a:cxn>
                <a:cxn ang="0">
                  <a:pos x="74" y="489"/>
                </a:cxn>
                <a:cxn ang="0">
                  <a:pos x="48" y="458"/>
                </a:cxn>
                <a:cxn ang="0">
                  <a:pos x="74" y="432"/>
                </a:cxn>
                <a:cxn ang="0">
                  <a:pos x="100" y="458"/>
                </a:cxn>
                <a:cxn ang="0">
                  <a:pos x="74" y="489"/>
                </a:cxn>
                <a:cxn ang="0">
                  <a:pos x="48" y="406"/>
                </a:cxn>
                <a:cxn ang="0">
                  <a:pos x="65" y="367"/>
                </a:cxn>
                <a:cxn ang="0">
                  <a:pos x="100" y="385"/>
                </a:cxn>
                <a:cxn ang="0">
                  <a:pos x="87" y="419"/>
                </a:cxn>
                <a:cxn ang="0">
                  <a:pos x="65" y="354"/>
                </a:cxn>
                <a:cxn ang="0">
                  <a:pos x="48" y="320"/>
                </a:cxn>
                <a:cxn ang="0">
                  <a:pos x="87" y="303"/>
                </a:cxn>
                <a:cxn ang="0">
                  <a:pos x="100" y="337"/>
                </a:cxn>
                <a:cxn ang="0">
                  <a:pos x="147" y="489"/>
                </a:cxn>
                <a:cxn ang="0">
                  <a:pos x="122" y="458"/>
                </a:cxn>
                <a:cxn ang="0">
                  <a:pos x="147" y="432"/>
                </a:cxn>
                <a:cxn ang="0">
                  <a:pos x="173" y="458"/>
                </a:cxn>
                <a:cxn ang="0">
                  <a:pos x="147" y="489"/>
                </a:cxn>
                <a:cxn ang="0">
                  <a:pos x="130" y="415"/>
                </a:cxn>
                <a:cxn ang="0">
                  <a:pos x="130" y="376"/>
                </a:cxn>
                <a:cxn ang="0">
                  <a:pos x="165" y="376"/>
                </a:cxn>
                <a:cxn ang="0">
                  <a:pos x="165" y="415"/>
                </a:cxn>
                <a:cxn ang="0">
                  <a:pos x="147" y="354"/>
                </a:cxn>
                <a:cxn ang="0">
                  <a:pos x="122" y="328"/>
                </a:cxn>
                <a:cxn ang="0">
                  <a:pos x="147" y="303"/>
                </a:cxn>
                <a:cxn ang="0">
                  <a:pos x="173" y="328"/>
                </a:cxn>
                <a:cxn ang="0">
                  <a:pos x="147" y="354"/>
                </a:cxn>
                <a:cxn ang="0">
                  <a:pos x="195" y="471"/>
                </a:cxn>
                <a:cxn ang="0">
                  <a:pos x="208" y="437"/>
                </a:cxn>
                <a:cxn ang="0">
                  <a:pos x="247" y="450"/>
                </a:cxn>
                <a:cxn ang="0">
                  <a:pos x="230" y="484"/>
                </a:cxn>
                <a:cxn ang="0">
                  <a:pos x="208" y="419"/>
                </a:cxn>
                <a:cxn ang="0">
                  <a:pos x="195" y="385"/>
                </a:cxn>
                <a:cxn ang="0">
                  <a:pos x="230" y="367"/>
                </a:cxn>
                <a:cxn ang="0">
                  <a:pos x="247" y="406"/>
                </a:cxn>
                <a:cxn ang="0">
                  <a:pos x="221" y="354"/>
                </a:cxn>
                <a:cxn ang="0">
                  <a:pos x="191" y="328"/>
                </a:cxn>
                <a:cxn ang="0">
                  <a:pos x="221" y="303"/>
                </a:cxn>
                <a:cxn ang="0">
                  <a:pos x="247" y="328"/>
                </a:cxn>
                <a:cxn ang="0">
                  <a:pos x="221" y="354"/>
                </a:cxn>
                <a:cxn ang="0">
                  <a:pos x="234" y="242"/>
                </a:cxn>
                <a:cxn ang="0">
                  <a:pos x="83" y="255"/>
                </a:cxn>
                <a:cxn ang="0">
                  <a:pos x="44" y="138"/>
                </a:cxn>
                <a:cxn ang="0">
                  <a:pos x="191" y="73"/>
                </a:cxn>
                <a:cxn ang="0">
                  <a:pos x="251" y="138"/>
                </a:cxn>
              </a:cxnLst>
              <a:rect l="0" t="0" r="r" b="b"/>
              <a:pathLst>
                <a:path w="295" h="523">
                  <a:moveTo>
                    <a:pt x="260" y="47"/>
                  </a:moveTo>
                  <a:lnTo>
                    <a:pt x="260" y="17"/>
                  </a:lnTo>
                  <a:lnTo>
                    <a:pt x="260" y="17"/>
                  </a:lnTo>
                  <a:lnTo>
                    <a:pt x="260" y="13"/>
                  </a:lnTo>
                  <a:lnTo>
                    <a:pt x="256" y="4"/>
                  </a:lnTo>
                  <a:lnTo>
                    <a:pt x="247" y="4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0" y="4"/>
                  </a:lnTo>
                  <a:lnTo>
                    <a:pt x="225" y="4"/>
                  </a:lnTo>
                  <a:lnTo>
                    <a:pt x="221" y="13"/>
                  </a:lnTo>
                  <a:lnTo>
                    <a:pt x="217" y="17"/>
                  </a:lnTo>
                  <a:lnTo>
                    <a:pt x="217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39" y="47"/>
                  </a:lnTo>
                  <a:lnTo>
                    <a:pt x="18" y="60"/>
                  </a:lnTo>
                  <a:lnTo>
                    <a:pt x="5" y="77"/>
                  </a:lnTo>
                  <a:lnTo>
                    <a:pt x="0" y="10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5" y="484"/>
                  </a:lnTo>
                  <a:lnTo>
                    <a:pt x="18" y="506"/>
                  </a:lnTo>
                  <a:lnTo>
                    <a:pt x="39" y="519"/>
                  </a:lnTo>
                  <a:lnTo>
                    <a:pt x="61" y="523"/>
                  </a:lnTo>
                  <a:lnTo>
                    <a:pt x="234" y="523"/>
                  </a:lnTo>
                  <a:lnTo>
                    <a:pt x="234" y="523"/>
                  </a:lnTo>
                  <a:lnTo>
                    <a:pt x="256" y="519"/>
                  </a:lnTo>
                  <a:lnTo>
                    <a:pt x="277" y="506"/>
                  </a:lnTo>
                  <a:lnTo>
                    <a:pt x="290" y="484"/>
                  </a:lnTo>
                  <a:lnTo>
                    <a:pt x="295" y="463"/>
                  </a:lnTo>
                  <a:lnTo>
                    <a:pt x="295" y="103"/>
                  </a:lnTo>
                  <a:lnTo>
                    <a:pt x="295" y="103"/>
                  </a:lnTo>
                  <a:lnTo>
                    <a:pt x="290" y="86"/>
                  </a:lnTo>
                  <a:lnTo>
                    <a:pt x="286" y="69"/>
                  </a:lnTo>
                  <a:lnTo>
                    <a:pt x="273" y="56"/>
                  </a:lnTo>
                  <a:lnTo>
                    <a:pt x="260" y="47"/>
                  </a:lnTo>
                  <a:lnTo>
                    <a:pt x="260" y="47"/>
                  </a:lnTo>
                  <a:close/>
                  <a:moveTo>
                    <a:pt x="74" y="489"/>
                  </a:moveTo>
                  <a:lnTo>
                    <a:pt x="74" y="489"/>
                  </a:lnTo>
                  <a:lnTo>
                    <a:pt x="65" y="484"/>
                  </a:lnTo>
                  <a:lnTo>
                    <a:pt x="57" y="480"/>
                  </a:lnTo>
                  <a:lnTo>
                    <a:pt x="48" y="471"/>
                  </a:lnTo>
                  <a:lnTo>
                    <a:pt x="48" y="458"/>
                  </a:lnTo>
                  <a:lnTo>
                    <a:pt x="48" y="458"/>
                  </a:lnTo>
                  <a:lnTo>
                    <a:pt x="48" y="450"/>
                  </a:lnTo>
                  <a:lnTo>
                    <a:pt x="57" y="441"/>
                  </a:lnTo>
                  <a:lnTo>
                    <a:pt x="65" y="437"/>
                  </a:lnTo>
                  <a:lnTo>
                    <a:pt x="74" y="432"/>
                  </a:lnTo>
                  <a:lnTo>
                    <a:pt x="74" y="432"/>
                  </a:lnTo>
                  <a:lnTo>
                    <a:pt x="87" y="437"/>
                  </a:lnTo>
                  <a:lnTo>
                    <a:pt x="96" y="441"/>
                  </a:lnTo>
                  <a:lnTo>
                    <a:pt x="100" y="450"/>
                  </a:lnTo>
                  <a:lnTo>
                    <a:pt x="100" y="458"/>
                  </a:lnTo>
                  <a:lnTo>
                    <a:pt x="100" y="458"/>
                  </a:lnTo>
                  <a:lnTo>
                    <a:pt x="100" y="471"/>
                  </a:lnTo>
                  <a:lnTo>
                    <a:pt x="96" y="480"/>
                  </a:lnTo>
                  <a:lnTo>
                    <a:pt x="87" y="484"/>
                  </a:lnTo>
                  <a:lnTo>
                    <a:pt x="74" y="489"/>
                  </a:lnTo>
                  <a:lnTo>
                    <a:pt x="74" y="489"/>
                  </a:lnTo>
                  <a:close/>
                  <a:moveTo>
                    <a:pt x="74" y="419"/>
                  </a:moveTo>
                  <a:lnTo>
                    <a:pt x="74" y="419"/>
                  </a:lnTo>
                  <a:lnTo>
                    <a:pt x="65" y="419"/>
                  </a:lnTo>
                  <a:lnTo>
                    <a:pt x="57" y="415"/>
                  </a:lnTo>
                  <a:lnTo>
                    <a:pt x="48" y="406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85"/>
                  </a:lnTo>
                  <a:lnTo>
                    <a:pt x="57" y="376"/>
                  </a:lnTo>
                  <a:lnTo>
                    <a:pt x="65" y="367"/>
                  </a:lnTo>
                  <a:lnTo>
                    <a:pt x="74" y="367"/>
                  </a:lnTo>
                  <a:lnTo>
                    <a:pt x="74" y="367"/>
                  </a:lnTo>
                  <a:lnTo>
                    <a:pt x="87" y="367"/>
                  </a:lnTo>
                  <a:lnTo>
                    <a:pt x="96" y="376"/>
                  </a:lnTo>
                  <a:lnTo>
                    <a:pt x="100" y="385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0" y="406"/>
                  </a:lnTo>
                  <a:lnTo>
                    <a:pt x="96" y="415"/>
                  </a:lnTo>
                  <a:lnTo>
                    <a:pt x="87" y="419"/>
                  </a:lnTo>
                  <a:lnTo>
                    <a:pt x="74" y="419"/>
                  </a:lnTo>
                  <a:lnTo>
                    <a:pt x="74" y="419"/>
                  </a:lnTo>
                  <a:close/>
                  <a:moveTo>
                    <a:pt x="74" y="354"/>
                  </a:moveTo>
                  <a:lnTo>
                    <a:pt x="74" y="354"/>
                  </a:lnTo>
                  <a:lnTo>
                    <a:pt x="65" y="354"/>
                  </a:lnTo>
                  <a:lnTo>
                    <a:pt x="57" y="346"/>
                  </a:lnTo>
                  <a:lnTo>
                    <a:pt x="48" y="337"/>
                  </a:lnTo>
                  <a:lnTo>
                    <a:pt x="48" y="328"/>
                  </a:lnTo>
                  <a:lnTo>
                    <a:pt x="48" y="328"/>
                  </a:lnTo>
                  <a:lnTo>
                    <a:pt x="48" y="320"/>
                  </a:lnTo>
                  <a:lnTo>
                    <a:pt x="57" y="311"/>
                  </a:lnTo>
                  <a:lnTo>
                    <a:pt x="65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87" y="303"/>
                  </a:lnTo>
                  <a:lnTo>
                    <a:pt x="96" y="311"/>
                  </a:lnTo>
                  <a:lnTo>
                    <a:pt x="100" y="320"/>
                  </a:lnTo>
                  <a:lnTo>
                    <a:pt x="100" y="328"/>
                  </a:lnTo>
                  <a:lnTo>
                    <a:pt x="100" y="328"/>
                  </a:lnTo>
                  <a:lnTo>
                    <a:pt x="100" y="337"/>
                  </a:lnTo>
                  <a:lnTo>
                    <a:pt x="96" y="346"/>
                  </a:lnTo>
                  <a:lnTo>
                    <a:pt x="87" y="354"/>
                  </a:lnTo>
                  <a:lnTo>
                    <a:pt x="74" y="354"/>
                  </a:lnTo>
                  <a:lnTo>
                    <a:pt x="74" y="354"/>
                  </a:lnTo>
                  <a:close/>
                  <a:moveTo>
                    <a:pt x="147" y="489"/>
                  </a:moveTo>
                  <a:lnTo>
                    <a:pt x="147" y="489"/>
                  </a:lnTo>
                  <a:lnTo>
                    <a:pt x="139" y="484"/>
                  </a:lnTo>
                  <a:lnTo>
                    <a:pt x="130" y="480"/>
                  </a:lnTo>
                  <a:lnTo>
                    <a:pt x="122" y="471"/>
                  </a:lnTo>
                  <a:lnTo>
                    <a:pt x="122" y="458"/>
                  </a:lnTo>
                  <a:lnTo>
                    <a:pt x="122" y="458"/>
                  </a:lnTo>
                  <a:lnTo>
                    <a:pt x="122" y="450"/>
                  </a:lnTo>
                  <a:lnTo>
                    <a:pt x="130" y="441"/>
                  </a:lnTo>
                  <a:lnTo>
                    <a:pt x="139" y="437"/>
                  </a:lnTo>
                  <a:lnTo>
                    <a:pt x="147" y="432"/>
                  </a:lnTo>
                  <a:lnTo>
                    <a:pt x="147" y="432"/>
                  </a:lnTo>
                  <a:lnTo>
                    <a:pt x="156" y="437"/>
                  </a:lnTo>
                  <a:lnTo>
                    <a:pt x="165" y="441"/>
                  </a:lnTo>
                  <a:lnTo>
                    <a:pt x="173" y="450"/>
                  </a:lnTo>
                  <a:lnTo>
                    <a:pt x="173" y="458"/>
                  </a:lnTo>
                  <a:lnTo>
                    <a:pt x="173" y="458"/>
                  </a:lnTo>
                  <a:lnTo>
                    <a:pt x="173" y="471"/>
                  </a:lnTo>
                  <a:lnTo>
                    <a:pt x="165" y="480"/>
                  </a:lnTo>
                  <a:lnTo>
                    <a:pt x="156" y="484"/>
                  </a:lnTo>
                  <a:lnTo>
                    <a:pt x="147" y="489"/>
                  </a:lnTo>
                  <a:lnTo>
                    <a:pt x="147" y="489"/>
                  </a:lnTo>
                  <a:close/>
                  <a:moveTo>
                    <a:pt x="147" y="419"/>
                  </a:moveTo>
                  <a:lnTo>
                    <a:pt x="147" y="419"/>
                  </a:lnTo>
                  <a:lnTo>
                    <a:pt x="139" y="419"/>
                  </a:lnTo>
                  <a:lnTo>
                    <a:pt x="130" y="415"/>
                  </a:lnTo>
                  <a:lnTo>
                    <a:pt x="122" y="406"/>
                  </a:lnTo>
                  <a:lnTo>
                    <a:pt x="122" y="393"/>
                  </a:lnTo>
                  <a:lnTo>
                    <a:pt x="122" y="393"/>
                  </a:lnTo>
                  <a:lnTo>
                    <a:pt x="122" y="385"/>
                  </a:lnTo>
                  <a:lnTo>
                    <a:pt x="130" y="376"/>
                  </a:lnTo>
                  <a:lnTo>
                    <a:pt x="139" y="367"/>
                  </a:lnTo>
                  <a:lnTo>
                    <a:pt x="147" y="367"/>
                  </a:lnTo>
                  <a:lnTo>
                    <a:pt x="147" y="367"/>
                  </a:lnTo>
                  <a:lnTo>
                    <a:pt x="156" y="367"/>
                  </a:lnTo>
                  <a:lnTo>
                    <a:pt x="165" y="376"/>
                  </a:lnTo>
                  <a:lnTo>
                    <a:pt x="173" y="385"/>
                  </a:lnTo>
                  <a:lnTo>
                    <a:pt x="173" y="393"/>
                  </a:lnTo>
                  <a:lnTo>
                    <a:pt x="173" y="393"/>
                  </a:lnTo>
                  <a:lnTo>
                    <a:pt x="173" y="406"/>
                  </a:lnTo>
                  <a:lnTo>
                    <a:pt x="165" y="415"/>
                  </a:lnTo>
                  <a:lnTo>
                    <a:pt x="156" y="419"/>
                  </a:lnTo>
                  <a:lnTo>
                    <a:pt x="147" y="419"/>
                  </a:lnTo>
                  <a:lnTo>
                    <a:pt x="147" y="419"/>
                  </a:lnTo>
                  <a:close/>
                  <a:moveTo>
                    <a:pt x="147" y="354"/>
                  </a:moveTo>
                  <a:lnTo>
                    <a:pt x="147" y="354"/>
                  </a:lnTo>
                  <a:lnTo>
                    <a:pt x="139" y="354"/>
                  </a:lnTo>
                  <a:lnTo>
                    <a:pt x="130" y="346"/>
                  </a:lnTo>
                  <a:lnTo>
                    <a:pt x="122" y="337"/>
                  </a:lnTo>
                  <a:lnTo>
                    <a:pt x="122" y="328"/>
                  </a:lnTo>
                  <a:lnTo>
                    <a:pt x="122" y="328"/>
                  </a:lnTo>
                  <a:lnTo>
                    <a:pt x="122" y="320"/>
                  </a:lnTo>
                  <a:lnTo>
                    <a:pt x="130" y="311"/>
                  </a:lnTo>
                  <a:lnTo>
                    <a:pt x="139" y="303"/>
                  </a:lnTo>
                  <a:lnTo>
                    <a:pt x="147" y="303"/>
                  </a:lnTo>
                  <a:lnTo>
                    <a:pt x="147" y="303"/>
                  </a:lnTo>
                  <a:lnTo>
                    <a:pt x="156" y="303"/>
                  </a:lnTo>
                  <a:lnTo>
                    <a:pt x="165" y="311"/>
                  </a:lnTo>
                  <a:lnTo>
                    <a:pt x="173" y="32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37"/>
                  </a:lnTo>
                  <a:lnTo>
                    <a:pt x="165" y="346"/>
                  </a:lnTo>
                  <a:lnTo>
                    <a:pt x="156" y="354"/>
                  </a:lnTo>
                  <a:lnTo>
                    <a:pt x="147" y="354"/>
                  </a:lnTo>
                  <a:lnTo>
                    <a:pt x="147" y="354"/>
                  </a:lnTo>
                  <a:close/>
                  <a:moveTo>
                    <a:pt x="221" y="489"/>
                  </a:moveTo>
                  <a:lnTo>
                    <a:pt x="221" y="489"/>
                  </a:lnTo>
                  <a:lnTo>
                    <a:pt x="208" y="484"/>
                  </a:lnTo>
                  <a:lnTo>
                    <a:pt x="199" y="480"/>
                  </a:lnTo>
                  <a:lnTo>
                    <a:pt x="195" y="471"/>
                  </a:lnTo>
                  <a:lnTo>
                    <a:pt x="191" y="458"/>
                  </a:lnTo>
                  <a:lnTo>
                    <a:pt x="191" y="458"/>
                  </a:lnTo>
                  <a:lnTo>
                    <a:pt x="195" y="450"/>
                  </a:lnTo>
                  <a:lnTo>
                    <a:pt x="199" y="441"/>
                  </a:lnTo>
                  <a:lnTo>
                    <a:pt x="208" y="437"/>
                  </a:lnTo>
                  <a:lnTo>
                    <a:pt x="221" y="432"/>
                  </a:lnTo>
                  <a:lnTo>
                    <a:pt x="221" y="432"/>
                  </a:lnTo>
                  <a:lnTo>
                    <a:pt x="230" y="437"/>
                  </a:lnTo>
                  <a:lnTo>
                    <a:pt x="238" y="441"/>
                  </a:lnTo>
                  <a:lnTo>
                    <a:pt x="247" y="450"/>
                  </a:lnTo>
                  <a:lnTo>
                    <a:pt x="247" y="458"/>
                  </a:lnTo>
                  <a:lnTo>
                    <a:pt x="247" y="458"/>
                  </a:lnTo>
                  <a:lnTo>
                    <a:pt x="247" y="471"/>
                  </a:lnTo>
                  <a:lnTo>
                    <a:pt x="238" y="480"/>
                  </a:lnTo>
                  <a:lnTo>
                    <a:pt x="230" y="484"/>
                  </a:lnTo>
                  <a:lnTo>
                    <a:pt x="221" y="489"/>
                  </a:lnTo>
                  <a:lnTo>
                    <a:pt x="221" y="489"/>
                  </a:lnTo>
                  <a:close/>
                  <a:moveTo>
                    <a:pt x="221" y="419"/>
                  </a:moveTo>
                  <a:lnTo>
                    <a:pt x="221" y="419"/>
                  </a:lnTo>
                  <a:lnTo>
                    <a:pt x="208" y="419"/>
                  </a:lnTo>
                  <a:lnTo>
                    <a:pt x="199" y="415"/>
                  </a:lnTo>
                  <a:lnTo>
                    <a:pt x="195" y="406"/>
                  </a:lnTo>
                  <a:lnTo>
                    <a:pt x="191" y="393"/>
                  </a:lnTo>
                  <a:lnTo>
                    <a:pt x="191" y="393"/>
                  </a:lnTo>
                  <a:lnTo>
                    <a:pt x="195" y="385"/>
                  </a:lnTo>
                  <a:lnTo>
                    <a:pt x="199" y="376"/>
                  </a:lnTo>
                  <a:lnTo>
                    <a:pt x="208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30" y="367"/>
                  </a:lnTo>
                  <a:lnTo>
                    <a:pt x="238" y="376"/>
                  </a:lnTo>
                  <a:lnTo>
                    <a:pt x="247" y="385"/>
                  </a:lnTo>
                  <a:lnTo>
                    <a:pt x="247" y="393"/>
                  </a:lnTo>
                  <a:lnTo>
                    <a:pt x="247" y="393"/>
                  </a:lnTo>
                  <a:lnTo>
                    <a:pt x="247" y="406"/>
                  </a:lnTo>
                  <a:lnTo>
                    <a:pt x="238" y="415"/>
                  </a:lnTo>
                  <a:lnTo>
                    <a:pt x="230" y="419"/>
                  </a:lnTo>
                  <a:lnTo>
                    <a:pt x="221" y="419"/>
                  </a:lnTo>
                  <a:lnTo>
                    <a:pt x="221" y="419"/>
                  </a:lnTo>
                  <a:close/>
                  <a:moveTo>
                    <a:pt x="221" y="354"/>
                  </a:moveTo>
                  <a:lnTo>
                    <a:pt x="221" y="354"/>
                  </a:lnTo>
                  <a:lnTo>
                    <a:pt x="208" y="354"/>
                  </a:lnTo>
                  <a:lnTo>
                    <a:pt x="199" y="346"/>
                  </a:lnTo>
                  <a:lnTo>
                    <a:pt x="195" y="337"/>
                  </a:lnTo>
                  <a:lnTo>
                    <a:pt x="191" y="328"/>
                  </a:lnTo>
                  <a:lnTo>
                    <a:pt x="191" y="328"/>
                  </a:lnTo>
                  <a:lnTo>
                    <a:pt x="195" y="320"/>
                  </a:lnTo>
                  <a:lnTo>
                    <a:pt x="199" y="311"/>
                  </a:lnTo>
                  <a:lnTo>
                    <a:pt x="208" y="303"/>
                  </a:lnTo>
                  <a:lnTo>
                    <a:pt x="221" y="303"/>
                  </a:lnTo>
                  <a:lnTo>
                    <a:pt x="221" y="303"/>
                  </a:lnTo>
                  <a:lnTo>
                    <a:pt x="230" y="303"/>
                  </a:lnTo>
                  <a:lnTo>
                    <a:pt x="238" y="311"/>
                  </a:lnTo>
                  <a:lnTo>
                    <a:pt x="247" y="320"/>
                  </a:lnTo>
                  <a:lnTo>
                    <a:pt x="247" y="328"/>
                  </a:lnTo>
                  <a:lnTo>
                    <a:pt x="247" y="328"/>
                  </a:lnTo>
                  <a:lnTo>
                    <a:pt x="247" y="337"/>
                  </a:lnTo>
                  <a:lnTo>
                    <a:pt x="238" y="346"/>
                  </a:lnTo>
                  <a:lnTo>
                    <a:pt x="230" y="354"/>
                  </a:lnTo>
                  <a:lnTo>
                    <a:pt x="221" y="354"/>
                  </a:lnTo>
                  <a:lnTo>
                    <a:pt x="221" y="354"/>
                  </a:lnTo>
                  <a:close/>
                  <a:moveTo>
                    <a:pt x="251" y="199"/>
                  </a:moveTo>
                  <a:lnTo>
                    <a:pt x="251" y="199"/>
                  </a:lnTo>
                  <a:lnTo>
                    <a:pt x="247" y="220"/>
                  </a:lnTo>
                  <a:lnTo>
                    <a:pt x="234" y="242"/>
                  </a:lnTo>
                  <a:lnTo>
                    <a:pt x="212" y="255"/>
                  </a:lnTo>
                  <a:lnTo>
                    <a:pt x="191" y="259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83" y="255"/>
                  </a:lnTo>
                  <a:lnTo>
                    <a:pt x="61" y="242"/>
                  </a:lnTo>
                  <a:lnTo>
                    <a:pt x="48" y="220"/>
                  </a:lnTo>
                  <a:lnTo>
                    <a:pt x="44" y="199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8" y="112"/>
                  </a:lnTo>
                  <a:lnTo>
                    <a:pt x="61" y="95"/>
                  </a:lnTo>
                  <a:lnTo>
                    <a:pt x="83" y="82"/>
                  </a:lnTo>
                  <a:lnTo>
                    <a:pt x="104" y="73"/>
                  </a:lnTo>
                  <a:lnTo>
                    <a:pt x="191" y="73"/>
                  </a:lnTo>
                  <a:lnTo>
                    <a:pt x="191" y="73"/>
                  </a:lnTo>
                  <a:lnTo>
                    <a:pt x="212" y="82"/>
                  </a:lnTo>
                  <a:lnTo>
                    <a:pt x="234" y="95"/>
                  </a:lnTo>
                  <a:lnTo>
                    <a:pt x="247" y="112"/>
                  </a:lnTo>
                  <a:lnTo>
                    <a:pt x="251" y="138"/>
                  </a:lnTo>
                  <a:lnTo>
                    <a:pt x="251" y="199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4" name="Freeform 12"/>
            <p:cNvSpPr>
              <a:spLocks/>
            </p:cNvSpPr>
            <p:nvPr/>
          </p:nvSpPr>
          <p:spPr bwMode="auto">
            <a:xfrm>
              <a:off x="7490216" y="1910679"/>
              <a:ext cx="102386" cy="129267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0"/>
                </a:cxn>
                <a:cxn ang="0">
                  <a:pos x="134" y="5"/>
                </a:cxn>
                <a:cxn ang="0">
                  <a:pos x="104" y="13"/>
                </a:cxn>
                <a:cxn ang="0">
                  <a:pos x="78" y="26"/>
                </a:cxn>
                <a:cxn ang="0">
                  <a:pos x="56" y="48"/>
                </a:cxn>
                <a:cxn ang="0">
                  <a:pos x="56" y="48"/>
                </a:cxn>
                <a:cxn ang="0">
                  <a:pos x="35" y="74"/>
                </a:cxn>
                <a:cxn ang="0">
                  <a:pos x="18" y="104"/>
                </a:cxn>
                <a:cxn ang="0">
                  <a:pos x="5" y="139"/>
                </a:cxn>
                <a:cxn ang="0">
                  <a:pos x="0" y="178"/>
                </a:cxn>
                <a:cxn ang="0">
                  <a:pos x="0" y="178"/>
                </a:cxn>
                <a:cxn ang="0">
                  <a:pos x="5" y="182"/>
                </a:cxn>
                <a:cxn ang="0">
                  <a:pos x="13" y="186"/>
                </a:cxn>
                <a:cxn ang="0">
                  <a:pos x="13" y="186"/>
                </a:cxn>
                <a:cxn ang="0">
                  <a:pos x="18" y="182"/>
                </a:cxn>
                <a:cxn ang="0">
                  <a:pos x="22" y="178"/>
                </a:cxn>
                <a:cxn ang="0">
                  <a:pos x="22" y="178"/>
                </a:cxn>
                <a:cxn ang="0">
                  <a:pos x="22" y="143"/>
                </a:cxn>
                <a:cxn ang="0">
                  <a:pos x="35" y="113"/>
                </a:cxn>
                <a:cxn ang="0">
                  <a:pos x="48" y="87"/>
                </a:cxn>
                <a:cxn ang="0">
                  <a:pos x="69" y="61"/>
                </a:cxn>
                <a:cxn ang="0">
                  <a:pos x="69" y="61"/>
                </a:cxn>
                <a:cxn ang="0">
                  <a:pos x="87" y="44"/>
                </a:cxn>
                <a:cxn ang="0">
                  <a:pos x="113" y="31"/>
                </a:cxn>
                <a:cxn ang="0">
                  <a:pos x="139" y="22"/>
                </a:cxn>
                <a:cxn ang="0">
                  <a:pos x="169" y="18"/>
                </a:cxn>
                <a:cxn ang="0">
                  <a:pos x="169" y="18"/>
                </a:cxn>
                <a:cxn ang="0">
                  <a:pos x="173" y="18"/>
                </a:cxn>
                <a:cxn ang="0">
                  <a:pos x="178" y="9"/>
                </a:cxn>
                <a:cxn ang="0">
                  <a:pos x="178" y="9"/>
                </a:cxn>
                <a:cxn ang="0">
                  <a:pos x="173" y="5"/>
                </a:cxn>
                <a:cxn ang="0">
                  <a:pos x="169" y="0"/>
                </a:cxn>
                <a:cxn ang="0">
                  <a:pos x="169" y="0"/>
                </a:cxn>
              </a:cxnLst>
              <a:rect l="0" t="0" r="r" b="b"/>
              <a:pathLst>
                <a:path w="178" h="186">
                  <a:moveTo>
                    <a:pt x="169" y="0"/>
                  </a:moveTo>
                  <a:lnTo>
                    <a:pt x="169" y="0"/>
                  </a:lnTo>
                  <a:lnTo>
                    <a:pt x="134" y="5"/>
                  </a:lnTo>
                  <a:lnTo>
                    <a:pt x="104" y="13"/>
                  </a:lnTo>
                  <a:lnTo>
                    <a:pt x="78" y="2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35" y="74"/>
                  </a:lnTo>
                  <a:lnTo>
                    <a:pt x="18" y="104"/>
                  </a:lnTo>
                  <a:lnTo>
                    <a:pt x="5" y="139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5" y="182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8" y="182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2" y="143"/>
                  </a:lnTo>
                  <a:lnTo>
                    <a:pt x="35" y="113"/>
                  </a:lnTo>
                  <a:lnTo>
                    <a:pt x="48" y="87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87" y="44"/>
                  </a:lnTo>
                  <a:lnTo>
                    <a:pt x="113" y="31"/>
                  </a:lnTo>
                  <a:lnTo>
                    <a:pt x="139" y="22"/>
                  </a:lnTo>
                  <a:lnTo>
                    <a:pt x="169" y="18"/>
                  </a:lnTo>
                  <a:lnTo>
                    <a:pt x="169" y="18"/>
                  </a:lnTo>
                  <a:lnTo>
                    <a:pt x="173" y="18"/>
                  </a:lnTo>
                  <a:lnTo>
                    <a:pt x="178" y="9"/>
                  </a:lnTo>
                  <a:lnTo>
                    <a:pt x="178" y="9"/>
                  </a:lnTo>
                  <a:lnTo>
                    <a:pt x="173" y="5"/>
                  </a:lnTo>
                  <a:lnTo>
                    <a:pt x="16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5" name="Freeform 13"/>
            <p:cNvSpPr>
              <a:spLocks/>
            </p:cNvSpPr>
            <p:nvPr/>
          </p:nvSpPr>
          <p:spPr bwMode="auto">
            <a:xfrm>
              <a:off x="7517826" y="1944038"/>
              <a:ext cx="86856" cy="111198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143" y="0"/>
                </a:cxn>
                <a:cxn ang="0">
                  <a:pos x="117" y="0"/>
                </a:cxn>
                <a:cxn ang="0">
                  <a:pos x="91" y="9"/>
                </a:cxn>
                <a:cxn ang="0">
                  <a:pos x="65" y="22"/>
                </a:cxn>
                <a:cxn ang="0">
                  <a:pos x="43" y="39"/>
                </a:cxn>
                <a:cxn ang="0">
                  <a:pos x="43" y="39"/>
                </a:cxn>
                <a:cxn ang="0">
                  <a:pos x="26" y="65"/>
                </a:cxn>
                <a:cxn ang="0">
                  <a:pos x="13" y="91"/>
                </a:cxn>
                <a:cxn ang="0">
                  <a:pos x="4" y="121"/>
                </a:cxn>
                <a:cxn ang="0">
                  <a:pos x="0" y="151"/>
                </a:cxn>
                <a:cxn ang="0">
                  <a:pos x="0" y="151"/>
                </a:cxn>
                <a:cxn ang="0">
                  <a:pos x="4" y="160"/>
                </a:cxn>
                <a:cxn ang="0">
                  <a:pos x="8" y="160"/>
                </a:cxn>
                <a:cxn ang="0">
                  <a:pos x="8" y="160"/>
                </a:cxn>
                <a:cxn ang="0">
                  <a:pos x="17" y="160"/>
                </a:cxn>
                <a:cxn ang="0">
                  <a:pos x="17" y="151"/>
                </a:cxn>
                <a:cxn ang="0">
                  <a:pos x="17" y="151"/>
                </a:cxn>
                <a:cxn ang="0">
                  <a:pos x="21" y="121"/>
                </a:cxn>
                <a:cxn ang="0">
                  <a:pos x="30" y="95"/>
                </a:cxn>
                <a:cxn ang="0">
                  <a:pos x="43" y="74"/>
                </a:cxn>
                <a:cxn ang="0">
                  <a:pos x="56" y="52"/>
                </a:cxn>
                <a:cxn ang="0">
                  <a:pos x="56" y="52"/>
                </a:cxn>
                <a:cxn ang="0">
                  <a:pos x="78" y="39"/>
                </a:cxn>
                <a:cxn ang="0">
                  <a:pos x="95" y="26"/>
                </a:cxn>
                <a:cxn ang="0">
                  <a:pos x="117" y="22"/>
                </a:cxn>
                <a:cxn ang="0">
                  <a:pos x="143" y="17"/>
                </a:cxn>
                <a:cxn ang="0">
                  <a:pos x="143" y="17"/>
                </a:cxn>
                <a:cxn ang="0">
                  <a:pos x="151" y="13"/>
                </a:cxn>
                <a:cxn ang="0">
                  <a:pos x="151" y="9"/>
                </a:cxn>
                <a:cxn ang="0">
                  <a:pos x="151" y="9"/>
                </a:cxn>
                <a:cxn ang="0">
                  <a:pos x="151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51" h="160">
                  <a:moveTo>
                    <a:pt x="143" y="0"/>
                  </a:moveTo>
                  <a:lnTo>
                    <a:pt x="143" y="0"/>
                  </a:lnTo>
                  <a:lnTo>
                    <a:pt x="117" y="0"/>
                  </a:lnTo>
                  <a:lnTo>
                    <a:pt x="91" y="9"/>
                  </a:lnTo>
                  <a:lnTo>
                    <a:pt x="65" y="22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26" y="65"/>
                  </a:lnTo>
                  <a:lnTo>
                    <a:pt x="13" y="91"/>
                  </a:lnTo>
                  <a:lnTo>
                    <a:pt x="4" y="12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21" y="121"/>
                  </a:lnTo>
                  <a:lnTo>
                    <a:pt x="30" y="95"/>
                  </a:lnTo>
                  <a:lnTo>
                    <a:pt x="43" y="74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78" y="39"/>
                  </a:lnTo>
                  <a:lnTo>
                    <a:pt x="95" y="26"/>
                  </a:lnTo>
                  <a:lnTo>
                    <a:pt x="117" y="22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51" y="13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6" name="Freeform 14"/>
            <p:cNvSpPr>
              <a:spLocks/>
            </p:cNvSpPr>
            <p:nvPr/>
          </p:nvSpPr>
          <p:spPr bwMode="auto">
            <a:xfrm>
              <a:off x="7544861" y="1973923"/>
              <a:ext cx="74777" cy="96603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117" y="0"/>
                </a:cxn>
                <a:cxn ang="0">
                  <a:pos x="96" y="5"/>
                </a:cxn>
                <a:cxn ang="0">
                  <a:pos x="74" y="13"/>
                </a:cxn>
                <a:cxn ang="0">
                  <a:pos x="52" y="22"/>
                </a:cxn>
                <a:cxn ang="0">
                  <a:pos x="35" y="39"/>
                </a:cxn>
                <a:cxn ang="0">
                  <a:pos x="35" y="39"/>
                </a:cxn>
                <a:cxn ang="0">
                  <a:pos x="22" y="56"/>
                </a:cxn>
                <a:cxn ang="0">
                  <a:pos x="9" y="78"/>
                </a:cxn>
                <a:cxn ang="0">
                  <a:pos x="0" y="104"/>
                </a:cxn>
                <a:cxn ang="0">
                  <a:pos x="0" y="130"/>
                </a:cxn>
                <a:cxn ang="0">
                  <a:pos x="0" y="130"/>
                </a:cxn>
                <a:cxn ang="0">
                  <a:pos x="0" y="139"/>
                </a:cxn>
                <a:cxn ang="0">
                  <a:pos x="9" y="139"/>
                </a:cxn>
                <a:cxn ang="0">
                  <a:pos x="9" y="139"/>
                </a:cxn>
                <a:cxn ang="0">
                  <a:pos x="13" y="139"/>
                </a:cxn>
                <a:cxn ang="0">
                  <a:pos x="18" y="130"/>
                </a:cxn>
                <a:cxn ang="0">
                  <a:pos x="18" y="130"/>
                </a:cxn>
                <a:cxn ang="0">
                  <a:pos x="18" y="108"/>
                </a:cxn>
                <a:cxn ang="0">
                  <a:pos x="26" y="87"/>
                </a:cxn>
                <a:cxn ang="0">
                  <a:pos x="35" y="65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65" y="39"/>
                </a:cxn>
                <a:cxn ang="0">
                  <a:pos x="83" y="31"/>
                </a:cxn>
                <a:cxn ang="0">
                  <a:pos x="100" y="22"/>
                </a:cxn>
                <a:cxn ang="0">
                  <a:pos x="117" y="22"/>
                </a:cxn>
                <a:cxn ang="0">
                  <a:pos x="117" y="22"/>
                </a:cxn>
                <a:cxn ang="0">
                  <a:pos x="126" y="18"/>
                </a:cxn>
                <a:cxn ang="0">
                  <a:pos x="130" y="13"/>
                </a:cxn>
                <a:cxn ang="0">
                  <a:pos x="130" y="13"/>
                </a:cxn>
                <a:cxn ang="0">
                  <a:pos x="126" y="5"/>
                </a:cxn>
                <a:cxn ang="0">
                  <a:pos x="117" y="0"/>
                </a:cxn>
                <a:cxn ang="0">
                  <a:pos x="117" y="0"/>
                </a:cxn>
              </a:cxnLst>
              <a:rect l="0" t="0" r="r" b="b"/>
              <a:pathLst>
                <a:path w="130" h="139">
                  <a:moveTo>
                    <a:pt x="117" y="0"/>
                  </a:moveTo>
                  <a:lnTo>
                    <a:pt x="117" y="0"/>
                  </a:lnTo>
                  <a:lnTo>
                    <a:pt x="96" y="5"/>
                  </a:lnTo>
                  <a:lnTo>
                    <a:pt x="74" y="13"/>
                  </a:lnTo>
                  <a:lnTo>
                    <a:pt x="52" y="22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22" y="56"/>
                  </a:lnTo>
                  <a:lnTo>
                    <a:pt x="9" y="78"/>
                  </a:lnTo>
                  <a:lnTo>
                    <a:pt x="0" y="10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3" y="139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08"/>
                  </a:lnTo>
                  <a:lnTo>
                    <a:pt x="26" y="87"/>
                  </a:lnTo>
                  <a:lnTo>
                    <a:pt x="35" y="65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65" y="39"/>
                  </a:lnTo>
                  <a:lnTo>
                    <a:pt x="83" y="31"/>
                  </a:lnTo>
                  <a:lnTo>
                    <a:pt x="100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26" y="18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26" y="5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5" name="组合 399"/>
          <p:cNvGrpSpPr/>
          <p:nvPr/>
        </p:nvGrpSpPr>
        <p:grpSpPr>
          <a:xfrm>
            <a:off x="8111737" y="3066039"/>
            <a:ext cx="162926" cy="208476"/>
            <a:chOff x="7490216" y="1910679"/>
            <a:chExt cx="261718" cy="448266"/>
          </a:xfrm>
        </p:grpSpPr>
        <p:sp>
          <p:nvSpPr>
            <p:cNvPr id="139" name="Freeform 11"/>
            <p:cNvSpPr>
              <a:spLocks noEditPoints="1"/>
            </p:cNvSpPr>
            <p:nvPr/>
          </p:nvSpPr>
          <p:spPr bwMode="auto">
            <a:xfrm>
              <a:off x="7582249" y="1995467"/>
              <a:ext cx="169685" cy="363478"/>
            </a:xfrm>
            <a:custGeom>
              <a:avLst/>
              <a:gdLst/>
              <a:ahLst/>
              <a:cxnLst>
                <a:cxn ang="0">
                  <a:pos x="256" y="4"/>
                </a:cxn>
                <a:cxn ang="0">
                  <a:pos x="225" y="4"/>
                </a:cxn>
                <a:cxn ang="0">
                  <a:pos x="61" y="43"/>
                </a:cxn>
                <a:cxn ang="0">
                  <a:pos x="0" y="463"/>
                </a:cxn>
                <a:cxn ang="0">
                  <a:pos x="61" y="523"/>
                </a:cxn>
                <a:cxn ang="0">
                  <a:pos x="290" y="484"/>
                </a:cxn>
                <a:cxn ang="0">
                  <a:pos x="286" y="69"/>
                </a:cxn>
                <a:cxn ang="0">
                  <a:pos x="74" y="489"/>
                </a:cxn>
                <a:cxn ang="0">
                  <a:pos x="48" y="458"/>
                </a:cxn>
                <a:cxn ang="0">
                  <a:pos x="74" y="432"/>
                </a:cxn>
                <a:cxn ang="0">
                  <a:pos x="100" y="458"/>
                </a:cxn>
                <a:cxn ang="0">
                  <a:pos x="74" y="489"/>
                </a:cxn>
                <a:cxn ang="0">
                  <a:pos x="48" y="406"/>
                </a:cxn>
                <a:cxn ang="0">
                  <a:pos x="65" y="367"/>
                </a:cxn>
                <a:cxn ang="0">
                  <a:pos x="100" y="385"/>
                </a:cxn>
                <a:cxn ang="0">
                  <a:pos x="87" y="419"/>
                </a:cxn>
                <a:cxn ang="0">
                  <a:pos x="65" y="354"/>
                </a:cxn>
                <a:cxn ang="0">
                  <a:pos x="48" y="320"/>
                </a:cxn>
                <a:cxn ang="0">
                  <a:pos x="87" y="303"/>
                </a:cxn>
                <a:cxn ang="0">
                  <a:pos x="100" y="337"/>
                </a:cxn>
                <a:cxn ang="0">
                  <a:pos x="147" y="489"/>
                </a:cxn>
                <a:cxn ang="0">
                  <a:pos x="122" y="458"/>
                </a:cxn>
                <a:cxn ang="0">
                  <a:pos x="147" y="432"/>
                </a:cxn>
                <a:cxn ang="0">
                  <a:pos x="173" y="458"/>
                </a:cxn>
                <a:cxn ang="0">
                  <a:pos x="147" y="489"/>
                </a:cxn>
                <a:cxn ang="0">
                  <a:pos x="130" y="415"/>
                </a:cxn>
                <a:cxn ang="0">
                  <a:pos x="130" y="376"/>
                </a:cxn>
                <a:cxn ang="0">
                  <a:pos x="165" y="376"/>
                </a:cxn>
                <a:cxn ang="0">
                  <a:pos x="165" y="415"/>
                </a:cxn>
                <a:cxn ang="0">
                  <a:pos x="147" y="354"/>
                </a:cxn>
                <a:cxn ang="0">
                  <a:pos x="122" y="328"/>
                </a:cxn>
                <a:cxn ang="0">
                  <a:pos x="147" y="303"/>
                </a:cxn>
                <a:cxn ang="0">
                  <a:pos x="173" y="328"/>
                </a:cxn>
                <a:cxn ang="0">
                  <a:pos x="147" y="354"/>
                </a:cxn>
                <a:cxn ang="0">
                  <a:pos x="195" y="471"/>
                </a:cxn>
                <a:cxn ang="0">
                  <a:pos x="208" y="437"/>
                </a:cxn>
                <a:cxn ang="0">
                  <a:pos x="247" y="450"/>
                </a:cxn>
                <a:cxn ang="0">
                  <a:pos x="230" y="484"/>
                </a:cxn>
                <a:cxn ang="0">
                  <a:pos x="208" y="419"/>
                </a:cxn>
                <a:cxn ang="0">
                  <a:pos x="195" y="385"/>
                </a:cxn>
                <a:cxn ang="0">
                  <a:pos x="230" y="367"/>
                </a:cxn>
                <a:cxn ang="0">
                  <a:pos x="247" y="406"/>
                </a:cxn>
                <a:cxn ang="0">
                  <a:pos x="221" y="354"/>
                </a:cxn>
                <a:cxn ang="0">
                  <a:pos x="191" y="328"/>
                </a:cxn>
                <a:cxn ang="0">
                  <a:pos x="221" y="303"/>
                </a:cxn>
                <a:cxn ang="0">
                  <a:pos x="247" y="328"/>
                </a:cxn>
                <a:cxn ang="0">
                  <a:pos x="221" y="354"/>
                </a:cxn>
                <a:cxn ang="0">
                  <a:pos x="234" y="242"/>
                </a:cxn>
                <a:cxn ang="0">
                  <a:pos x="83" y="255"/>
                </a:cxn>
                <a:cxn ang="0">
                  <a:pos x="44" y="138"/>
                </a:cxn>
                <a:cxn ang="0">
                  <a:pos x="191" y="73"/>
                </a:cxn>
                <a:cxn ang="0">
                  <a:pos x="251" y="138"/>
                </a:cxn>
              </a:cxnLst>
              <a:rect l="0" t="0" r="r" b="b"/>
              <a:pathLst>
                <a:path w="295" h="523">
                  <a:moveTo>
                    <a:pt x="260" y="47"/>
                  </a:moveTo>
                  <a:lnTo>
                    <a:pt x="260" y="17"/>
                  </a:lnTo>
                  <a:lnTo>
                    <a:pt x="260" y="17"/>
                  </a:lnTo>
                  <a:lnTo>
                    <a:pt x="260" y="13"/>
                  </a:lnTo>
                  <a:lnTo>
                    <a:pt x="256" y="4"/>
                  </a:lnTo>
                  <a:lnTo>
                    <a:pt x="247" y="4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0" y="4"/>
                  </a:lnTo>
                  <a:lnTo>
                    <a:pt x="225" y="4"/>
                  </a:lnTo>
                  <a:lnTo>
                    <a:pt x="221" y="13"/>
                  </a:lnTo>
                  <a:lnTo>
                    <a:pt x="217" y="17"/>
                  </a:lnTo>
                  <a:lnTo>
                    <a:pt x="217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39" y="47"/>
                  </a:lnTo>
                  <a:lnTo>
                    <a:pt x="18" y="60"/>
                  </a:lnTo>
                  <a:lnTo>
                    <a:pt x="5" y="77"/>
                  </a:lnTo>
                  <a:lnTo>
                    <a:pt x="0" y="10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5" y="484"/>
                  </a:lnTo>
                  <a:lnTo>
                    <a:pt x="18" y="506"/>
                  </a:lnTo>
                  <a:lnTo>
                    <a:pt x="39" y="519"/>
                  </a:lnTo>
                  <a:lnTo>
                    <a:pt x="61" y="523"/>
                  </a:lnTo>
                  <a:lnTo>
                    <a:pt x="234" y="523"/>
                  </a:lnTo>
                  <a:lnTo>
                    <a:pt x="234" y="523"/>
                  </a:lnTo>
                  <a:lnTo>
                    <a:pt x="256" y="519"/>
                  </a:lnTo>
                  <a:lnTo>
                    <a:pt x="277" y="506"/>
                  </a:lnTo>
                  <a:lnTo>
                    <a:pt x="290" y="484"/>
                  </a:lnTo>
                  <a:lnTo>
                    <a:pt x="295" y="463"/>
                  </a:lnTo>
                  <a:lnTo>
                    <a:pt x="295" y="103"/>
                  </a:lnTo>
                  <a:lnTo>
                    <a:pt x="295" y="103"/>
                  </a:lnTo>
                  <a:lnTo>
                    <a:pt x="290" y="86"/>
                  </a:lnTo>
                  <a:lnTo>
                    <a:pt x="286" y="69"/>
                  </a:lnTo>
                  <a:lnTo>
                    <a:pt x="273" y="56"/>
                  </a:lnTo>
                  <a:lnTo>
                    <a:pt x="260" y="47"/>
                  </a:lnTo>
                  <a:lnTo>
                    <a:pt x="260" y="47"/>
                  </a:lnTo>
                  <a:close/>
                  <a:moveTo>
                    <a:pt x="74" y="489"/>
                  </a:moveTo>
                  <a:lnTo>
                    <a:pt x="74" y="489"/>
                  </a:lnTo>
                  <a:lnTo>
                    <a:pt x="65" y="484"/>
                  </a:lnTo>
                  <a:lnTo>
                    <a:pt x="57" y="480"/>
                  </a:lnTo>
                  <a:lnTo>
                    <a:pt x="48" y="471"/>
                  </a:lnTo>
                  <a:lnTo>
                    <a:pt x="48" y="458"/>
                  </a:lnTo>
                  <a:lnTo>
                    <a:pt x="48" y="458"/>
                  </a:lnTo>
                  <a:lnTo>
                    <a:pt x="48" y="450"/>
                  </a:lnTo>
                  <a:lnTo>
                    <a:pt x="57" y="441"/>
                  </a:lnTo>
                  <a:lnTo>
                    <a:pt x="65" y="437"/>
                  </a:lnTo>
                  <a:lnTo>
                    <a:pt x="74" y="432"/>
                  </a:lnTo>
                  <a:lnTo>
                    <a:pt x="74" y="432"/>
                  </a:lnTo>
                  <a:lnTo>
                    <a:pt x="87" y="437"/>
                  </a:lnTo>
                  <a:lnTo>
                    <a:pt x="96" y="441"/>
                  </a:lnTo>
                  <a:lnTo>
                    <a:pt x="100" y="450"/>
                  </a:lnTo>
                  <a:lnTo>
                    <a:pt x="100" y="458"/>
                  </a:lnTo>
                  <a:lnTo>
                    <a:pt x="100" y="458"/>
                  </a:lnTo>
                  <a:lnTo>
                    <a:pt x="100" y="471"/>
                  </a:lnTo>
                  <a:lnTo>
                    <a:pt x="96" y="480"/>
                  </a:lnTo>
                  <a:lnTo>
                    <a:pt x="87" y="484"/>
                  </a:lnTo>
                  <a:lnTo>
                    <a:pt x="74" y="489"/>
                  </a:lnTo>
                  <a:lnTo>
                    <a:pt x="74" y="489"/>
                  </a:lnTo>
                  <a:close/>
                  <a:moveTo>
                    <a:pt x="74" y="419"/>
                  </a:moveTo>
                  <a:lnTo>
                    <a:pt x="74" y="419"/>
                  </a:lnTo>
                  <a:lnTo>
                    <a:pt x="65" y="419"/>
                  </a:lnTo>
                  <a:lnTo>
                    <a:pt x="57" y="415"/>
                  </a:lnTo>
                  <a:lnTo>
                    <a:pt x="48" y="406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85"/>
                  </a:lnTo>
                  <a:lnTo>
                    <a:pt x="57" y="376"/>
                  </a:lnTo>
                  <a:lnTo>
                    <a:pt x="65" y="367"/>
                  </a:lnTo>
                  <a:lnTo>
                    <a:pt x="74" y="367"/>
                  </a:lnTo>
                  <a:lnTo>
                    <a:pt x="74" y="367"/>
                  </a:lnTo>
                  <a:lnTo>
                    <a:pt x="87" y="367"/>
                  </a:lnTo>
                  <a:lnTo>
                    <a:pt x="96" y="376"/>
                  </a:lnTo>
                  <a:lnTo>
                    <a:pt x="100" y="385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0" y="406"/>
                  </a:lnTo>
                  <a:lnTo>
                    <a:pt x="96" y="415"/>
                  </a:lnTo>
                  <a:lnTo>
                    <a:pt x="87" y="419"/>
                  </a:lnTo>
                  <a:lnTo>
                    <a:pt x="74" y="419"/>
                  </a:lnTo>
                  <a:lnTo>
                    <a:pt x="74" y="419"/>
                  </a:lnTo>
                  <a:close/>
                  <a:moveTo>
                    <a:pt x="74" y="354"/>
                  </a:moveTo>
                  <a:lnTo>
                    <a:pt x="74" y="354"/>
                  </a:lnTo>
                  <a:lnTo>
                    <a:pt x="65" y="354"/>
                  </a:lnTo>
                  <a:lnTo>
                    <a:pt x="57" y="346"/>
                  </a:lnTo>
                  <a:lnTo>
                    <a:pt x="48" y="337"/>
                  </a:lnTo>
                  <a:lnTo>
                    <a:pt x="48" y="328"/>
                  </a:lnTo>
                  <a:lnTo>
                    <a:pt x="48" y="328"/>
                  </a:lnTo>
                  <a:lnTo>
                    <a:pt x="48" y="320"/>
                  </a:lnTo>
                  <a:lnTo>
                    <a:pt x="57" y="311"/>
                  </a:lnTo>
                  <a:lnTo>
                    <a:pt x="65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87" y="303"/>
                  </a:lnTo>
                  <a:lnTo>
                    <a:pt x="96" y="311"/>
                  </a:lnTo>
                  <a:lnTo>
                    <a:pt x="100" y="320"/>
                  </a:lnTo>
                  <a:lnTo>
                    <a:pt x="100" y="328"/>
                  </a:lnTo>
                  <a:lnTo>
                    <a:pt x="100" y="328"/>
                  </a:lnTo>
                  <a:lnTo>
                    <a:pt x="100" y="337"/>
                  </a:lnTo>
                  <a:lnTo>
                    <a:pt x="96" y="346"/>
                  </a:lnTo>
                  <a:lnTo>
                    <a:pt x="87" y="354"/>
                  </a:lnTo>
                  <a:lnTo>
                    <a:pt x="74" y="354"/>
                  </a:lnTo>
                  <a:lnTo>
                    <a:pt x="74" y="354"/>
                  </a:lnTo>
                  <a:close/>
                  <a:moveTo>
                    <a:pt x="147" y="489"/>
                  </a:moveTo>
                  <a:lnTo>
                    <a:pt x="147" y="489"/>
                  </a:lnTo>
                  <a:lnTo>
                    <a:pt x="139" y="484"/>
                  </a:lnTo>
                  <a:lnTo>
                    <a:pt x="130" y="480"/>
                  </a:lnTo>
                  <a:lnTo>
                    <a:pt x="122" y="471"/>
                  </a:lnTo>
                  <a:lnTo>
                    <a:pt x="122" y="458"/>
                  </a:lnTo>
                  <a:lnTo>
                    <a:pt x="122" y="458"/>
                  </a:lnTo>
                  <a:lnTo>
                    <a:pt x="122" y="450"/>
                  </a:lnTo>
                  <a:lnTo>
                    <a:pt x="130" y="441"/>
                  </a:lnTo>
                  <a:lnTo>
                    <a:pt x="139" y="437"/>
                  </a:lnTo>
                  <a:lnTo>
                    <a:pt x="147" y="432"/>
                  </a:lnTo>
                  <a:lnTo>
                    <a:pt x="147" y="432"/>
                  </a:lnTo>
                  <a:lnTo>
                    <a:pt x="156" y="437"/>
                  </a:lnTo>
                  <a:lnTo>
                    <a:pt x="165" y="441"/>
                  </a:lnTo>
                  <a:lnTo>
                    <a:pt x="173" y="450"/>
                  </a:lnTo>
                  <a:lnTo>
                    <a:pt x="173" y="458"/>
                  </a:lnTo>
                  <a:lnTo>
                    <a:pt x="173" y="458"/>
                  </a:lnTo>
                  <a:lnTo>
                    <a:pt x="173" y="471"/>
                  </a:lnTo>
                  <a:lnTo>
                    <a:pt x="165" y="480"/>
                  </a:lnTo>
                  <a:lnTo>
                    <a:pt x="156" y="484"/>
                  </a:lnTo>
                  <a:lnTo>
                    <a:pt x="147" y="489"/>
                  </a:lnTo>
                  <a:lnTo>
                    <a:pt x="147" y="489"/>
                  </a:lnTo>
                  <a:close/>
                  <a:moveTo>
                    <a:pt x="147" y="419"/>
                  </a:moveTo>
                  <a:lnTo>
                    <a:pt x="147" y="419"/>
                  </a:lnTo>
                  <a:lnTo>
                    <a:pt x="139" y="419"/>
                  </a:lnTo>
                  <a:lnTo>
                    <a:pt x="130" y="415"/>
                  </a:lnTo>
                  <a:lnTo>
                    <a:pt x="122" y="406"/>
                  </a:lnTo>
                  <a:lnTo>
                    <a:pt x="122" y="393"/>
                  </a:lnTo>
                  <a:lnTo>
                    <a:pt x="122" y="393"/>
                  </a:lnTo>
                  <a:lnTo>
                    <a:pt x="122" y="385"/>
                  </a:lnTo>
                  <a:lnTo>
                    <a:pt x="130" y="376"/>
                  </a:lnTo>
                  <a:lnTo>
                    <a:pt x="139" y="367"/>
                  </a:lnTo>
                  <a:lnTo>
                    <a:pt x="147" y="367"/>
                  </a:lnTo>
                  <a:lnTo>
                    <a:pt x="147" y="367"/>
                  </a:lnTo>
                  <a:lnTo>
                    <a:pt x="156" y="367"/>
                  </a:lnTo>
                  <a:lnTo>
                    <a:pt x="165" y="376"/>
                  </a:lnTo>
                  <a:lnTo>
                    <a:pt x="173" y="385"/>
                  </a:lnTo>
                  <a:lnTo>
                    <a:pt x="173" y="393"/>
                  </a:lnTo>
                  <a:lnTo>
                    <a:pt x="173" y="393"/>
                  </a:lnTo>
                  <a:lnTo>
                    <a:pt x="173" y="406"/>
                  </a:lnTo>
                  <a:lnTo>
                    <a:pt x="165" y="415"/>
                  </a:lnTo>
                  <a:lnTo>
                    <a:pt x="156" y="419"/>
                  </a:lnTo>
                  <a:lnTo>
                    <a:pt x="147" y="419"/>
                  </a:lnTo>
                  <a:lnTo>
                    <a:pt x="147" y="419"/>
                  </a:lnTo>
                  <a:close/>
                  <a:moveTo>
                    <a:pt x="147" y="354"/>
                  </a:moveTo>
                  <a:lnTo>
                    <a:pt x="147" y="354"/>
                  </a:lnTo>
                  <a:lnTo>
                    <a:pt x="139" y="354"/>
                  </a:lnTo>
                  <a:lnTo>
                    <a:pt x="130" y="346"/>
                  </a:lnTo>
                  <a:lnTo>
                    <a:pt x="122" y="337"/>
                  </a:lnTo>
                  <a:lnTo>
                    <a:pt x="122" y="328"/>
                  </a:lnTo>
                  <a:lnTo>
                    <a:pt x="122" y="328"/>
                  </a:lnTo>
                  <a:lnTo>
                    <a:pt x="122" y="320"/>
                  </a:lnTo>
                  <a:lnTo>
                    <a:pt x="130" y="311"/>
                  </a:lnTo>
                  <a:lnTo>
                    <a:pt x="139" y="303"/>
                  </a:lnTo>
                  <a:lnTo>
                    <a:pt x="147" y="303"/>
                  </a:lnTo>
                  <a:lnTo>
                    <a:pt x="147" y="303"/>
                  </a:lnTo>
                  <a:lnTo>
                    <a:pt x="156" y="303"/>
                  </a:lnTo>
                  <a:lnTo>
                    <a:pt x="165" y="311"/>
                  </a:lnTo>
                  <a:lnTo>
                    <a:pt x="173" y="32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37"/>
                  </a:lnTo>
                  <a:lnTo>
                    <a:pt x="165" y="346"/>
                  </a:lnTo>
                  <a:lnTo>
                    <a:pt x="156" y="354"/>
                  </a:lnTo>
                  <a:lnTo>
                    <a:pt x="147" y="354"/>
                  </a:lnTo>
                  <a:lnTo>
                    <a:pt x="147" y="354"/>
                  </a:lnTo>
                  <a:close/>
                  <a:moveTo>
                    <a:pt x="221" y="489"/>
                  </a:moveTo>
                  <a:lnTo>
                    <a:pt x="221" y="489"/>
                  </a:lnTo>
                  <a:lnTo>
                    <a:pt x="208" y="484"/>
                  </a:lnTo>
                  <a:lnTo>
                    <a:pt x="199" y="480"/>
                  </a:lnTo>
                  <a:lnTo>
                    <a:pt x="195" y="471"/>
                  </a:lnTo>
                  <a:lnTo>
                    <a:pt x="191" y="458"/>
                  </a:lnTo>
                  <a:lnTo>
                    <a:pt x="191" y="458"/>
                  </a:lnTo>
                  <a:lnTo>
                    <a:pt x="195" y="450"/>
                  </a:lnTo>
                  <a:lnTo>
                    <a:pt x="199" y="441"/>
                  </a:lnTo>
                  <a:lnTo>
                    <a:pt x="208" y="437"/>
                  </a:lnTo>
                  <a:lnTo>
                    <a:pt x="221" y="432"/>
                  </a:lnTo>
                  <a:lnTo>
                    <a:pt x="221" y="432"/>
                  </a:lnTo>
                  <a:lnTo>
                    <a:pt x="230" y="437"/>
                  </a:lnTo>
                  <a:lnTo>
                    <a:pt x="238" y="441"/>
                  </a:lnTo>
                  <a:lnTo>
                    <a:pt x="247" y="450"/>
                  </a:lnTo>
                  <a:lnTo>
                    <a:pt x="247" y="458"/>
                  </a:lnTo>
                  <a:lnTo>
                    <a:pt x="247" y="458"/>
                  </a:lnTo>
                  <a:lnTo>
                    <a:pt x="247" y="471"/>
                  </a:lnTo>
                  <a:lnTo>
                    <a:pt x="238" y="480"/>
                  </a:lnTo>
                  <a:lnTo>
                    <a:pt x="230" y="484"/>
                  </a:lnTo>
                  <a:lnTo>
                    <a:pt x="221" y="489"/>
                  </a:lnTo>
                  <a:lnTo>
                    <a:pt x="221" y="489"/>
                  </a:lnTo>
                  <a:close/>
                  <a:moveTo>
                    <a:pt x="221" y="419"/>
                  </a:moveTo>
                  <a:lnTo>
                    <a:pt x="221" y="419"/>
                  </a:lnTo>
                  <a:lnTo>
                    <a:pt x="208" y="419"/>
                  </a:lnTo>
                  <a:lnTo>
                    <a:pt x="199" y="415"/>
                  </a:lnTo>
                  <a:lnTo>
                    <a:pt x="195" y="406"/>
                  </a:lnTo>
                  <a:lnTo>
                    <a:pt x="191" y="393"/>
                  </a:lnTo>
                  <a:lnTo>
                    <a:pt x="191" y="393"/>
                  </a:lnTo>
                  <a:lnTo>
                    <a:pt x="195" y="385"/>
                  </a:lnTo>
                  <a:lnTo>
                    <a:pt x="199" y="376"/>
                  </a:lnTo>
                  <a:lnTo>
                    <a:pt x="208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30" y="367"/>
                  </a:lnTo>
                  <a:lnTo>
                    <a:pt x="238" y="376"/>
                  </a:lnTo>
                  <a:lnTo>
                    <a:pt x="247" y="385"/>
                  </a:lnTo>
                  <a:lnTo>
                    <a:pt x="247" y="393"/>
                  </a:lnTo>
                  <a:lnTo>
                    <a:pt x="247" y="393"/>
                  </a:lnTo>
                  <a:lnTo>
                    <a:pt x="247" y="406"/>
                  </a:lnTo>
                  <a:lnTo>
                    <a:pt x="238" y="415"/>
                  </a:lnTo>
                  <a:lnTo>
                    <a:pt x="230" y="419"/>
                  </a:lnTo>
                  <a:lnTo>
                    <a:pt x="221" y="419"/>
                  </a:lnTo>
                  <a:lnTo>
                    <a:pt x="221" y="419"/>
                  </a:lnTo>
                  <a:close/>
                  <a:moveTo>
                    <a:pt x="221" y="354"/>
                  </a:moveTo>
                  <a:lnTo>
                    <a:pt x="221" y="354"/>
                  </a:lnTo>
                  <a:lnTo>
                    <a:pt x="208" y="354"/>
                  </a:lnTo>
                  <a:lnTo>
                    <a:pt x="199" y="346"/>
                  </a:lnTo>
                  <a:lnTo>
                    <a:pt x="195" y="337"/>
                  </a:lnTo>
                  <a:lnTo>
                    <a:pt x="191" y="328"/>
                  </a:lnTo>
                  <a:lnTo>
                    <a:pt x="191" y="328"/>
                  </a:lnTo>
                  <a:lnTo>
                    <a:pt x="195" y="320"/>
                  </a:lnTo>
                  <a:lnTo>
                    <a:pt x="199" y="311"/>
                  </a:lnTo>
                  <a:lnTo>
                    <a:pt x="208" y="303"/>
                  </a:lnTo>
                  <a:lnTo>
                    <a:pt x="221" y="303"/>
                  </a:lnTo>
                  <a:lnTo>
                    <a:pt x="221" y="303"/>
                  </a:lnTo>
                  <a:lnTo>
                    <a:pt x="230" y="303"/>
                  </a:lnTo>
                  <a:lnTo>
                    <a:pt x="238" y="311"/>
                  </a:lnTo>
                  <a:lnTo>
                    <a:pt x="247" y="320"/>
                  </a:lnTo>
                  <a:lnTo>
                    <a:pt x="247" y="328"/>
                  </a:lnTo>
                  <a:lnTo>
                    <a:pt x="247" y="328"/>
                  </a:lnTo>
                  <a:lnTo>
                    <a:pt x="247" y="337"/>
                  </a:lnTo>
                  <a:lnTo>
                    <a:pt x="238" y="346"/>
                  </a:lnTo>
                  <a:lnTo>
                    <a:pt x="230" y="354"/>
                  </a:lnTo>
                  <a:lnTo>
                    <a:pt x="221" y="354"/>
                  </a:lnTo>
                  <a:lnTo>
                    <a:pt x="221" y="354"/>
                  </a:lnTo>
                  <a:close/>
                  <a:moveTo>
                    <a:pt x="251" y="199"/>
                  </a:moveTo>
                  <a:lnTo>
                    <a:pt x="251" y="199"/>
                  </a:lnTo>
                  <a:lnTo>
                    <a:pt x="247" y="220"/>
                  </a:lnTo>
                  <a:lnTo>
                    <a:pt x="234" y="242"/>
                  </a:lnTo>
                  <a:lnTo>
                    <a:pt x="212" y="255"/>
                  </a:lnTo>
                  <a:lnTo>
                    <a:pt x="191" y="259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83" y="255"/>
                  </a:lnTo>
                  <a:lnTo>
                    <a:pt x="61" y="242"/>
                  </a:lnTo>
                  <a:lnTo>
                    <a:pt x="48" y="220"/>
                  </a:lnTo>
                  <a:lnTo>
                    <a:pt x="44" y="199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8" y="112"/>
                  </a:lnTo>
                  <a:lnTo>
                    <a:pt x="61" y="95"/>
                  </a:lnTo>
                  <a:lnTo>
                    <a:pt x="83" y="82"/>
                  </a:lnTo>
                  <a:lnTo>
                    <a:pt x="104" y="73"/>
                  </a:lnTo>
                  <a:lnTo>
                    <a:pt x="191" y="73"/>
                  </a:lnTo>
                  <a:lnTo>
                    <a:pt x="191" y="73"/>
                  </a:lnTo>
                  <a:lnTo>
                    <a:pt x="212" y="82"/>
                  </a:lnTo>
                  <a:lnTo>
                    <a:pt x="234" y="95"/>
                  </a:lnTo>
                  <a:lnTo>
                    <a:pt x="247" y="112"/>
                  </a:lnTo>
                  <a:lnTo>
                    <a:pt x="251" y="138"/>
                  </a:lnTo>
                  <a:lnTo>
                    <a:pt x="251" y="199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0" name="Freeform 12"/>
            <p:cNvSpPr>
              <a:spLocks/>
            </p:cNvSpPr>
            <p:nvPr/>
          </p:nvSpPr>
          <p:spPr bwMode="auto">
            <a:xfrm>
              <a:off x="7490216" y="1910679"/>
              <a:ext cx="102386" cy="129267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0"/>
                </a:cxn>
                <a:cxn ang="0">
                  <a:pos x="134" y="5"/>
                </a:cxn>
                <a:cxn ang="0">
                  <a:pos x="104" y="13"/>
                </a:cxn>
                <a:cxn ang="0">
                  <a:pos x="78" y="26"/>
                </a:cxn>
                <a:cxn ang="0">
                  <a:pos x="56" y="48"/>
                </a:cxn>
                <a:cxn ang="0">
                  <a:pos x="56" y="48"/>
                </a:cxn>
                <a:cxn ang="0">
                  <a:pos x="35" y="74"/>
                </a:cxn>
                <a:cxn ang="0">
                  <a:pos x="18" y="104"/>
                </a:cxn>
                <a:cxn ang="0">
                  <a:pos x="5" y="139"/>
                </a:cxn>
                <a:cxn ang="0">
                  <a:pos x="0" y="178"/>
                </a:cxn>
                <a:cxn ang="0">
                  <a:pos x="0" y="178"/>
                </a:cxn>
                <a:cxn ang="0">
                  <a:pos x="5" y="182"/>
                </a:cxn>
                <a:cxn ang="0">
                  <a:pos x="13" y="186"/>
                </a:cxn>
                <a:cxn ang="0">
                  <a:pos x="13" y="186"/>
                </a:cxn>
                <a:cxn ang="0">
                  <a:pos x="18" y="182"/>
                </a:cxn>
                <a:cxn ang="0">
                  <a:pos x="22" y="178"/>
                </a:cxn>
                <a:cxn ang="0">
                  <a:pos x="22" y="178"/>
                </a:cxn>
                <a:cxn ang="0">
                  <a:pos x="22" y="143"/>
                </a:cxn>
                <a:cxn ang="0">
                  <a:pos x="35" y="113"/>
                </a:cxn>
                <a:cxn ang="0">
                  <a:pos x="48" y="87"/>
                </a:cxn>
                <a:cxn ang="0">
                  <a:pos x="69" y="61"/>
                </a:cxn>
                <a:cxn ang="0">
                  <a:pos x="69" y="61"/>
                </a:cxn>
                <a:cxn ang="0">
                  <a:pos x="87" y="44"/>
                </a:cxn>
                <a:cxn ang="0">
                  <a:pos x="113" y="31"/>
                </a:cxn>
                <a:cxn ang="0">
                  <a:pos x="139" y="22"/>
                </a:cxn>
                <a:cxn ang="0">
                  <a:pos x="169" y="18"/>
                </a:cxn>
                <a:cxn ang="0">
                  <a:pos x="169" y="18"/>
                </a:cxn>
                <a:cxn ang="0">
                  <a:pos x="173" y="18"/>
                </a:cxn>
                <a:cxn ang="0">
                  <a:pos x="178" y="9"/>
                </a:cxn>
                <a:cxn ang="0">
                  <a:pos x="178" y="9"/>
                </a:cxn>
                <a:cxn ang="0">
                  <a:pos x="173" y="5"/>
                </a:cxn>
                <a:cxn ang="0">
                  <a:pos x="169" y="0"/>
                </a:cxn>
                <a:cxn ang="0">
                  <a:pos x="169" y="0"/>
                </a:cxn>
              </a:cxnLst>
              <a:rect l="0" t="0" r="r" b="b"/>
              <a:pathLst>
                <a:path w="178" h="186">
                  <a:moveTo>
                    <a:pt x="169" y="0"/>
                  </a:moveTo>
                  <a:lnTo>
                    <a:pt x="169" y="0"/>
                  </a:lnTo>
                  <a:lnTo>
                    <a:pt x="134" y="5"/>
                  </a:lnTo>
                  <a:lnTo>
                    <a:pt x="104" y="13"/>
                  </a:lnTo>
                  <a:lnTo>
                    <a:pt x="78" y="2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35" y="74"/>
                  </a:lnTo>
                  <a:lnTo>
                    <a:pt x="18" y="104"/>
                  </a:lnTo>
                  <a:lnTo>
                    <a:pt x="5" y="139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5" y="182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8" y="182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2" y="143"/>
                  </a:lnTo>
                  <a:lnTo>
                    <a:pt x="35" y="113"/>
                  </a:lnTo>
                  <a:lnTo>
                    <a:pt x="48" y="87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87" y="44"/>
                  </a:lnTo>
                  <a:lnTo>
                    <a:pt x="113" y="31"/>
                  </a:lnTo>
                  <a:lnTo>
                    <a:pt x="139" y="22"/>
                  </a:lnTo>
                  <a:lnTo>
                    <a:pt x="169" y="18"/>
                  </a:lnTo>
                  <a:lnTo>
                    <a:pt x="169" y="18"/>
                  </a:lnTo>
                  <a:lnTo>
                    <a:pt x="173" y="18"/>
                  </a:lnTo>
                  <a:lnTo>
                    <a:pt x="178" y="9"/>
                  </a:lnTo>
                  <a:lnTo>
                    <a:pt x="178" y="9"/>
                  </a:lnTo>
                  <a:lnTo>
                    <a:pt x="173" y="5"/>
                  </a:lnTo>
                  <a:lnTo>
                    <a:pt x="16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1" name="Freeform 13"/>
            <p:cNvSpPr>
              <a:spLocks/>
            </p:cNvSpPr>
            <p:nvPr/>
          </p:nvSpPr>
          <p:spPr bwMode="auto">
            <a:xfrm>
              <a:off x="7517826" y="1944038"/>
              <a:ext cx="86856" cy="111198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143" y="0"/>
                </a:cxn>
                <a:cxn ang="0">
                  <a:pos x="117" y="0"/>
                </a:cxn>
                <a:cxn ang="0">
                  <a:pos x="91" y="9"/>
                </a:cxn>
                <a:cxn ang="0">
                  <a:pos x="65" y="22"/>
                </a:cxn>
                <a:cxn ang="0">
                  <a:pos x="43" y="39"/>
                </a:cxn>
                <a:cxn ang="0">
                  <a:pos x="43" y="39"/>
                </a:cxn>
                <a:cxn ang="0">
                  <a:pos x="26" y="65"/>
                </a:cxn>
                <a:cxn ang="0">
                  <a:pos x="13" y="91"/>
                </a:cxn>
                <a:cxn ang="0">
                  <a:pos x="4" y="121"/>
                </a:cxn>
                <a:cxn ang="0">
                  <a:pos x="0" y="151"/>
                </a:cxn>
                <a:cxn ang="0">
                  <a:pos x="0" y="151"/>
                </a:cxn>
                <a:cxn ang="0">
                  <a:pos x="4" y="160"/>
                </a:cxn>
                <a:cxn ang="0">
                  <a:pos x="8" y="160"/>
                </a:cxn>
                <a:cxn ang="0">
                  <a:pos x="8" y="160"/>
                </a:cxn>
                <a:cxn ang="0">
                  <a:pos x="17" y="160"/>
                </a:cxn>
                <a:cxn ang="0">
                  <a:pos x="17" y="151"/>
                </a:cxn>
                <a:cxn ang="0">
                  <a:pos x="17" y="151"/>
                </a:cxn>
                <a:cxn ang="0">
                  <a:pos x="21" y="121"/>
                </a:cxn>
                <a:cxn ang="0">
                  <a:pos x="30" y="95"/>
                </a:cxn>
                <a:cxn ang="0">
                  <a:pos x="43" y="74"/>
                </a:cxn>
                <a:cxn ang="0">
                  <a:pos x="56" y="52"/>
                </a:cxn>
                <a:cxn ang="0">
                  <a:pos x="56" y="52"/>
                </a:cxn>
                <a:cxn ang="0">
                  <a:pos x="78" y="39"/>
                </a:cxn>
                <a:cxn ang="0">
                  <a:pos x="95" y="26"/>
                </a:cxn>
                <a:cxn ang="0">
                  <a:pos x="117" y="22"/>
                </a:cxn>
                <a:cxn ang="0">
                  <a:pos x="143" y="17"/>
                </a:cxn>
                <a:cxn ang="0">
                  <a:pos x="143" y="17"/>
                </a:cxn>
                <a:cxn ang="0">
                  <a:pos x="151" y="13"/>
                </a:cxn>
                <a:cxn ang="0">
                  <a:pos x="151" y="9"/>
                </a:cxn>
                <a:cxn ang="0">
                  <a:pos x="151" y="9"/>
                </a:cxn>
                <a:cxn ang="0">
                  <a:pos x="151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51" h="160">
                  <a:moveTo>
                    <a:pt x="143" y="0"/>
                  </a:moveTo>
                  <a:lnTo>
                    <a:pt x="143" y="0"/>
                  </a:lnTo>
                  <a:lnTo>
                    <a:pt x="117" y="0"/>
                  </a:lnTo>
                  <a:lnTo>
                    <a:pt x="91" y="9"/>
                  </a:lnTo>
                  <a:lnTo>
                    <a:pt x="65" y="22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26" y="65"/>
                  </a:lnTo>
                  <a:lnTo>
                    <a:pt x="13" y="91"/>
                  </a:lnTo>
                  <a:lnTo>
                    <a:pt x="4" y="12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21" y="121"/>
                  </a:lnTo>
                  <a:lnTo>
                    <a:pt x="30" y="95"/>
                  </a:lnTo>
                  <a:lnTo>
                    <a:pt x="43" y="74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78" y="39"/>
                  </a:lnTo>
                  <a:lnTo>
                    <a:pt x="95" y="26"/>
                  </a:lnTo>
                  <a:lnTo>
                    <a:pt x="117" y="22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51" y="13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2" name="Freeform 14"/>
            <p:cNvSpPr>
              <a:spLocks/>
            </p:cNvSpPr>
            <p:nvPr/>
          </p:nvSpPr>
          <p:spPr bwMode="auto">
            <a:xfrm>
              <a:off x="7544861" y="1973923"/>
              <a:ext cx="74777" cy="96603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117" y="0"/>
                </a:cxn>
                <a:cxn ang="0">
                  <a:pos x="96" y="5"/>
                </a:cxn>
                <a:cxn ang="0">
                  <a:pos x="74" y="13"/>
                </a:cxn>
                <a:cxn ang="0">
                  <a:pos x="52" y="22"/>
                </a:cxn>
                <a:cxn ang="0">
                  <a:pos x="35" y="39"/>
                </a:cxn>
                <a:cxn ang="0">
                  <a:pos x="35" y="39"/>
                </a:cxn>
                <a:cxn ang="0">
                  <a:pos x="22" y="56"/>
                </a:cxn>
                <a:cxn ang="0">
                  <a:pos x="9" y="78"/>
                </a:cxn>
                <a:cxn ang="0">
                  <a:pos x="0" y="104"/>
                </a:cxn>
                <a:cxn ang="0">
                  <a:pos x="0" y="130"/>
                </a:cxn>
                <a:cxn ang="0">
                  <a:pos x="0" y="130"/>
                </a:cxn>
                <a:cxn ang="0">
                  <a:pos x="0" y="139"/>
                </a:cxn>
                <a:cxn ang="0">
                  <a:pos x="9" y="139"/>
                </a:cxn>
                <a:cxn ang="0">
                  <a:pos x="9" y="139"/>
                </a:cxn>
                <a:cxn ang="0">
                  <a:pos x="13" y="139"/>
                </a:cxn>
                <a:cxn ang="0">
                  <a:pos x="18" y="130"/>
                </a:cxn>
                <a:cxn ang="0">
                  <a:pos x="18" y="130"/>
                </a:cxn>
                <a:cxn ang="0">
                  <a:pos x="18" y="108"/>
                </a:cxn>
                <a:cxn ang="0">
                  <a:pos x="26" y="87"/>
                </a:cxn>
                <a:cxn ang="0">
                  <a:pos x="35" y="65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65" y="39"/>
                </a:cxn>
                <a:cxn ang="0">
                  <a:pos x="83" y="31"/>
                </a:cxn>
                <a:cxn ang="0">
                  <a:pos x="100" y="22"/>
                </a:cxn>
                <a:cxn ang="0">
                  <a:pos x="117" y="22"/>
                </a:cxn>
                <a:cxn ang="0">
                  <a:pos x="117" y="22"/>
                </a:cxn>
                <a:cxn ang="0">
                  <a:pos x="126" y="18"/>
                </a:cxn>
                <a:cxn ang="0">
                  <a:pos x="130" y="13"/>
                </a:cxn>
                <a:cxn ang="0">
                  <a:pos x="130" y="13"/>
                </a:cxn>
                <a:cxn ang="0">
                  <a:pos x="126" y="5"/>
                </a:cxn>
                <a:cxn ang="0">
                  <a:pos x="117" y="0"/>
                </a:cxn>
                <a:cxn ang="0">
                  <a:pos x="117" y="0"/>
                </a:cxn>
              </a:cxnLst>
              <a:rect l="0" t="0" r="r" b="b"/>
              <a:pathLst>
                <a:path w="130" h="139">
                  <a:moveTo>
                    <a:pt x="117" y="0"/>
                  </a:moveTo>
                  <a:lnTo>
                    <a:pt x="117" y="0"/>
                  </a:lnTo>
                  <a:lnTo>
                    <a:pt x="96" y="5"/>
                  </a:lnTo>
                  <a:lnTo>
                    <a:pt x="74" y="13"/>
                  </a:lnTo>
                  <a:lnTo>
                    <a:pt x="52" y="22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22" y="56"/>
                  </a:lnTo>
                  <a:lnTo>
                    <a:pt x="9" y="78"/>
                  </a:lnTo>
                  <a:lnTo>
                    <a:pt x="0" y="10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3" y="139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08"/>
                  </a:lnTo>
                  <a:lnTo>
                    <a:pt x="26" y="87"/>
                  </a:lnTo>
                  <a:lnTo>
                    <a:pt x="35" y="65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65" y="39"/>
                  </a:lnTo>
                  <a:lnTo>
                    <a:pt x="83" y="31"/>
                  </a:lnTo>
                  <a:lnTo>
                    <a:pt x="100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26" y="18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26" y="5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6" name="组合 399"/>
          <p:cNvGrpSpPr/>
          <p:nvPr/>
        </p:nvGrpSpPr>
        <p:grpSpPr>
          <a:xfrm>
            <a:off x="6866897" y="3058405"/>
            <a:ext cx="162926" cy="208476"/>
            <a:chOff x="7490216" y="1910679"/>
            <a:chExt cx="261718" cy="448266"/>
          </a:xfrm>
        </p:grpSpPr>
        <p:sp>
          <p:nvSpPr>
            <p:cNvPr id="135" name="Freeform 11"/>
            <p:cNvSpPr>
              <a:spLocks noEditPoints="1"/>
            </p:cNvSpPr>
            <p:nvPr/>
          </p:nvSpPr>
          <p:spPr bwMode="auto">
            <a:xfrm>
              <a:off x="7582249" y="1995467"/>
              <a:ext cx="169685" cy="363478"/>
            </a:xfrm>
            <a:custGeom>
              <a:avLst/>
              <a:gdLst/>
              <a:ahLst/>
              <a:cxnLst>
                <a:cxn ang="0">
                  <a:pos x="256" y="4"/>
                </a:cxn>
                <a:cxn ang="0">
                  <a:pos x="225" y="4"/>
                </a:cxn>
                <a:cxn ang="0">
                  <a:pos x="61" y="43"/>
                </a:cxn>
                <a:cxn ang="0">
                  <a:pos x="0" y="463"/>
                </a:cxn>
                <a:cxn ang="0">
                  <a:pos x="61" y="523"/>
                </a:cxn>
                <a:cxn ang="0">
                  <a:pos x="290" y="484"/>
                </a:cxn>
                <a:cxn ang="0">
                  <a:pos x="286" y="69"/>
                </a:cxn>
                <a:cxn ang="0">
                  <a:pos x="74" y="489"/>
                </a:cxn>
                <a:cxn ang="0">
                  <a:pos x="48" y="458"/>
                </a:cxn>
                <a:cxn ang="0">
                  <a:pos x="74" y="432"/>
                </a:cxn>
                <a:cxn ang="0">
                  <a:pos x="100" y="458"/>
                </a:cxn>
                <a:cxn ang="0">
                  <a:pos x="74" y="489"/>
                </a:cxn>
                <a:cxn ang="0">
                  <a:pos x="48" y="406"/>
                </a:cxn>
                <a:cxn ang="0">
                  <a:pos x="65" y="367"/>
                </a:cxn>
                <a:cxn ang="0">
                  <a:pos x="100" y="385"/>
                </a:cxn>
                <a:cxn ang="0">
                  <a:pos x="87" y="419"/>
                </a:cxn>
                <a:cxn ang="0">
                  <a:pos x="65" y="354"/>
                </a:cxn>
                <a:cxn ang="0">
                  <a:pos x="48" y="320"/>
                </a:cxn>
                <a:cxn ang="0">
                  <a:pos x="87" y="303"/>
                </a:cxn>
                <a:cxn ang="0">
                  <a:pos x="100" y="337"/>
                </a:cxn>
                <a:cxn ang="0">
                  <a:pos x="147" y="489"/>
                </a:cxn>
                <a:cxn ang="0">
                  <a:pos x="122" y="458"/>
                </a:cxn>
                <a:cxn ang="0">
                  <a:pos x="147" y="432"/>
                </a:cxn>
                <a:cxn ang="0">
                  <a:pos x="173" y="458"/>
                </a:cxn>
                <a:cxn ang="0">
                  <a:pos x="147" y="489"/>
                </a:cxn>
                <a:cxn ang="0">
                  <a:pos x="130" y="415"/>
                </a:cxn>
                <a:cxn ang="0">
                  <a:pos x="130" y="376"/>
                </a:cxn>
                <a:cxn ang="0">
                  <a:pos x="165" y="376"/>
                </a:cxn>
                <a:cxn ang="0">
                  <a:pos x="165" y="415"/>
                </a:cxn>
                <a:cxn ang="0">
                  <a:pos x="147" y="354"/>
                </a:cxn>
                <a:cxn ang="0">
                  <a:pos x="122" y="328"/>
                </a:cxn>
                <a:cxn ang="0">
                  <a:pos x="147" y="303"/>
                </a:cxn>
                <a:cxn ang="0">
                  <a:pos x="173" y="328"/>
                </a:cxn>
                <a:cxn ang="0">
                  <a:pos x="147" y="354"/>
                </a:cxn>
                <a:cxn ang="0">
                  <a:pos x="195" y="471"/>
                </a:cxn>
                <a:cxn ang="0">
                  <a:pos x="208" y="437"/>
                </a:cxn>
                <a:cxn ang="0">
                  <a:pos x="247" y="450"/>
                </a:cxn>
                <a:cxn ang="0">
                  <a:pos x="230" y="484"/>
                </a:cxn>
                <a:cxn ang="0">
                  <a:pos x="208" y="419"/>
                </a:cxn>
                <a:cxn ang="0">
                  <a:pos x="195" y="385"/>
                </a:cxn>
                <a:cxn ang="0">
                  <a:pos x="230" y="367"/>
                </a:cxn>
                <a:cxn ang="0">
                  <a:pos x="247" y="406"/>
                </a:cxn>
                <a:cxn ang="0">
                  <a:pos x="221" y="354"/>
                </a:cxn>
                <a:cxn ang="0">
                  <a:pos x="191" y="328"/>
                </a:cxn>
                <a:cxn ang="0">
                  <a:pos x="221" y="303"/>
                </a:cxn>
                <a:cxn ang="0">
                  <a:pos x="247" y="328"/>
                </a:cxn>
                <a:cxn ang="0">
                  <a:pos x="221" y="354"/>
                </a:cxn>
                <a:cxn ang="0">
                  <a:pos x="234" y="242"/>
                </a:cxn>
                <a:cxn ang="0">
                  <a:pos x="83" y="255"/>
                </a:cxn>
                <a:cxn ang="0">
                  <a:pos x="44" y="138"/>
                </a:cxn>
                <a:cxn ang="0">
                  <a:pos x="191" y="73"/>
                </a:cxn>
                <a:cxn ang="0">
                  <a:pos x="251" y="138"/>
                </a:cxn>
              </a:cxnLst>
              <a:rect l="0" t="0" r="r" b="b"/>
              <a:pathLst>
                <a:path w="295" h="523">
                  <a:moveTo>
                    <a:pt x="260" y="47"/>
                  </a:moveTo>
                  <a:lnTo>
                    <a:pt x="260" y="17"/>
                  </a:lnTo>
                  <a:lnTo>
                    <a:pt x="260" y="17"/>
                  </a:lnTo>
                  <a:lnTo>
                    <a:pt x="260" y="13"/>
                  </a:lnTo>
                  <a:lnTo>
                    <a:pt x="256" y="4"/>
                  </a:lnTo>
                  <a:lnTo>
                    <a:pt x="247" y="4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0" y="4"/>
                  </a:lnTo>
                  <a:lnTo>
                    <a:pt x="225" y="4"/>
                  </a:lnTo>
                  <a:lnTo>
                    <a:pt x="221" y="13"/>
                  </a:lnTo>
                  <a:lnTo>
                    <a:pt x="217" y="17"/>
                  </a:lnTo>
                  <a:lnTo>
                    <a:pt x="217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39" y="47"/>
                  </a:lnTo>
                  <a:lnTo>
                    <a:pt x="18" y="60"/>
                  </a:lnTo>
                  <a:lnTo>
                    <a:pt x="5" y="77"/>
                  </a:lnTo>
                  <a:lnTo>
                    <a:pt x="0" y="103"/>
                  </a:lnTo>
                  <a:lnTo>
                    <a:pt x="0" y="463"/>
                  </a:lnTo>
                  <a:lnTo>
                    <a:pt x="0" y="463"/>
                  </a:lnTo>
                  <a:lnTo>
                    <a:pt x="5" y="484"/>
                  </a:lnTo>
                  <a:lnTo>
                    <a:pt x="18" y="506"/>
                  </a:lnTo>
                  <a:lnTo>
                    <a:pt x="39" y="519"/>
                  </a:lnTo>
                  <a:lnTo>
                    <a:pt x="61" y="523"/>
                  </a:lnTo>
                  <a:lnTo>
                    <a:pt x="234" y="523"/>
                  </a:lnTo>
                  <a:lnTo>
                    <a:pt x="234" y="523"/>
                  </a:lnTo>
                  <a:lnTo>
                    <a:pt x="256" y="519"/>
                  </a:lnTo>
                  <a:lnTo>
                    <a:pt x="277" y="506"/>
                  </a:lnTo>
                  <a:lnTo>
                    <a:pt x="290" y="484"/>
                  </a:lnTo>
                  <a:lnTo>
                    <a:pt x="295" y="463"/>
                  </a:lnTo>
                  <a:lnTo>
                    <a:pt x="295" y="103"/>
                  </a:lnTo>
                  <a:lnTo>
                    <a:pt x="295" y="103"/>
                  </a:lnTo>
                  <a:lnTo>
                    <a:pt x="290" y="86"/>
                  </a:lnTo>
                  <a:lnTo>
                    <a:pt x="286" y="69"/>
                  </a:lnTo>
                  <a:lnTo>
                    <a:pt x="273" y="56"/>
                  </a:lnTo>
                  <a:lnTo>
                    <a:pt x="260" y="47"/>
                  </a:lnTo>
                  <a:lnTo>
                    <a:pt x="260" y="47"/>
                  </a:lnTo>
                  <a:close/>
                  <a:moveTo>
                    <a:pt x="74" y="489"/>
                  </a:moveTo>
                  <a:lnTo>
                    <a:pt x="74" y="489"/>
                  </a:lnTo>
                  <a:lnTo>
                    <a:pt x="65" y="484"/>
                  </a:lnTo>
                  <a:lnTo>
                    <a:pt x="57" y="480"/>
                  </a:lnTo>
                  <a:lnTo>
                    <a:pt x="48" y="471"/>
                  </a:lnTo>
                  <a:lnTo>
                    <a:pt x="48" y="458"/>
                  </a:lnTo>
                  <a:lnTo>
                    <a:pt x="48" y="458"/>
                  </a:lnTo>
                  <a:lnTo>
                    <a:pt x="48" y="450"/>
                  </a:lnTo>
                  <a:lnTo>
                    <a:pt x="57" y="441"/>
                  </a:lnTo>
                  <a:lnTo>
                    <a:pt x="65" y="437"/>
                  </a:lnTo>
                  <a:lnTo>
                    <a:pt x="74" y="432"/>
                  </a:lnTo>
                  <a:lnTo>
                    <a:pt x="74" y="432"/>
                  </a:lnTo>
                  <a:lnTo>
                    <a:pt x="87" y="437"/>
                  </a:lnTo>
                  <a:lnTo>
                    <a:pt x="96" y="441"/>
                  </a:lnTo>
                  <a:lnTo>
                    <a:pt x="100" y="450"/>
                  </a:lnTo>
                  <a:lnTo>
                    <a:pt x="100" y="458"/>
                  </a:lnTo>
                  <a:lnTo>
                    <a:pt x="100" y="458"/>
                  </a:lnTo>
                  <a:lnTo>
                    <a:pt x="100" y="471"/>
                  </a:lnTo>
                  <a:lnTo>
                    <a:pt x="96" y="480"/>
                  </a:lnTo>
                  <a:lnTo>
                    <a:pt x="87" y="484"/>
                  </a:lnTo>
                  <a:lnTo>
                    <a:pt x="74" y="489"/>
                  </a:lnTo>
                  <a:lnTo>
                    <a:pt x="74" y="489"/>
                  </a:lnTo>
                  <a:close/>
                  <a:moveTo>
                    <a:pt x="74" y="419"/>
                  </a:moveTo>
                  <a:lnTo>
                    <a:pt x="74" y="419"/>
                  </a:lnTo>
                  <a:lnTo>
                    <a:pt x="65" y="419"/>
                  </a:lnTo>
                  <a:lnTo>
                    <a:pt x="57" y="415"/>
                  </a:lnTo>
                  <a:lnTo>
                    <a:pt x="48" y="406"/>
                  </a:lnTo>
                  <a:lnTo>
                    <a:pt x="48" y="393"/>
                  </a:lnTo>
                  <a:lnTo>
                    <a:pt x="48" y="393"/>
                  </a:lnTo>
                  <a:lnTo>
                    <a:pt x="48" y="385"/>
                  </a:lnTo>
                  <a:lnTo>
                    <a:pt x="57" y="376"/>
                  </a:lnTo>
                  <a:lnTo>
                    <a:pt x="65" y="367"/>
                  </a:lnTo>
                  <a:lnTo>
                    <a:pt x="74" y="367"/>
                  </a:lnTo>
                  <a:lnTo>
                    <a:pt x="74" y="367"/>
                  </a:lnTo>
                  <a:lnTo>
                    <a:pt x="87" y="367"/>
                  </a:lnTo>
                  <a:lnTo>
                    <a:pt x="96" y="376"/>
                  </a:lnTo>
                  <a:lnTo>
                    <a:pt x="100" y="385"/>
                  </a:lnTo>
                  <a:lnTo>
                    <a:pt x="100" y="393"/>
                  </a:lnTo>
                  <a:lnTo>
                    <a:pt x="100" y="393"/>
                  </a:lnTo>
                  <a:lnTo>
                    <a:pt x="100" y="406"/>
                  </a:lnTo>
                  <a:lnTo>
                    <a:pt x="96" y="415"/>
                  </a:lnTo>
                  <a:lnTo>
                    <a:pt x="87" y="419"/>
                  </a:lnTo>
                  <a:lnTo>
                    <a:pt x="74" y="419"/>
                  </a:lnTo>
                  <a:lnTo>
                    <a:pt x="74" y="419"/>
                  </a:lnTo>
                  <a:close/>
                  <a:moveTo>
                    <a:pt x="74" y="354"/>
                  </a:moveTo>
                  <a:lnTo>
                    <a:pt x="74" y="354"/>
                  </a:lnTo>
                  <a:lnTo>
                    <a:pt x="65" y="354"/>
                  </a:lnTo>
                  <a:lnTo>
                    <a:pt x="57" y="346"/>
                  </a:lnTo>
                  <a:lnTo>
                    <a:pt x="48" y="337"/>
                  </a:lnTo>
                  <a:lnTo>
                    <a:pt x="48" y="328"/>
                  </a:lnTo>
                  <a:lnTo>
                    <a:pt x="48" y="328"/>
                  </a:lnTo>
                  <a:lnTo>
                    <a:pt x="48" y="320"/>
                  </a:lnTo>
                  <a:lnTo>
                    <a:pt x="57" y="311"/>
                  </a:lnTo>
                  <a:lnTo>
                    <a:pt x="65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87" y="303"/>
                  </a:lnTo>
                  <a:lnTo>
                    <a:pt x="96" y="311"/>
                  </a:lnTo>
                  <a:lnTo>
                    <a:pt x="100" y="320"/>
                  </a:lnTo>
                  <a:lnTo>
                    <a:pt x="100" y="328"/>
                  </a:lnTo>
                  <a:lnTo>
                    <a:pt x="100" y="328"/>
                  </a:lnTo>
                  <a:lnTo>
                    <a:pt x="100" y="337"/>
                  </a:lnTo>
                  <a:lnTo>
                    <a:pt x="96" y="346"/>
                  </a:lnTo>
                  <a:lnTo>
                    <a:pt x="87" y="354"/>
                  </a:lnTo>
                  <a:lnTo>
                    <a:pt x="74" y="354"/>
                  </a:lnTo>
                  <a:lnTo>
                    <a:pt x="74" y="354"/>
                  </a:lnTo>
                  <a:close/>
                  <a:moveTo>
                    <a:pt x="147" y="489"/>
                  </a:moveTo>
                  <a:lnTo>
                    <a:pt x="147" y="489"/>
                  </a:lnTo>
                  <a:lnTo>
                    <a:pt x="139" y="484"/>
                  </a:lnTo>
                  <a:lnTo>
                    <a:pt x="130" y="480"/>
                  </a:lnTo>
                  <a:lnTo>
                    <a:pt x="122" y="471"/>
                  </a:lnTo>
                  <a:lnTo>
                    <a:pt x="122" y="458"/>
                  </a:lnTo>
                  <a:lnTo>
                    <a:pt x="122" y="458"/>
                  </a:lnTo>
                  <a:lnTo>
                    <a:pt x="122" y="450"/>
                  </a:lnTo>
                  <a:lnTo>
                    <a:pt x="130" y="441"/>
                  </a:lnTo>
                  <a:lnTo>
                    <a:pt x="139" y="437"/>
                  </a:lnTo>
                  <a:lnTo>
                    <a:pt x="147" y="432"/>
                  </a:lnTo>
                  <a:lnTo>
                    <a:pt x="147" y="432"/>
                  </a:lnTo>
                  <a:lnTo>
                    <a:pt x="156" y="437"/>
                  </a:lnTo>
                  <a:lnTo>
                    <a:pt x="165" y="441"/>
                  </a:lnTo>
                  <a:lnTo>
                    <a:pt x="173" y="450"/>
                  </a:lnTo>
                  <a:lnTo>
                    <a:pt x="173" y="458"/>
                  </a:lnTo>
                  <a:lnTo>
                    <a:pt x="173" y="458"/>
                  </a:lnTo>
                  <a:lnTo>
                    <a:pt x="173" y="471"/>
                  </a:lnTo>
                  <a:lnTo>
                    <a:pt x="165" y="480"/>
                  </a:lnTo>
                  <a:lnTo>
                    <a:pt x="156" y="484"/>
                  </a:lnTo>
                  <a:lnTo>
                    <a:pt x="147" y="489"/>
                  </a:lnTo>
                  <a:lnTo>
                    <a:pt x="147" y="489"/>
                  </a:lnTo>
                  <a:close/>
                  <a:moveTo>
                    <a:pt x="147" y="419"/>
                  </a:moveTo>
                  <a:lnTo>
                    <a:pt x="147" y="419"/>
                  </a:lnTo>
                  <a:lnTo>
                    <a:pt x="139" y="419"/>
                  </a:lnTo>
                  <a:lnTo>
                    <a:pt x="130" y="415"/>
                  </a:lnTo>
                  <a:lnTo>
                    <a:pt x="122" y="406"/>
                  </a:lnTo>
                  <a:lnTo>
                    <a:pt x="122" y="393"/>
                  </a:lnTo>
                  <a:lnTo>
                    <a:pt x="122" y="393"/>
                  </a:lnTo>
                  <a:lnTo>
                    <a:pt x="122" y="385"/>
                  </a:lnTo>
                  <a:lnTo>
                    <a:pt x="130" y="376"/>
                  </a:lnTo>
                  <a:lnTo>
                    <a:pt x="139" y="367"/>
                  </a:lnTo>
                  <a:lnTo>
                    <a:pt x="147" y="367"/>
                  </a:lnTo>
                  <a:lnTo>
                    <a:pt x="147" y="367"/>
                  </a:lnTo>
                  <a:lnTo>
                    <a:pt x="156" y="367"/>
                  </a:lnTo>
                  <a:lnTo>
                    <a:pt x="165" y="376"/>
                  </a:lnTo>
                  <a:lnTo>
                    <a:pt x="173" y="385"/>
                  </a:lnTo>
                  <a:lnTo>
                    <a:pt x="173" y="393"/>
                  </a:lnTo>
                  <a:lnTo>
                    <a:pt x="173" y="393"/>
                  </a:lnTo>
                  <a:lnTo>
                    <a:pt x="173" y="406"/>
                  </a:lnTo>
                  <a:lnTo>
                    <a:pt x="165" y="415"/>
                  </a:lnTo>
                  <a:lnTo>
                    <a:pt x="156" y="419"/>
                  </a:lnTo>
                  <a:lnTo>
                    <a:pt x="147" y="419"/>
                  </a:lnTo>
                  <a:lnTo>
                    <a:pt x="147" y="419"/>
                  </a:lnTo>
                  <a:close/>
                  <a:moveTo>
                    <a:pt x="147" y="354"/>
                  </a:moveTo>
                  <a:lnTo>
                    <a:pt x="147" y="354"/>
                  </a:lnTo>
                  <a:lnTo>
                    <a:pt x="139" y="354"/>
                  </a:lnTo>
                  <a:lnTo>
                    <a:pt x="130" y="346"/>
                  </a:lnTo>
                  <a:lnTo>
                    <a:pt x="122" y="337"/>
                  </a:lnTo>
                  <a:lnTo>
                    <a:pt x="122" y="328"/>
                  </a:lnTo>
                  <a:lnTo>
                    <a:pt x="122" y="328"/>
                  </a:lnTo>
                  <a:lnTo>
                    <a:pt x="122" y="320"/>
                  </a:lnTo>
                  <a:lnTo>
                    <a:pt x="130" y="311"/>
                  </a:lnTo>
                  <a:lnTo>
                    <a:pt x="139" y="303"/>
                  </a:lnTo>
                  <a:lnTo>
                    <a:pt x="147" y="303"/>
                  </a:lnTo>
                  <a:lnTo>
                    <a:pt x="147" y="303"/>
                  </a:lnTo>
                  <a:lnTo>
                    <a:pt x="156" y="303"/>
                  </a:lnTo>
                  <a:lnTo>
                    <a:pt x="165" y="311"/>
                  </a:lnTo>
                  <a:lnTo>
                    <a:pt x="173" y="320"/>
                  </a:lnTo>
                  <a:lnTo>
                    <a:pt x="173" y="328"/>
                  </a:lnTo>
                  <a:lnTo>
                    <a:pt x="173" y="328"/>
                  </a:lnTo>
                  <a:lnTo>
                    <a:pt x="173" y="337"/>
                  </a:lnTo>
                  <a:lnTo>
                    <a:pt x="165" y="346"/>
                  </a:lnTo>
                  <a:lnTo>
                    <a:pt x="156" y="354"/>
                  </a:lnTo>
                  <a:lnTo>
                    <a:pt x="147" y="354"/>
                  </a:lnTo>
                  <a:lnTo>
                    <a:pt x="147" y="354"/>
                  </a:lnTo>
                  <a:close/>
                  <a:moveTo>
                    <a:pt x="221" y="489"/>
                  </a:moveTo>
                  <a:lnTo>
                    <a:pt x="221" y="489"/>
                  </a:lnTo>
                  <a:lnTo>
                    <a:pt x="208" y="484"/>
                  </a:lnTo>
                  <a:lnTo>
                    <a:pt x="199" y="480"/>
                  </a:lnTo>
                  <a:lnTo>
                    <a:pt x="195" y="471"/>
                  </a:lnTo>
                  <a:lnTo>
                    <a:pt x="191" y="458"/>
                  </a:lnTo>
                  <a:lnTo>
                    <a:pt x="191" y="458"/>
                  </a:lnTo>
                  <a:lnTo>
                    <a:pt x="195" y="450"/>
                  </a:lnTo>
                  <a:lnTo>
                    <a:pt x="199" y="441"/>
                  </a:lnTo>
                  <a:lnTo>
                    <a:pt x="208" y="437"/>
                  </a:lnTo>
                  <a:lnTo>
                    <a:pt x="221" y="432"/>
                  </a:lnTo>
                  <a:lnTo>
                    <a:pt x="221" y="432"/>
                  </a:lnTo>
                  <a:lnTo>
                    <a:pt x="230" y="437"/>
                  </a:lnTo>
                  <a:lnTo>
                    <a:pt x="238" y="441"/>
                  </a:lnTo>
                  <a:lnTo>
                    <a:pt x="247" y="450"/>
                  </a:lnTo>
                  <a:lnTo>
                    <a:pt x="247" y="458"/>
                  </a:lnTo>
                  <a:lnTo>
                    <a:pt x="247" y="458"/>
                  </a:lnTo>
                  <a:lnTo>
                    <a:pt x="247" y="471"/>
                  </a:lnTo>
                  <a:lnTo>
                    <a:pt x="238" y="480"/>
                  </a:lnTo>
                  <a:lnTo>
                    <a:pt x="230" y="484"/>
                  </a:lnTo>
                  <a:lnTo>
                    <a:pt x="221" y="489"/>
                  </a:lnTo>
                  <a:lnTo>
                    <a:pt x="221" y="489"/>
                  </a:lnTo>
                  <a:close/>
                  <a:moveTo>
                    <a:pt x="221" y="419"/>
                  </a:moveTo>
                  <a:lnTo>
                    <a:pt x="221" y="419"/>
                  </a:lnTo>
                  <a:lnTo>
                    <a:pt x="208" y="419"/>
                  </a:lnTo>
                  <a:lnTo>
                    <a:pt x="199" y="415"/>
                  </a:lnTo>
                  <a:lnTo>
                    <a:pt x="195" y="406"/>
                  </a:lnTo>
                  <a:lnTo>
                    <a:pt x="191" y="393"/>
                  </a:lnTo>
                  <a:lnTo>
                    <a:pt x="191" y="393"/>
                  </a:lnTo>
                  <a:lnTo>
                    <a:pt x="195" y="385"/>
                  </a:lnTo>
                  <a:lnTo>
                    <a:pt x="199" y="376"/>
                  </a:lnTo>
                  <a:lnTo>
                    <a:pt x="208" y="367"/>
                  </a:lnTo>
                  <a:lnTo>
                    <a:pt x="221" y="367"/>
                  </a:lnTo>
                  <a:lnTo>
                    <a:pt x="221" y="367"/>
                  </a:lnTo>
                  <a:lnTo>
                    <a:pt x="230" y="367"/>
                  </a:lnTo>
                  <a:lnTo>
                    <a:pt x="238" y="376"/>
                  </a:lnTo>
                  <a:lnTo>
                    <a:pt x="247" y="385"/>
                  </a:lnTo>
                  <a:lnTo>
                    <a:pt x="247" y="393"/>
                  </a:lnTo>
                  <a:lnTo>
                    <a:pt x="247" y="393"/>
                  </a:lnTo>
                  <a:lnTo>
                    <a:pt x="247" y="406"/>
                  </a:lnTo>
                  <a:lnTo>
                    <a:pt x="238" y="415"/>
                  </a:lnTo>
                  <a:lnTo>
                    <a:pt x="230" y="419"/>
                  </a:lnTo>
                  <a:lnTo>
                    <a:pt x="221" y="419"/>
                  </a:lnTo>
                  <a:lnTo>
                    <a:pt x="221" y="419"/>
                  </a:lnTo>
                  <a:close/>
                  <a:moveTo>
                    <a:pt x="221" y="354"/>
                  </a:moveTo>
                  <a:lnTo>
                    <a:pt x="221" y="354"/>
                  </a:lnTo>
                  <a:lnTo>
                    <a:pt x="208" y="354"/>
                  </a:lnTo>
                  <a:lnTo>
                    <a:pt x="199" y="346"/>
                  </a:lnTo>
                  <a:lnTo>
                    <a:pt x="195" y="337"/>
                  </a:lnTo>
                  <a:lnTo>
                    <a:pt x="191" y="328"/>
                  </a:lnTo>
                  <a:lnTo>
                    <a:pt x="191" y="328"/>
                  </a:lnTo>
                  <a:lnTo>
                    <a:pt x="195" y="320"/>
                  </a:lnTo>
                  <a:lnTo>
                    <a:pt x="199" y="311"/>
                  </a:lnTo>
                  <a:lnTo>
                    <a:pt x="208" y="303"/>
                  </a:lnTo>
                  <a:lnTo>
                    <a:pt x="221" y="303"/>
                  </a:lnTo>
                  <a:lnTo>
                    <a:pt x="221" y="303"/>
                  </a:lnTo>
                  <a:lnTo>
                    <a:pt x="230" y="303"/>
                  </a:lnTo>
                  <a:lnTo>
                    <a:pt x="238" y="311"/>
                  </a:lnTo>
                  <a:lnTo>
                    <a:pt x="247" y="320"/>
                  </a:lnTo>
                  <a:lnTo>
                    <a:pt x="247" y="328"/>
                  </a:lnTo>
                  <a:lnTo>
                    <a:pt x="247" y="328"/>
                  </a:lnTo>
                  <a:lnTo>
                    <a:pt x="247" y="337"/>
                  </a:lnTo>
                  <a:lnTo>
                    <a:pt x="238" y="346"/>
                  </a:lnTo>
                  <a:lnTo>
                    <a:pt x="230" y="354"/>
                  </a:lnTo>
                  <a:lnTo>
                    <a:pt x="221" y="354"/>
                  </a:lnTo>
                  <a:lnTo>
                    <a:pt x="221" y="354"/>
                  </a:lnTo>
                  <a:close/>
                  <a:moveTo>
                    <a:pt x="251" y="199"/>
                  </a:moveTo>
                  <a:lnTo>
                    <a:pt x="251" y="199"/>
                  </a:lnTo>
                  <a:lnTo>
                    <a:pt x="247" y="220"/>
                  </a:lnTo>
                  <a:lnTo>
                    <a:pt x="234" y="242"/>
                  </a:lnTo>
                  <a:lnTo>
                    <a:pt x="212" y="255"/>
                  </a:lnTo>
                  <a:lnTo>
                    <a:pt x="191" y="259"/>
                  </a:lnTo>
                  <a:lnTo>
                    <a:pt x="104" y="259"/>
                  </a:lnTo>
                  <a:lnTo>
                    <a:pt x="104" y="259"/>
                  </a:lnTo>
                  <a:lnTo>
                    <a:pt x="83" y="255"/>
                  </a:lnTo>
                  <a:lnTo>
                    <a:pt x="61" y="242"/>
                  </a:lnTo>
                  <a:lnTo>
                    <a:pt x="48" y="220"/>
                  </a:lnTo>
                  <a:lnTo>
                    <a:pt x="44" y="199"/>
                  </a:lnTo>
                  <a:lnTo>
                    <a:pt x="44" y="138"/>
                  </a:lnTo>
                  <a:lnTo>
                    <a:pt x="44" y="138"/>
                  </a:lnTo>
                  <a:lnTo>
                    <a:pt x="48" y="112"/>
                  </a:lnTo>
                  <a:lnTo>
                    <a:pt x="61" y="95"/>
                  </a:lnTo>
                  <a:lnTo>
                    <a:pt x="83" y="82"/>
                  </a:lnTo>
                  <a:lnTo>
                    <a:pt x="104" y="73"/>
                  </a:lnTo>
                  <a:lnTo>
                    <a:pt x="191" y="73"/>
                  </a:lnTo>
                  <a:lnTo>
                    <a:pt x="191" y="73"/>
                  </a:lnTo>
                  <a:lnTo>
                    <a:pt x="212" y="82"/>
                  </a:lnTo>
                  <a:lnTo>
                    <a:pt x="234" y="95"/>
                  </a:lnTo>
                  <a:lnTo>
                    <a:pt x="247" y="112"/>
                  </a:lnTo>
                  <a:lnTo>
                    <a:pt x="251" y="138"/>
                  </a:lnTo>
                  <a:lnTo>
                    <a:pt x="251" y="199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6" name="Freeform 12"/>
            <p:cNvSpPr>
              <a:spLocks/>
            </p:cNvSpPr>
            <p:nvPr/>
          </p:nvSpPr>
          <p:spPr bwMode="auto">
            <a:xfrm>
              <a:off x="7490216" y="1910679"/>
              <a:ext cx="102386" cy="129267"/>
            </a:xfrm>
            <a:custGeom>
              <a:avLst/>
              <a:gdLst/>
              <a:ahLst/>
              <a:cxnLst>
                <a:cxn ang="0">
                  <a:pos x="169" y="0"/>
                </a:cxn>
                <a:cxn ang="0">
                  <a:pos x="169" y="0"/>
                </a:cxn>
                <a:cxn ang="0">
                  <a:pos x="134" y="5"/>
                </a:cxn>
                <a:cxn ang="0">
                  <a:pos x="104" y="13"/>
                </a:cxn>
                <a:cxn ang="0">
                  <a:pos x="78" y="26"/>
                </a:cxn>
                <a:cxn ang="0">
                  <a:pos x="56" y="48"/>
                </a:cxn>
                <a:cxn ang="0">
                  <a:pos x="56" y="48"/>
                </a:cxn>
                <a:cxn ang="0">
                  <a:pos x="35" y="74"/>
                </a:cxn>
                <a:cxn ang="0">
                  <a:pos x="18" y="104"/>
                </a:cxn>
                <a:cxn ang="0">
                  <a:pos x="5" y="139"/>
                </a:cxn>
                <a:cxn ang="0">
                  <a:pos x="0" y="178"/>
                </a:cxn>
                <a:cxn ang="0">
                  <a:pos x="0" y="178"/>
                </a:cxn>
                <a:cxn ang="0">
                  <a:pos x="5" y="182"/>
                </a:cxn>
                <a:cxn ang="0">
                  <a:pos x="13" y="186"/>
                </a:cxn>
                <a:cxn ang="0">
                  <a:pos x="13" y="186"/>
                </a:cxn>
                <a:cxn ang="0">
                  <a:pos x="18" y="182"/>
                </a:cxn>
                <a:cxn ang="0">
                  <a:pos x="22" y="178"/>
                </a:cxn>
                <a:cxn ang="0">
                  <a:pos x="22" y="178"/>
                </a:cxn>
                <a:cxn ang="0">
                  <a:pos x="22" y="143"/>
                </a:cxn>
                <a:cxn ang="0">
                  <a:pos x="35" y="113"/>
                </a:cxn>
                <a:cxn ang="0">
                  <a:pos x="48" y="87"/>
                </a:cxn>
                <a:cxn ang="0">
                  <a:pos x="69" y="61"/>
                </a:cxn>
                <a:cxn ang="0">
                  <a:pos x="69" y="61"/>
                </a:cxn>
                <a:cxn ang="0">
                  <a:pos x="87" y="44"/>
                </a:cxn>
                <a:cxn ang="0">
                  <a:pos x="113" y="31"/>
                </a:cxn>
                <a:cxn ang="0">
                  <a:pos x="139" y="22"/>
                </a:cxn>
                <a:cxn ang="0">
                  <a:pos x="169" y="18"/>
                </a:cxn>
                <a:cxn ang="0">
                  <a:pos x="169" y="18"/>
                </a:cxn>
                <a:cxn ang="0">
                  <a:pos x="173" y="18"/>
                </a:cxn>
                <a:cxn ang="0">
                  <a:pos x="178" y="9"/>
                </a:cxn>
                <a:cxn ang="0">
                  <a:pos x="178" y="9"/>
                </a:cxn>
                <a:cxn ang="0">
                  <a:pos x="173" y="5"/>
                </a:cxn>
                <a:cxn ang="0">
                  <a:pos x="169" y="0"/>
                </a:cxn>
                <a:cxn ang="0">
                  <a:pos x="169" y="0"/>
                </a:cxn>
              </a:cxnLst>
              <a:rect l="0" t="0" r="r" b="b"/>
              <a:pathLst>
                <a:path w="178" h="186">
                  <a:moveTo>
                    <a:pt x="169" y="0"/>
                  </a:moveTo>
                  <a:lnTo>
                    <a:pt x="169" y="0"/>
                  </a:lnTo>
                  <a:lnTo>
                    <a:pt x="134" y="5"/>
                  </a:lnTo>
                  <a:lnTo>
                    <a:pt x="104" y="13"/>
                  </a:lnTo>
                  <a:lnTo>
                    <a:pt x="78" y="26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35" y="74"/>
                  </a:lnTo>
                  <a:lnTo>
                    <a:pt x="18" y="104"/>
                  </a:lnTo>
                  <a:lnTo>
                    <a:pt x="5" y="139"/>
                  </a:lnTo>
                  <a:lnTo>
                    <a:pt x="0" y="178"/>
                  </a:lnTo>
                  <a:lnTo>
                    <a:pt x="0" y="178"/>
                  </a:lnTo>
                  <a:lnTo>
                    <a:pt x="5" y="182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8" y="182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2" y="143"/>
                  </a:lnTo>
                  <a:lnTo>
                    <a:pt x="35" y="113"/>
                  </a:lnTo>
                  <a:lnTo>
                    <a:pt x="48" y="87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87" y="44"/>
                  </a:lnTo>
                  <a:lnTo>
                    <a:pt x="113" y="31"/>
                  </a:lnTo>
                  <a:lnTo>
                    <a:pt x="139" y="22"/>
                  </a:lnTo>
                  <a:lnTo>
                    <a:pt x="169" y="18"/>
                  </a:lnTo>
                  <a:lnTo>
                    <a:pt x="169" y="18"/>
                  </a:lnTo>
                  <a:lnTo>
                    <a:pt x="173" y="18"/>
                  </a:lnTo>
                  <a:lnTo>
                    <a:pt x="178" y="9"/>
                  </a:lnTo>
                  <a:lnTo>
                    <a:pt x="178" y="9"/>
                  </a:lnTo>
                  <a:lnTo>
                    <a:pt x="173" y="5"/>
                  </a:lnTo>
                  <a:lnTo>
                    <a:pt x="169" y="0"/>
                  </a:lnTo>
                  <a:lnTo>
                    <a:pt x="169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7" name="Freeform 13"/>
            <p:cNvSpPr>
              <a:spLocks/>
            </p:cNvSpPr>
            <p:nvPr/>
          </p:nvSpPr>
          <p:spPr bwMode="auto">
            <a:xfrm>
              <a:off x="7517826" y="1944038"/>
              <a:ext cx="86856" cy="111198"/>
            </a:xfrm>
            <a:custGeom>
              <a:avLst/>
              <a:gdLst/>
              <a:ahLst/>
              <a:cxnLst>
                <a:cxn ang="0">
                  <a:pos x="143" y="0"/>
                </a:cxn>
                <a:cxn ang="0">
                  <a:pos x="143" y="0"/>
                </a:cxn>
                <a:cxn ang="0">
                  <a:pos x="117" y="0"/>
                </a:cxn>
                <a:cxn ang="0">
                  <a:pos x="91" y="9"/>
                </a:cxn>
                <a:cxn ang="0">
                  <a:pos x="65" y="22"/>
                </a:cxn>
                <a:cxn ang="0">
                  <a:pos x="43" y="39"/>
                </a:cxn>
                <a:cxn ang="0">
                  <a:pos x="43" y="39"/>
                </a:cxn>
                <a:cxn ang="0">
                  <a:pos x="26" y="65"/>
                </a:cxn>
                <a:cxn ang="0">
                  <a:pos x="13" y="91"/>
                </a:cxn>
                <a:cxn ang="0">
                  <a:pos x="4" y="121"/>
                </a:cxn>
                <a:cxn ang="0">
                  <a:pos x="0" y="151"/>
                </a:cxn>
                <a:cxn ang="0">
                  <a:pos x="0" y="151"/>
                </a:cxn>
                <a:cxn ang="0">
                  <a:pos x="4" y="160"/>
                </a:cxn>
                <a:cxn ang="0">
                  <a:pos x="8" y="160"/>
                </a:cxn>
                <a:cxn ang="0">
                  <a:pos x="8" y="160"/>
                </a:cxn>
                <a:cxn ang="0">
                  <a:pos x="17" y="160"/>
                </a:cxn>
                <a:cxn ang="0">
                  <a:pos x="17" y="151"/>
                </a:cxn>
                <a:cxn ang="0">
                  <a:pos x="17" y="151"/>
                </a:cxn>
                <a:cxn ang="0">
                  <a:pos x="21" y="121"/>
                </a:cxn>
                <a:cxn ang="0">
                  <a:pos x="30" y="95"/>
                </a:cxn>
                <a:cxn ang="0">
                  <a:pos x="43" y="74"/>
                </a:cxn>
                <a:cxn ang="0">
                  <a:pos x="56" y="52"/>
                </a:cxn>
                <a:cxn ang="0">
                  <a:pos x="56" y="52"/>
                </a:cxn>
                <a:cxn ang="0">
                  <a:pos x="78" y="39"/>
                </a:cxn>
                <a:cxn ang="0">
                  <a:pos x="95" y="26"/>
                </a:cxn>
                <a:cxn ang="0">
                  <a:pos x="117" y="22"/>
                </a:cxn>
                <a:cxn ang="0">
                  <a:pos x="143" y="17"/>
                </a:cxn>
                <a:cxn ang="0">
                  <a:pos x="143" y="17"/>
                </a:cxn>
                <a:cxn ang="0">
                  <a:pos x="151" y="13"/>
                </a:cxn>
                <a:cxn ang="0">
                  <a:pos x="151" y="9"/>
                </a:cxn>
                <a:cxn ang="0">
                  <a:pos x="151" y="9"/>
                </a:cxn>
                <a:cxn ang="0">
                  <a:pos x="151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51" h="160">
                  <a:moveTo>
                    <a:pt x="143" y="0"/>
                  </a:moveTo>
                  <a:lnTo>
                    <a:pt x="143" y="0"/>
                  </a:lnTo>
                  <a:lnTo>
                    <a:pt x="117" y="0"/>
                  </a:lnTo>
                  <a:lnTo>
                    <a:pt x="91" y="9"/>
                  </a:lnTo>
                  <a:lnTo>
                    <a:pt x="65" y="22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26" y="65"/>
                  </a:lnTo>
                  <a:lnTo>
                    <a:pt x="13" y="91"/>
                  </a:lnTo>
                  <a:lnTo>
                    <a:pt x="4" y="12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7" y="160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21" y="121"/>
                  </a:lnTo>
                  <a:lnTo>
                    <a:pt x="30" y="95"/>
                  </a:lnTo>
                  <a:lnTo>
                    <a:pt x="43" y="74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78" y="39"/>
                  </a:lnTo>
                  <a:lnTo>
                    <a:pt x="95" y="26"/>
                  </a:lnTo>
                  <a:lnTo>
                    <a:pt x="117" y="22"/>
                  </a:lnTo>
                  <a:lnTo>
                    <a:pt x="143" y="17"/>
                  </a:lnTo>
                  <a:lnTo>
                    <a:pt x="143" y="17"/>
                  </a:lnTo>
                  <a:lnTo>
                    <a:pt x="151" y="13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0"/>
                  </a:lnTo>
                  <a:lnTo>
                    <a:pt x="143" y="0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8" name="Freeform 14"/>
            <p:cNvSpPr>
              <a:spLocks/>
            </p:cNvSpPr>
            <p:nvPr/>
          </p:nvSpPr>
          <p:spPr bwMode="auto">
            <a:xfrm>
              <a:off x="7544861" y="1973923"/>
              <a:ext cx="74777" cy="96603"/>
            </a:xfrm>
            <a:custGeom>
              <a:avLst/>
              <a:gdLst/>
              <a:ahLst/>
              <a:cxnLst>
                <a:cxn ang="0">
                  <a:pos x="117" y="0"/>
                </a:cxn>
                <a:cxn ang="0">
                  <a:pos x="117" y="0"/>
                </a:cxn>
                <a:cxn ang="0">
                  <a:pos x="96" y="5"/>
                </a:cxn>
                <a:cxn ang="0">
                  <a:pos x="74" y="13"/>
                </a:cxn>
                <a:cxn ang="0">
                  <a:pos x="52" y="22"/>
                </a:cxn>
                <a:cxn ang="0">
                  <a:pos x="35" y="39"/>
                </a:cxn>
                <a:cxn ang="0">
                  <a:pos x="35" y="39"/>
                </a:cxn>
                <a:cxn ang="0">
                  <a:pos x="22" y="56"/>
                </a:cxn>
                <a:cxn ang="0">
                  <a:pos x="9" y="78"/>
                </a:cxn>
                <a:cxn ang="0">
                  <a:pos x="0" y="104"/>
                </a:cxn>
                <a:cxn ang="0">
                  <a:pos x="0" y="130"/>
                </a:cxn>
                <a:cxn ang="0">
                  <a:pos x="0" y="130"/>
                </a:cxn>
                <a:cxn ang="0">
                  <a:pos x="0" y="139"/>
                </a:cxn>
                <a:cxn ang="0">
                  <a:pos x="9" y="139"/>
                </a:cxn>
                <a:cxn ang="0">
                  <a:pos x="9" y="139"/>
                </a:cxn>
                <a:cxn ang="0">
                  <a:pos x="13" y="139"/>
                </a:cxn>
                <a:cxn ang="0">
                  <a:pos x="18" y="130"/>
                </a:cxn>
                <a:cxn ang="0">
                  <a:pos x="18" y="130"/>
                </a:cxn>
                <a:cxn ang="0">
                  <a:pos x="18" y="108"/>
                </a:cxn>
                <a:cxn ang="0">
                  <a:pos x="26" y="87"/>
                </a:cxn>
                <a:cxn ang="0">
                  <a:pos x="35" y="65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65" y="39"/>
                </a:cxn>
                <a:cxn ang="0">
                  <a:pos x="83" y="31"/>
                </a:cxn>
                <a:cxn ang="0">
                  <a:pos x="100" y="22"/>
                </a:cxn>
                <a:cxn ang="0">
                  <a:pos x="117" y="22"/>
                </a:cxn>
                <a:cxn ang="0">
                  <a:pos x="117" y="22"/>
                </a:cxn>
                <a:cxn ang="0">
                  <a:pos x="126" y="18"/>
                </a:cxn>
                <a:cxn ang="0">
                  <a:pos x="130" y="13"/>
                </a:cxn>
                <a:cxn ang="0">
                  <a:pos x="130" y="13"/>
                </a:cxn>
                <a:cxn ang="0">
                  <a:pos x="126" y="5"/>
                </a:cxn>
                <a:cxn ang="0">
                  <a:pos x="117" y="0"/>
                </a:cxn>
                <a:cxn ang="0">
                  <a:pos x="117" y="0"/>
                </a:cxn>
              </a:cxnLst>
              <a:rect l="0" t="0" r="r" b="b"/>
              <a:pathLst>
                <a:path w="130" h="139">
                  <a:moveTo>
                    <a:pt x="117" y="0"/>
                  </a:moveTo>
                  <a:lnTo>
                    <a:pt x="117" y="0"/>
                  </a:lnTo>
                  <a:lnTo>
                    <a:pt x="96" y="5"/>
                  </a:lnTo>
                  <a:lnTo>
                    <a:pt x="74" y="13"/>
                  </a:lnTo>
                  <a:lnTo>
                    <a:pt x="52" y="22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22" y="56"/>
                  </a:lnTo>
                  <a:lnTo>
                    <a:pt x="9" y="78"/>
                  </a:lnTo>
                  <a:lnTo>
                    <a:pt x="0" y="104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3" y="139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08"/>
                  </a:lnTo>
                  <a:lnTo>
                    <a:pt x="26" y="87"/>
                  </a:lnTo>
                  <a:lnTo>
                    <a:pt x="35" y="65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65" y="39"/>
                  </a:lnTo>
                  <a:lnTo>
                    <a:pt x="83" y="31"/>
                  </a:lnTo>
                  <a:lnTo>
                    <a:pt x="100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26" y="18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26" y="5"/>
                  </a:lnTo>
                  <a:lnTo>
                    <a:pt x="117" y="0"/>
                  </a:lnTo>
                  <a:lnTo>
                    <a:pt x="117" y="0"/>
                  </a:lnTo>
                  <a:close/>
                </a:path>
              </a:pathLst>
            </a:custGeom>
            <a:solidFill>
              <a:srgbClr val="000000">
                <a:lumMod val="50000"/>
                <a:lumOff val="50000"/>
              </a:srgb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2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93" name="矩形 92"/>
          <p:cNvSpPr/>
          <p:nvPr/>
        </p:nvSpPr>
        <p:spPr>
          <a:xfrm>
            <a:off x="755576" y="4582532"/>
            <a:ext cx="1997724" cy="261610"/>
          </a:xfrm>
          <a:prstGeom prst="rect">
            <a:avLst/>
          </a:prstGeom>
          <a:solidFill>
            <a:srgbClr val="C00000"/>
          </a:solidFill>
        </p:spPr>
        <p:txBody>
          <a:bodyPr wrap="square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②</a:t>
            </a:r>
            <a:r>
              <a:rPr kumimoji="0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Intelligent</a:t>
            </a:r>
            <a:r>
              <a:rPr kumimoji="0" lang="en-US" altLang="zh-CN" sz="11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  SenseAlert</a:t>
            </a:r>
            <a:endParaRPr kumimoji="0" lang="zh-CN" altLang="en-US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96" name="图片 95" descr="u=3578089508,3254339624&amp;fm=23&amp;gp=0.jpg"/>
          <p:cNvPicPr>
            <a:picLocks/>
          </p:cNvPicPr>
          <p:nvPr/>
        </p:nvPicPr>
        <p:blipFill>
          <a:blip r:embed="rId12" cstate="screen"/>
          <a:stretch>
            <a:fillRect/>
          </a:stretch>
        </p:blipFill>
        <p:spPr>
          <a:xfrm>
            <a:off x="4490948" y="1297678"/>
            <a:ext cx="262704" cy="1648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9" name="Rectangle 267"/>
          <p:cNvSpPr>
            <a:spLocks noChangeArrowheads="1"/>
          </p:cNvSpPr>
          <p:nvPr/>
        </p:nvSpPr>
        <p:spPr bwMode="auto">
          <a:xfrm>
            <a:off x="563192" y="1108852"/>
            <a:ext cx="1704552" cy="243014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lvl="0" algn="ctr" defTabSz="914400">
              <a:defRPr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/>
                <a:cs typeface="Arial" pitchFamily="34" charset="0"/>
              </a:rPr>
              <a:t>⑥</a:t>
            </a:r>
            <a:r>
              <a:rPr lang="en-US" altLang="zh-CN" sz="11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Secure </a:t>
            </a:r>
            <a:r>
              <a:rPr lang="en-US" altLang="zh-CN" sz="1100" b="1" kern="0" dirty="0" err="1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CloudCenter</a:t>
            </a:r>
            <a:endParaRPr kumimoji="0" lang="en-US" altLang="zh-CN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0" name="Rectangle 267"/>
          <p:cNvSpPr>
            <a:spLocks noChangeArrowheads="1"/>
          </p:cNvSpPr>
          <p:nvPr/>
        </p:nvSpPr>
        <p:spPr bwMode="auto">
          <a:xfrm>
            <a:off x="4530052" y="699542"/>
            <a:ext cx="2467059" cy="243014"/>
          </a:xfrm>
          <a:prstGeom prst="rect">
            <a:avLst/>
          </a:prstGeom>
          <a:solidFill>
            <a:srgbClr val="C00000"/>
          </a:solidFill>
          <a:ln w="9525" algn="ctr">
            <a:noFill/>
            <a:miter lim="800000"/>
            <a:headEnd/>
            <a:tailEnd/>
          </a:ln>
        </p:spPr>
        <p:txBody>
          <a:bodyPr wrap="square" lIns="73025" tIns="36512" rIns="73025" bIns="36512">
            <a:spAutoFit/>
          </a:bodyPr>
          <a:lstStyle/>
          <a:p>
            <a:pPr lvl="0" algn="ctr" defTabSz="914400">
              <a:defRPr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①</a:t>
            </a:r>
            <a:r>
              <a:rPr kumimoji="0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Convergent</a:t>
            </a:r>
            <a:r>
              <a:rPr kumimoji="0" lang="en-US" altLang="zh-CN" sz="11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 Command Center</a:t>
            </a:r>
            <a:endParaRPr kumimoji="0" lang="en-US" altLang="zh-CN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101" name="Freeform 72"/>
          <p:cNvSpPr>
            <a:spLocks/>
          </p:cNvSpPr>
          <p:nvPr/>
        </p:nvSpPr>
        <p:spPr bwMode="auto">
          <a:xfrm rot="4855565">
            <a:off x="5235101" y="2710346"/>
            <a:ext cx="239332" cy="696961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B2B2B2">
              <a:lumMod val="75000"/>
            </a:srgbClr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cxnSp>
        <p:nvCxnSpPr>
          <p:cNvPr id="103" name="直接连接符 102"/>
          <p:cNvCxnSpPr/>
          <p:nvPr/>
        </p:nvCxnSpPr>
        <p:spPr bwMode="auto">
          <a:xfrm flipV="1">
            <a:off x="2969324" y="2439910"/>
            <a:ext cx="1855437" cy="8109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直接连接符 103"/>
          <p:cNvCxnSpPr/>
          <p:nvPr/>
        </p:nvCxnSpPr>
        <p:spPr bwMode="auto">
          <a:xfrm flipV="1">
            <a:off x="4822969" y="1984085"/>
            <a:ext cx="16274" cy="459856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" name="Freeform 27"/>
          <p:cNvSpPr>
            <a:spLocks noEditPoints="1"/>
          </p:cNvSpPr>
          <p:nvPr/>
        </p:nvSpPr>
        <p:spPr bwMode="auto">
          <a:xfrm>
            <a:off x="1519165" y="1380488"/>
            <a:ext cx="885803" cy="403173"/>
          </a:xfrm>
          <a:custGeom>
            <a:avLst/>
            <a:gdLst/>
            <a:ahLst/>
            <a:cxnLst>
              <a:cxn ang="0">
                <a:pos x="8324" y="38"/>
              </a:cxn>
              <a:cxn ang="0">
                <a:pos x="9087" y="203"/>
              </a:cxn>
              <a:cxn ang="0">
                <a:pos x="9799" y="487"/>
              </a:cxn>
              <a:cxn ang="0">
                <a:pos x="10451" y="880"/>
              </a:cxn>
              <a:cxn ang="0">
                <a:pos x="11031" y="1370"/>
              </a:cxn>
              <a:cxn ang="0">
                <a:pos x="11529" y="1947"/>
              </a:cxn>
              <a:cxn ang="0">
                <a:pos x="11934" y="2598"/>
              </a:cxn>
              <a:cxn ang="0">
                <a:pos x="12234" y="3314"/>
              </a:cxn>
              <a:cxn ang="0">
                <a:pos x="12378" y="3497"/>
              </a:cxn>
              <a:cxn ang="0">
                <a:pos x="12496" y="3494"/>
              </a:cxn>
              <a:cxn ang="0">
                <a:pos x="13119" y="3540"/>
              </a:cxn>
              <a:cxn ang="0">
                <a:pos x="13870" y="3738"/>
              </a:cxn>
              <a:cxn ang="0">
                <a:pos x="14554" y="4074"/>
              </a:cxn>
              <a:cxn ang="0">
                <a:pos x="15156" y="4535"/>
              </a:cxn>
              <a:cxn ang="0">
                <a:pos x="15663" y="5102"/>
              </a:cxn>
              <a:cxn ang="0">
                <a:pos x="16056" y="5761"/>
              </a:cxn>
              <a:cxn ang="0">
                <a:pos x="16320" y="6494"/>
              </a:cxn>
              <a:cxn ang="0">
                <a:pos x="16438" y="7286"/>
              </a:cxn>
              <a:cxn ang="0">
                <a:pos x="16401" y="8075"/>
              </a:cxn>
              <a:cxn ang="0">
                <a:pos x="16222" y="8813"/>
              </a:cxn>
              <a:cxn ang="0">
                <a:pos x="15915" y="9491"/>
              </a:cxn>
              <a:cxn ang="0">
                <a:pos x="15494" y="10093"/>
              </a:cxn>
              <a:cxn ang="0">
                <a:pos x="14974" y="10606"/>
              </a:cxn>
              <a:cxn ang="0">
                <a:pos x="14369" y="11014"/>
              </a:cxn>
              <a:cxn ang="0">
                <a:pos x="13693" y="11305"/>
              </a:cxn>
              <a:cxn ang="0">
                <a:pos x="12960" y="11462"/>
              </a:cxn>
              <a:cxn ang="0">
                <a:pos x="3341" y="11487"/>
              </a:cxn>
              <a:cxn ang="0">
                <a:pos x="2760" y="11436"/>
              </a:cxn>
              <a:cxn ang="0">
                <a:pos x="2156" y="11265"/>
              </a:cxn>
              <a:cxn ang="0">
                <a:pos x="1603" y="10987"/>
              </a:cxn>
              <a:cxn ang="0">
                <a:pos x="1113" y="10615"/>
              </a:cxn>
              <a:cxn ang="0">
                <a:pos x="697" y="10159"/>
              </a:cxn>
              <a:cxn ang="0">
                <a:pos x="368" y="9631"/>
              </a:cxn>
              <a:cxn ang="0">
                <a:pos x="137" y="9044"/>
              </a:cxn>
              <a:cxn ang="0">
                <a:pos x="15" y="8410"/>
              </a:cxn>
              <a:cxn ang="0">
                <a:pos x="15" y="7754"/>
              </a:cxn>
              <a:cxn ang="0">
                <a:pos x="132" y="7132"/>
              </a:cxn>
              <a:cxn ang="0">
                <a:pos x="354" y="6556"/>
              </a:cxn>
              <a:cxn ang="0">
                <a:pos x="671" y="6034"/>
              </a:cxn>
              <a:cxn ang="0">
                <a:pos x="1072" y="5582"/>
              </a:cxn>
              <a:cxn ang="0">
                <a:pos x="1546" y="5208"/>
              </a:cxn>
              <a:cxn ang="0">
                <a:pos x="2082" y="4924"/>
              </a:cxn>
              <a:cxn ang="0">
                <a:pos x="2668" y="4741"/>
              </a:cxn>
              <a:cxn ang="0">
                <a:pos x="3015" y="4212"/>
              </a:cxn>
              <a:cxn ang="0">
                <a:pos x="3225" y="3295"/>
              </a:cxn>
              <a:cxn ang="0">
                <a:pos x="3597" y="2453"/>
              </a:cxn>
              <a:cxn ang="0">
                <a:pos x="4113" y="1704"/>
              </a:cxn>
              <a:cxn ang="0">
                <a:pos x="4754" y="1069"/>
              </a:cxn>
              <a:cxn ang="0">
                <a:pos x="5503" y="565"/>
              </a:cxn>
              <a:cxn ang="0">
                <a:pos x="6342" y="211"/>
              </a:cxn>
              <a:cxn ang="0">
                <a:pos x="7250" y="25"/>
              </a:cxn>
              <a:cxn ang="0">
                <a:pos x="9148" y="9515"/>
              </a:cxn>
              <a:cxn ang="0">
                <a:pos x="9106" y="9484"/>
              </a:cxn>
              <a:cxn ang="0">
                <a:pos x="9023" y="9509"/>
              </a:cxn>
              <a:cxn ang="0">
                <a:pos x="9156" y="9528"/>
              </a:cxn>
              <a:cxn ang="0">
                <a:pos x="6408" y="9503"/>
              </a:cxn>
              <a:cxn ang="0">
                <a:pos x="6368" y="9519"/>
              </a:cxn>
            </a:cxnLst>
            <a:rect l="0" t="0" r="r" b="b"/>
            <a:pathLst>
              <a:path w="16443" h="11487">
                <a:moveTo>
                  <a:pt x="7726" y="0"/>
                </a:moveTo>
                <a:lnTo>
                  <a:pt x="7928" y="4"/>
                </a:lnTo>
                <a:lnTo>
                  <a:pt x="8127" y="17"/>
                </a:lnTo>
                <a:lnTo>
                  <a:pt x="8324" y="38"/>
                </a:lnTo>
                <a:lnTo>
                  <a:pt x="8519" y="68"/>
                </a:lnTo>
                <a:lnTo>
                  <a:pt x="8711" y="105"/>
                </a:lnTo>
                <a:lnTo>
                  <a:pt x="8900" y="150"/>
                </a:lnTo>
                <a:lnTo>
                  <a:pt x="9087" y="203"/>
                </a:lnTo>
                <a:lnTo>
                  <a:pt x="9270" y="263"/>
                </a:lnTo>
                <a:lnTo>
                  <a:pt x="9450" y="331"/>
                </a:lnTo>
                <a:lnTo>
                  <a:pt x="9626" y="406"/>
                </a:lnTo>
                <a:lnTo>
                  <a:pt x="9799" y="487"/>
                </a:lnTo>
                <a:lnTo>
                  <a:pt x="9969" y="576"/>
                </a:lnTo>
                <a:lnTo>
                  <a:pt x="10133" y="670"/>
                </a:lnTo>
                <a:lnTo>
                  <a:pt x="10294" y="772"/>
                </a:lnTo>
                <a:lnTo>
                  <a:pt x="10451" y="880"/>
                </a:lnTo>
                <a:lnTo>
                  <a:pt x="10604" y="994"/>
                </a:lnTo>
                <a:lnTo>
                  <a:pt x="10751" y="1113"/>
                </a:lnTo>
                <a:lnTo>
                  <a:pt x="10893" y="1239"/>
                </a:lnTo>
                <a:lnTo>
                  <a:pt x="11031" y="1370"/>
                </a:lnTo>
                <a:lnTo>
                  <a:pt x="11164" y="1507"/>
                </a:lnTo>
                <a:lnTo>
                  <a:pt x="11291" y="1648"/>
                </a:lnTo>
                <a:lnTo>
                  <a:pt x="11412" y="1795"/>
                </a:lnTo>
                <a:lnTo>
                  <a:pt x="11529" y="1947"/>
                </a:lnTo>
                <a:lnTo>
                  <a:pt x="11640" y="2102"/>
                </a:lnTo>
                <a:lnTo>
                  <a:pt x="11743" y="2264"/>
                </a:lnTo>
                <a:lnTo>
                  <a:pt x="11842" y="2429"/>
                </a:lnTo>
                <a:lnTo>
                  <a:pt x="11934" y="2598"/>
                </a:lnTo>
                <a:lnTo>
                  <a:pt x="12019" y="2772"/>
                </a:lnTo>
                <a:lnTo>
                  <a:pt x="12097" y="2948"/>
                </a:lnTo>
                <a:lnTo>
                  <a:pt x="12169" y="3129"/>
                </a:lnTo>
                <a:lnTo>
                  <a:pt x="12234" y="3314"/>
                </a:lnTo>
                <a:lnTo>
                  <a:pt x="12291" y="3501"/>
                </a:lnTo>
                <a:lnTo>
                  <a:pt x="12320" y="3499"/>
                </a:lnTo>
                <a:lnTo>
                  <a:pt x="12349" y="3498"/>
                </a:lnTo>
                <a:lnTo>
                  <a:pt x="12378" y="3497"/>
                </a:lnTo>
                <a:lnTo>
                  <a:pt x="12407" y="3496"/>
                </a:lnTo>
                <a:lnTo>
                  <a:pt x="12437" y="3495"/>
                </a:lnTo>
                <a:lnTo>
                  <a:pt x="12466" y="3494"/>
                </a:lnTo>
                <a:lnTo>
                  <a:pt x="12496" y="3494"/>
                </a:lnTo>
                <a:lnTo>
                  <a:pt x="12524" y="3494"/>
                </a:lnTo>
                <a:lnTo>
                  <a:pt x="12726" y="3499"/>
                </a:lnTo>
                <a:lnTo>
                  <a:pt x="12924" y="3515"/>
                </a:lnTo>
                <a:lnTo>
                  <a:pt x="13119" y="3540"/>
                </a:lnTo>
                <a:lnTo>
                  <a:pt x="13313" y="3575"/>
                </a:lnTo>
                <a:lnTo>
                  <a:pt x="13502" y="3621"/>
                </a:lnTo>
                <a:lnTo>
                  <a:pt x="13688" y="3674"/>
                </a:lnTo>
                <a:lnTo>
                  <a:pt x="13870" y="3738"/>
                </a:lnTo>
                <a:lnTo>
                  <a:pt x="14047" y="3809"/>
                </a:lnTo>
                <a:lnTo>
                  <a:pt x="14221" y="3889"/>
                </a:lnTo>
                <a:lnTo>
                  <a:pt x="14390" y="3977"/>
                </a:lnTo>
                <a:lnTo>
                  <a:pt x="14554" y="4074"/>
                </a:lnTo>
                <a:lnTo>
                  <a:pt x="14712" y="4179"/>
                </a:lnTo>
                <a:lnTo>
                  <a:pt x="14867" y="4290"/>
                </a:lnTo>
                <a:lnTo>
                  <a:pt x="15015" y="4409"/>
                </a:lnTo>
                <a:lnTo>
                  <a:pt x="15156" y="4535"/>
                </a:lnTo>
                <a:lnTo>
                  <a:pt x="15293" y="4667"/>
                </a:lnTo>
                <a:lnTo>
                  <a:pt x="15423" y="4806"/>
                </a:lnTo>
                <a:lnTo>
                  <a:pt x="15546" y="4951"/>
                </a:lnTo>
                <a:lnTo>
                  <a:pt x="15663" y="5102"/>
                </a:lnTo>
                <a:lnTo>
                  <a:pt x="15772" y="5259"/>
                </a:lnTo>
                <a:lnTo>
                  <a:pt x="15875" y="5421"/>
                </a:lnTo>
                <a:lnTo>
                  <a:pt x="15969" y="5588"/>
                </a:lnTo>
                <a:lnTo>
                  <a:pt x="16056" y="5761"/>
                </a:lnTo>
                <a:lnTo>
                  <a:pt x="16134" y="5938"/>
                </a:lnTo>
                <a:lnTo>
                  <a:pt x="16205" y="6119"/>
                </a:lnTo>
                <a:lnTo>
                  <a:pt x="16266" y="6305"/>
                </a:lnTo>
                <a:lnTo>
                  <a:pt x="16320" y="6494"/>
                </a:lnTo>
                <a:lnTo>
                  <a:pt x="16363" y="6687"/>
                </a:lnTo>
                <a:lnTo>
                  <a:pt x="16398" y="6884"/>
                </a:lnTo>
                <a:lnTo>
                  <a:pt x="16422" y="7083"/>
                </a:lnTo>
                <a:lnTo>
                  <a:pt x="16438" y="7286"/>
                </a:lnTo>
                <a:lnTo>
                  <a:pt x="16443" y="7490"/>
                </a:lnTo>
                <a:lnTo>
                  <a:pt x="16438" y="7688"/>
                </a:lnTo>
                <a:lnTo>
                  <a:pt x="16425" y="7883"/>
                </a:lnTo>
                <a:lnTo>
                  <a:pt x="16401" y="8075"/>
                </a:lnTo>
                <a:lnTo>
                  <a:pt x="16369" y="8264"/>
                </a:lnTo>
                <a:lnTo>
                  <a:pt x="16328" y="8451"/>
                </a:lnTo>
                <a:lnTo>
                  <a:pt x="16280" y="8634"/>
                </a:lnTo>
                <a:lnTo>
                  <a:pt x="16222" y="8813"/>
                </a:lnTo>
                <a:lnTo>
                  <a:pt x="16156" y="8989"/>
                </a:lnTo>
                <a:lnTo>
                  <a:pt x="16083" y="9161"/>
                </a:lnTo>
                <a:lnTo>
                  <a:pt x="16003" y="9328"/>
                </a:lnTo>
                <a:lnTo>
                  <a:pt x="15915" y="9491"/>
                </a:lnTo>
                <a:lnTo>
                  <a:pt x="15820" y="9649"/>
                </a:lnTo>
                <a:lnTo>
                  <a:pt x="15717" y="9802"/>
                </a:lnTo>
                <a:lnTo>
                  <a:pt x="15610" y="9950"/>
                </a:lnTo>
                <a:lnTo>
                  <a:pt x="15494" y="10093"/>
                </a:lnTo>
                <a:lnTo>
                  <a:pt x="15373" y="10230"/>
                </a:lnTo>
                <a:lnTo>
                  <a:pt x="15246" y="10361"/>
                </a:lnTo>
                <a:lnTo>
                  <a:pt x="15113" y="10487"/>
                </a:lnTo>
                <a:lnTo>
                  <a:pt x="14974" y="10606"/>
                </a:lnTo>
                <a:lnTo>
                  <a:pt x="14831" y="10718"/>
                </a:lnTo>
                <a:lnTo>
                  <a:pt x="14682" y="10824"/>
                </a:lnTo>
                <a:lnTo>
                  <a:pt x="14527" y="10923"/>
                </a:lnTo>
                <a:lnTo>
                  <a:pt x="14369" y="11014"/>
                </a:lnTo>
                <a:lnTo>
                  <a:pt x="14206" y="11098"/>
                </a:lnTo>
                <a:lnTo>
                  <a:pt x="14039" y="11176"/>
                </a:lnTo>
                <a:lnTo>
                  <a:pt x="13868" y="11244"/>
                </a:lnTo>
                <a:lnTo>
                  <a:pt x="13693" y="11305"/>
                </a:lnTo>
                <a:lnTo>
                  <a:pt x="13514" y="11357"/>
                </a:lnTo>
                <a:lnTo>
                  <a:pt x="13332" y="11401"/>
                </a:lnTo>
                <a:lnTo>
                  <a:pt x="13147" y="11436"/>
                </a:lnTo>
                <a:lnTo>
                  <a:pt x="12960" y="11462"/>
                </a:lnTo>
                <a:lnTo>
                  <a:pt x="12770" y="11479"/>
                </a:lnTo>
                <a:lnTo>
                  <a:pt x="12770" y="11487"/>
                </a:lnTo>
                <a:lnTo>
                  <a:pt x="12524" y="11487"/>
                </a:lnTo>
                <a:lnTo>
                  <a:pt x="3341" y="11487"/>
                </a:lnTo>
                <a:lnTo>
                  <a:pt x="3079" y="11487"/>
                </a:lnTo>
                <a:lnTo>
                  <a:pt x="3079" y="11477"/>
                </a:lnTo>
                <a:lnTo>
                  <a:pt x="2919" y="11459"/>
                </a:lnTo>
                <a:lnTo>
                  <a:pt x="2760" y="11436"/>
                </a:lnTo>
                <a:lnTo>
                  <a:pt x="2605" y="11404"/>
                </a:lnTo>
                <a:lnTo>
                  <a:pt x="2453" y="11365"/>
                </a:lnTo>
                <a:lnTo>
                  <a:pt x="2303" y="11318"/>
                </a:lnTo>
                <a:lnTo>
                  <a:pt x="2156" y="11265"/>
                </a:lnTo>
                <a:lnTo>
                  <a:pt x="2013" y="11205"/>
                </a:lnTo>
                <a:lnTo>
                  <a:pt x="1872" y="11139"/>
                </a:lnTo>
                <a:lnTo>
                  <a:pt x="1736" y="11067"/>
                </a:lnTo>
                <a:lnTo>
                  <a:pt x="1603" y="10987"/>
                </a:lnTo>
                <a:lnTo>
                  <a:pt x="1474" y="10903"/>
                </a:lnTo>
                <a:lnTo>
                  <a:pt x="1349" y="10813"/>
                </a:lnTo>
                <a:lnTo>
                  <a:pt x="1229" y="10716"/>
                </a:lnTo>
                <a:lnTo>
                  <a:pt x="1113" y="10615"/>
                </a:lnTo>
                <a:lnTo>
                  <a:pt x="1001" y="10508"/>
                </a:lnTo>
                <a:lnTo>
                  <a:pt x="895" y="10396"/>
                </a:lnTo>
                <a:lnTo>
                  <a:pt x="793" y="10280"/>
                </a:lnTo>
                <a:lnTo>
                  <a:pt x="697" y="10159"/>
                </a:lnTo>
                <a:lnTo>
                  <a:pt x="606" y="10033"/>
                </a:lnTo>
                <a:lnTo>
                  <a:pt x="521" y="9903"/>
                </a:lnTo>
                <a:lnTo>
                  <a:pt x="441" y="9769"/>
                </a:lnTo>
                <a:lnTo>
                  <a:pt x="368" y="9631"/>
                </a:lnTo>
                <a:lnTo>
                  <a:pt x="300" y="9490"/>
                </a:lnTo>
                <a:lnTo>
                  <a:pt x="239" y="9345"/>
                </a:lnTo>
                <a:lnTo>
                  <a:pt x="185" y="9197"/>
                </a:lnTo>
                <a:lnTo>
                  <a:pt x="137" y="9044"/>
                </a:lnTo>
                <a:lnTo>
                  <a:pt x="96" y="8890"/>
                </a:lnTo>
                <a:lnTo>
                  <a:pt x="62" y="8733"/>
                </a:lnTo>
                <a:lnTo>
                  <a:pt x="35" y="8573"/>
                </a:lnTo>
                <a:lnTo>
                  <a:pt x="15" y="8410"/>
                </a:lnTo>
                <a:lnTo>
                  <a:pt x="4" y="8246"/>
                </a:lnTo>
                <a:lnTo>
                  <a:pt x="0" y="8079"/>
                </a:lnTo>
                <a:lnTo>
                  <a:pt x="4" y="7916"/>
                </a:lnTo>
                <a:lnTo>
                  <a:pt x="15" y="7754"/>
                </a:lnTo>
                <a:lnTo>
                  <a:pt x="34" y="7596"/>
                </a:lnTo>
                <a:lnTo>
                  <a:pt x="60" y="7439"/>
                </a:lnTo>
                <a:lnTo>
                  <a:pt x="92" y="7284"/>
                </a:lnTo>
                <a:lnTo>
                  <a:pt x="132" y="7132"/>
                </a:lnTo>
                <a:lnTo>
                  <a:pt x="178" y="6983"/>
                </a:lnTo>
                <a:lnTo>
                  <a:pt x="230" y="6837"/>
                </a:lnTo>
                <a:lnTo>
                  <a:pt x="289" y="6694"/>
                </a:lnTo>
                <a:lnTo>
                  <a:pt x="354" y="6556"/>
                </a:lnTo>
                <a:lnTo>
                  <a:pt x="424" y="6420"/>
                </a:lnTo>
                <a:lnTo>
                  <a:pt x="502" y="6287"/>
                </a:lnTo>
                <a:lnTo>
                  <a:pt x="584" y="6159"/>
                </a:lnTo>
                <a:lnTo>
                  <a:pt x="671" y="6034"/>
                </a:lnTo>
                <a:lnTo>
                  <a:pt x="765" y="5914"/>
                </a:lnTo>
                <a:lnTo>
                  <a:pt x="862" y="5799"/>
                </a:lnTo>
                <a:lnTo>
                  <a:pt x="965" y="5688"/>
                </a:lnTo>
                <a:lnTo>
                  <a:pt x="1072" y="5582"/>
                </a:lnTo>
                <a:lnTo>
                  <a:pt x="1184" y="5480"/>
                </a:lnTo>
                <a:lnTo>
                  <a:pt x="1301" y="5384"/>
                </a:lnTo>
                <a:lnTo>
                  <a:pt x="1421" y="5293"/>
                </a:lnTo>
                <a:lnTo>
                  <a:pt x="1546" y="5208"/>
                </a:lnTo>
                <a:lnTo>
                  <a:pt x="1675" y="5128"/>
                </a:lnTo>
                <a:lnTo>
                  <a:pt x="1807" y="5054"/>
                </a:lnTo>
                <a:lnTo>
                  <a:pt x="1942" y="4986"/>
                </a:lnTo>
                <a:lnTo>
                  <a:pt x="2082" y="4924"/>
                </a:lnTo>
                <a:lnTo>
                  <a:pt x="2224" y="4869"/>
                </a:lnTo>
                <a:lnTo>
                  <a:pt x="2369" y="4819"/>
                </a:lnTo>
                <a:lnTo>
                  <a:pt x="2517" y="4777"/>
                </a:lnTo>
                <a:lnTo>
                  <a:pt x="2668" y="4741"/>
                </a:lnTo>
                <a:lnTo>
                  <a:pt x="2821" y="4713"/>
                </a:lnTo>
                <a:lnTo>
                  <a:pt x="2976" y="4692"/>
                </a:lnTo>
                <a:lnTo>
                  <a:pt x="2990" y="4450"/>
                </a:lnTo>
                <a:lnTo>
                  <a:pt x="3015" y="4212"/>
                </a:lnTo>
                <a:lnTo>
                  <a:pt x="3051" y="3976"/>
                </a:lnTo>
                <a:lnTo>
                  <a:pt x="3098" y="3744"/>
                </a:lnTo>
                <a:lnTo>
                  <a:pt x="3156" y="3517"/>
                </a:lnTo>
                <a:lnTo>
                  <a:pt x="3225" y="3295"/>
                </a:lnTo>
                <a:lnTo>
                  <a:pt x="3303" y="3076"/>
                </a:lnTo>
                <a:lnTo>
                  <a:pt x="3391" y="2863"/>
                </a:lnTo>
                <a:lnTo>
                  <a:pt x="3489" y="2655"/>
                </a:lnTo>
                <a:lnTo>
                  <a:pt x="3597" y="2453"/>
                </a:lnTo>
                <a:lnTo>
                  <a:pt x="3713" y="2256"/>
                </a:lnTo>
                <a:lnTo>
                  <a:pt x="3837" y="2065"/>
                </a:lnTo>
                <a:lnTo>
                  <a:pt x="3971" y="1882"/>
                </a:lnTo>
                <a:lnTo>
                  <a:pt x="4113" y="1704"/>
                </a:lnTo>
                <a:lnTo>
                  <a:pt x="4262" y="1535"/>
                </a:lnTo>
                <a:lnTo>
                  <a:pt x="4419" y="1371"/>
                </a:lnTo>
                <a:lnTo>
                  <a:pt x="4583" y="1216"/>
                </a:lnTo>
                <a:lnTo>
                  <a:pt x="4754" y="1069"/>
                </a:lnTo>
                <a:lnTo>
                  <a:pt x="4932" y="930"/>
                </a:lnTo>
                <a:lnTo>
                  <a:pt x="5117" y="800"/>
                </a:lnTo>
                <a:lnTo>
                  <a:pt x="5307" y="677"/>
                </a:lnTo>
                <a:lnTo>
                  <a:pt x="5503" y="565"/>
                </a:lnTo>
                <a:lnTo>
                  <a:pt x="5705" y="462"/>
                </a:lnTo>
                <a:lnTo>
                  <a:pt x="5912" y="368"/>
                </a:lnTo>
                <a:lnTo>
                  <a:pt x="6124" y="284"/>
                </a:lnTo>
                <a:lnTo>
                  <a:pt x="6342" y="211"/>
                </a:lnTo>
                <a:lnTo>
                  <a:pt x="6563" y="147"/>
                </a:lnTo>
                <a:lnTo>
                  <a:pt x="6788" y="95"/>
                </a:lnTo>
                <a:lnTo>
                  <a:pt x="7018" y="54"/>
                </a:lnTo>
                <a:lnTo>
                  <a:pt x="7250" y="25"/>
                </a:lnTo>
                <a:lnTo>
                  <a:pt x="7487" y="6"/>
                </a:lnTo>
                <a:lnTo>
                  <a:pt x="7726" y="0"/>
                </a:lnTo>
                <a:close/>
                <a:moveTo>
                  <a:pt x="9156" y="9528"/>
                </a:moveTo>
                <a:lnTo>
                  <a:pt x="9148" y="9515"/>
                </a:lnTo>
                <a:lnTo>
                  <a:pt x="9141" y="9503"/>
                </a:lnTo>
                <a:lnTo>
                  <a:pt x="9134" y="9491"/>
                </a:lnTo>
                <a:lnTo>
                  <a:pt x="9127" y="9478"/>
                </a:lnTo>
                <a:lnTo>
                  <a:pt x="9106" y="9484"/>
                </a:lnTo>
                <a:lnTo>
                  <a:pt x="9086" y="9491"/>
                </a:lnTo>
                <a:lnTo>
                  <a:pt x="9065" y="9498"/>
                </a:lnTo>
                <a:lnTo>
                  <a:pt x="9045" y="9503"/>
                </a:lnTo>
                <a:lnTo>
                  <a:pt x="9023" y="9509"/>
                </a:lnTo>
                <a:lnTo>
                  <a:pt x="9003" y="9515"/>
                </a:lnTo>
                <a:lnTo>
                  <a:pt x="8982" y="9521"/>
                </a:lnTo>
                <a:lnTo>
                  <a:pt x="8961" y="9528"/>
                </a:lnTo>
                <a:lnTo>
                  <a:pt x="9156" y="9528"/>
                </a:lnTo>
                <a:close/>
                <a:moveTo>
                  <a:pt x="6492" y="9528"/>
                </a:moveTo>
                <a:lnTo>
                  <a:pt x="6464" y="9519"/>
                </a:lnTo>
                <a:lnTo>
                  <a:pt x="6435" y="9511"/>
                </a:lnTo>
                <a:lnTo>
                  <a:pt x="6408" y="9503"/>
                </a:lnTo>
                <a:lnTo>
                  <a:pt x="6379" y="9495"/>
                </a:lnTo>
                <a:lnTo>
                  <a:pt x="6376" y="9503"/>
                </a:lnTo>
                <a:lnTo>
                  <a:pt x="6372" y="9511"/>
                </a:lnTo>
                <a:lnTo>
                  <a:pt x="6368" y="9519"/>
                </a:lnTo>
                <a:lnTo>
                  <a:pt x="6364" y="9528"/>
                </a:lnTo>
                <a:lnTo>
                  <a:pt x="6492" y="9528"/>
                </a:lnTo>
                <a:close/>
              </a:path>
            </a:pathLst>
          </a:custGeom>
          <a:solidFill>
            <a:srgbClr val="FFFFFF">
              <a:lumMod val="50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33060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66119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99179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732239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665299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598360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531418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464478" algn="l" defTabSz="933060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106" name="矩形 105"/>
          <p:cNvSpPr/>
          <p:nvPr/>
        </p:nvSpPr>
        <p:spPr>
          <a:xfrm>
            <a:off x="1662447" y="1462730"/>
            <a:ext cx="622286" cy="276999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华文彩云" pitchFamily="2" charset="-122"/>
                <a:cs typeface="Arial" pitchFamily="34" charset="0"/>
              </a:rPr>
              <a:t>Cloud</a:t>
            </a:r>
            <a:endParaRPr kumimoji="0" lang="zh-CN" alt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华文彩云" pitchFamily="2" charset="-122"/>
              <a:cs typeface="Arial" pitchFamily="34" charset="0"/>
            </a:endParaRPr>
          </a:p>
        </p:txBody>
      </p:sp>
      <p:sp>
        <p:nvSpPr>
          <p:cNvPr id="108" name="矩形 107"/>
          <p:cNvSpPr/>
          <p:nvPr/>
        </p:nvSpPr>
        <p:spPr>
          <a:xfrm>
            <a:off x="563180" y="2732962"/>
            <a:ext cx="1504586" cy="261610"/>
          </a:xfrm>
          <a:prstGeom prst="rect">
            <a:avLst/>
          </a:prstGeom>
          <a:solidFill>
            <a:srgbClr val="C00000"/>
          </a:solidFill>
        </p:spPr>
        <p:txBody>
          <a:bodyPr wrap="square" anchor="ctr" anchorCtr="0">
            <a:spAutoFit/>
          </a:bodyPr>
          <a:lstStyle/>
          <a:p>
            <a:pPr algn="ctr" defTabSz="732833" eaLnBrk="0" hangingPunct="0">
              <a:buClr>
                <a:srgbClr val="C00000"/>
              </a:buClr>
              <a:buSzPct val="60000"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/>
                <a:cs typeface="Arial" pitchFamily="34" charset="0"/>
              </a:rPr>
              <a:t>⑤</a:t>
            </a:r>
            <a:r>
              <a:rPr kumimoji="1" lang="en-US" altLang="zh-CN" sz="1100" b="1" noProof="1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Agile NetConnect</a:t>
            </a:r>
          </a:p>
        </p:txBody>
      </p:sp>
      <p:cxnSp>
        <p:nvCxnSpPr>
          <p:cNvPr id="110" name="直接连接符 109"/>
          <p:cNvCxnSpPr/>
          <p:nvPr/>
        </p:nvCxnSpPr>
        <p:spPr bwMode="auto">
          <a:xfrm rot="5400000" flipH="1" flipV="1">
            <a:off x="2853137" y="2564206"/>
            <a:ext cx="232374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1" name="直接连接符 110"/>
          <p:cNvCxnSpPr/>
          <p:nvPr/>
        </p:nvCxnSpPr>
        <p:spPr bwMode="auto">
          <a:xfrm flipV="1">
            <a:off x="4281767" y="2854492"/>
            <a:ext cx="0" cy="40811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2" name="直接连接符 111"/>
          <p:cNvCxnSpPr/>
          <p:nvPr/>
        </p:nvCxnSpPr>
        <p:spPr bwMode="auto">
          <a:xfrm flipV="1">
            <a:off x="3429766" y="2850134"/>
            <a:ext cx="876440" cy="0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8" name="119841472"/>
          <p:cNvSpPr/>
          <p:nvPr/>
        </p:nvSpPr>
        <p:spPr>
          <a:xfrm>
            <a:off x="2156352" y="4284929"/>
            <a:ext cx="1119504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Physical Security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289" name="1047815244"/>
          <p:cNvSpPr>
            <a:spLocks noChangeArrowheads="1"/>
          </p:cNvSpPr>
          <p:nvPr/>
        </p:nvSpPr>
        <p:spPr bwMode="auto">
          <a:xfrm>
            <a:off x="439150" y="4311288"/>
            <a:ext cx="1628616" cy="2123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57926" tIns="28964" rIns="57926" bIns="28964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dirty="0" smtClean="0">
                <a:solidFill>
                  <a:sysClr val="windowText" lastClr="000000"/>
                </a:solidFill>
                <a:latin typeface="Arial" pitchFamily="34" charset="0"/>
                <a:ea typeface="微软雅黑" panose="020B0503020204020204" pitchFamily="34" charset="-122"/>
                <a:cs typeface="Arial" pitchFamily="34" charset="0"/>
              </a:rPr>
              <a:t>Field Access Infrastructure</a:t>
            </a:r>
            <a:endParaRPr lang="en-US" altLang="zh-CN" sz="1000" kern="0" dirty="0">
              <a:solidFill>
                <a:srgbClr val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290" name="1819018615" descr="道路监控-4.jpg"/>
          <p:cNvPicPr>
            <a:picLocks/>
          </p:cNvPicPr>
          <p:nvPr/>
        </p:nvPicPr>
        <p:blipFill>
          <a:blip r:embed="rId13" cstate="screen"/>
          <a:stretch>
            <a:fillRect/>
          </a:stretch>
        </p:blipFill>
        <p:spPr>
          <a:xfrm>
            <a:off x="499720" y="4046776"/>
            <a:ext cx="507828" cy="239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1" name="1810228857" descr="C:\Documents and Settings\w66345\My Documents\My Pictures\视频监控素材\2008517133035692_2.jpg"/>
          <p:cNvPicPr>
            <a:picLocks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169256" y="4054990"/>
            <a:ext cx="507828" cy="239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2" name="2213648" descr="2007年女足世界杯.jpg"/>
          <p:cNvPicPr>
            <a:picLocks/>
          </p:cNvPicPr>
          <p:nvPr/>
        </p:nvPicPr>
        <p:blipFill>
          <a:blip r:embed="rId15" cstate="screen"/>
          <a:stretch>
            <a:fillRect/>
          </a:stretch>
        </p:blipFill>
        <p:spPr>
          <a:xfrm>
            <a:off x="1885445" y="4037060"/>
            <a:ext cx="507828" cy="2390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3" name="Picture 38" descr="图片17"/>
          <p:cNvPicPr>
            <a:picLocks noChangeAspect="1" noChangeArrowheads="1"/>
          </p:cNvPicPr>
          <p:nvPr/>
        </p:nvPicPr>
        <p:blipFill>
          <a:blip r:embed="rId16" cstate="screen"/>
          <a:srcRect/>
          <a:stretch>
            <a:fillRect/>
          </a:stretch>
        </p:blipFill>
        <p:spPr bwMode="auto">
          <a:xfrm>
            <a:off x="2356573" y="3869385"/>
            <a:ext cx="309131" cy="249302"/>
          </a:xfrm>
          <a:prstGeom prst="rect">
            <a:avLst/>
          </a:prstGeom>
          <a:noFill/>
        </p:spPr>
      </p:pic>
      <p:pic>
        <p:nvPicPr>
          <p:cNvPr id="294" name="Picture 5"/>
          <p:cNvPicPr>
            <a:picLocks noChangeAspect="1" noChangeArrowheads="1"/>
          </p:cNvPicPr>
          <p:nvPr/>
        </p:nvPicPr>
        <p:blipFill>
          <a:blip r:embed="rId17" cstate="screen">
            <a:lum contrast="-10000"/>
          </a:blip>
          <a:srcRect/>
          <a:stretch>
            <a:fillRect/>
          </a:stretch>
        </p:blipFill>
        <p:spPr bwMode="auto">
          <a:xfrm rot="10800000">
            <a:off x="2619563" y="4055894"/>
            <a:ext cx="446545" cy="220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7" name="组合 543"/>
          <p:cNvGrpSpPr/>
          <p:nvPr/>
        </p:nvGrpSpPr>
        <p:grpSpPr>
          <a:xfrm>
            <a:off x="480737" y="3428369"/>
            <a:ext cx="1715899" cy="347612"/>
            <a:chOff x="6157172" y="2040186"/>
            <a:chExt cx="1715899" cy="432051"/>
          </a:xfrm>
        </p:grpSpPr>
        <p:grpSp>
          <p:nvGrpSpPr>
            <p:cNvPr id="48" name="组合 540"/>
            <p:cNvGrpSpPr/>
            <p:nvPr/>
          </p:nvGrpSpPr>
          <p:grpSpPr>
            <a:xfrm>
              <a:off x="7441023" y="2058116"/>
              <a:ext cx="432048" cy="382302"/>
              <a:chOff x="7978905" y="2050292"/>
              <a:chExt cx="432048" cy="382302"/>
            </a:xfrm>
          </p:grpSpPr>
          <p:sp>
            <p:nvSpPr>
              <p:cNvPr id="303" name="1230097299"/>
              <p:cNvSpPr>
                <a:spLocks noEditPoints="1"/>
              </p:cNvSpPr>
              <p:nvPr/>
            </p:nvSpPr>
            <p:spPr bwMode="auto">
              <a:xfrm>
                <a:off x="7978905" y="2072594"/>
                <a:ext cx="432048" cy="360000"/>
              </a:xfrm>
              <a:custGeom>
                <a:avLst/>
                <a:gdLst/>
                <a:ahLst/>
                <a:cxnLst>
                  <a:cxn ang="0">
                    <a:pos x="3845" y="13163"/>
                  </a:cxn>
                  <a:cxn ang="0">
                    <a:pos x="7457" y="13163"/>
                  </a:cxn>
                  <a:cxn ang="0">
                    <a:pos x="7457" y="11165"/>
                  </a:cxn>
                  <a:cxn ang="0">
                    <a:pos x="0" y="11165"/>
                  </a:cxn>
                  <a:cxn ang="0">
                    <a:pos x="0" y="0"/>
                  </a:cxn>
                  <a:cxn ang="0">
                    <a:pos x="16812" y="0"/>
                  </a:cxn>
                  <a:cxn ang="0">
                    <a:pos x="16812" y="11165"/>
                  </a:cxn>
                  <a:cxn ang="0">
                    <a:pos x="10277" y="11165"/>
                  </a:cxn>
                  <a:cxn ang="0">
                    <a:pos x="10277" y="13163"/>
                  </a:cxn>
                  <a:cxn ang="0">
                    <a:pos x="13890" y="13163"/>
                  </a:cxn>
                  <a:cxn ang="0">
                    <a:pos x="13890" y="13572"/>
                  </a:cxn>
                  <a:cxn ang="0">
                    <a:pos x="3845" y="13572"/>
                  </a:cxn>
                  <a:cxn ang="0">
                    <a:pos x="3845" y="13163"/>
                  </a:cxn>
                  <a:cxn ang="0">
                    <a:pos x="829" y="863"/>
                  </a:cxn>
                  <a:cxn ang="0">
                    <a:pos x="15983" y="863"/>
                  </a:cxn>
                  <a:cxn ang="0">
                    <a:pos x="15983" y="10067"/>
                  </a:cxn>
                  <a:cxn ang="0">
                    <a:pos x="829" y="10067"/>
                  </a:cxn>
                  <a:cxn ang="0">
                    <a:pos x="829" y="863"/>
                  </a:cxn>
                </a:cxnLst>
                <a:rect l="0" t="0" r="r" b="b"/>
                <a:pathLst>
                  <a:path w="16812" h="13572">
                    <a:moveTo>
                      <a:pt x="3845" y="13163"/>
                    </a:moveTo>
                    <a:lnTo>
                      <a:pt x="7457" y="13163"/>
                    </a:lnTo>
                    <a:lnTo>
                      <a:pt x="7457" y="11165"/>
                    </a:lnTo>
                    <a:lnTo>
                      <a:pt x="0" y="11165"/>
                    </a:lnTo>
                    <a:lnTo>
                      <a:pt x="0" y="0"/>
                    </a:lnTo>
                    <a:lnTo>
                      <a:pt x="16812" y="0"/>
                    </a:lnTo>
                    <a:lnTo>
                      <a:pt x="16812" y="11165"/>
                    </a:lnTo>
                    <a:lnTo>
                      <a:pt x="10277" y="11165"/>
                    </a:lnTo>
                    <a:lnTo>
                      <a:pt x="10277" y="13163"/>
                    </a:lnTo>
                    <a:lnTo>
                      <a:pt x="13890" y="13163"/>
                    </a:lnTo>
                    <a:lnTo>
                      <a:pt x="13890" y="13572"/>
                    </a:lnTo>
                    <a:lnTo>
                      <a:pt x="3845" y="13572"/>
                    </a:lnTo>
                    <a:lnTo>
                      <a:pt x="3845" y="13163"/>
                    </a:lnTo>
                    <a:close/>
                    <a:moveTo>
                      <a:pt x="829" y="863"/>
                    </a:moveTo>
                    <a:lnTo>
                      <a:pt x="15983" y="863"/>
                    </a:lnTo>
                    <a:lnTo>
                      <a:pt x="15983" y="10067"/>
                    </a:lnTo>
                    <a:lnTo>
                      <a:pt x="829" y="10067"/>
                    </a:lnTo>
                    <a:lnTo>
                      <a:pt x="829" y="86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10" tIns="45707" rIns="91410" bIns="45707" numCol="1" anchor="t" anchorCtr="0" compatLnSpc="1">
                <a:prstTxWarp prst="textNoShape">
                  <a:avLst/>
                </a:prstTxWarp>
              </a:bodyPr>
              <a:lstStyle/>
              <a:p>
                <a:pPr fontAlgn="ctr"/>
                <a:endParaRPr lang="en-US" altLang="zh-CN" sz="800" dirty="0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pic>
            <p:nvPicPr>
              <p:cNvPr id="304" name="1089951355" descr="C:\Users\HUANGD~1.HIK\AppData\Local\Temp\360zip$Temp\360$0\dst1.jpg"/>
              <p:cNvPicPr>
                <a:picLocks noChangeArrowheads="1"/>
              </p:cNvPicPr>
              <p:nvPr/>
            </p:nvPicPr>
            <p:blipFill>
              <a:blip r:embed="rId18" cstate="screen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90058" y="2050292"/>
                <a:ext cx="406800" cy="324000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/>
            </p:spPr>
          </p:pic>
        </p:grpSp>
        <p:grpSp>
          <p:nvGrpSpPr>
            <p:cNvPr id="49" name="组合 542"/>
            <p:cNvGrpSpPr/>
            <p:nvPr/>
          </p:nvGrpSpPr>
          <p:grpSpPr>
            <a:xfrm>
              <a:off x="6157172" y="2040186"/>
              <a:ext cx="444921" cy="432051"/>
              <a:chOff x="6157172" y="2040186"/>
              <a:chExt cx="444921" cy="432051"/>
            </a:xfrm>
          </p:grpSpPr>
          <p:sp>
            <p:nvSpPr>
              <p:cNvPr id="301" name="486990612"/>
              <p:cNvSpPr>
                <a:spLocks noEditPoints="1"/>
              </p:cNvSpPr>
              <p:nvPr/>
            </p:nvSpPr>
            <p:spPr bwMode="auto">
              <a:xfrm>
                <a:off x="6170045" y="2040189"/>
                <a:ext cx="432048" cy="432048"/>
              </a:xfrm>
              <a:custGeom>
                <a:avLst/>
                <a:gdLst/>
                <a:ahLst/>
                <a:cxnLst>
                  <a:cxn ang="0">
                    <a:pos x="3845" y="13163"/>
                  </a:cxn>
                  <a:cxn ang="0">
                    <a:pos x="7457" y="13163"/>
                  </a:cxn>
                  <a:cxn ang="0">
                    <a:pos x="7457" y="11165"/>
                  </a:cxn>
                  <a:cxn ang="0">
                    <a:pos x="0" y="11165"/>
                  </a:cxn>
                  <a:cxn ang="0">
                    <a:pos x="0" y="0"/>
                  </a:cxn>
                  <a:cxn ang="0">
                    <a:pos x="16812" y="0"/>
                  </a:cxn>
                  <a:cxn ang="0">
                    <a:pos x="16812" y="11165"/>
                  </a:cxn>
                  <a:cxn ang="0">
                    <a:pos x="10277" y="11165"/>
                  </a:cxn>
                  <a:cxn ang="0">
                    <a:pos x="10277" y="13163"/>
                  </a:cxn>
                  <a:cxn ang="0">
                    <a:pos x="13890" y="13163"/>
                  </a:cxn>
                  <a:cxn ang="0">
                    <a:pos x="13890" y="13572"/>
                  </a:cxn>
                  <a:cxn ang="0">
                    <a:pos x="3845" y="13572"/>
                  </a:cxn>
                  <a:cxn ang="0">
                    <a:pos x="3845" y="13163"/>
                  </a:cxn>
                  <a:cxn ang="0">
                    <a:pos x="829" y="863"/>
                  </a:cxn>
                  <a:cxn ang="0">
                    <a:pos x="15983" y="863"/>
                  </a:cxn>
                  <a:cxn ang="0">
                    <a:pos x="15983" y="10067"/>
                  </a:cxn>
                  <a:cxn ang="0">
                    <a:pos x="829" y="10067"/>
                  </a:cxn>
                  <a:cxn ang="0">
                    <a:pos x="829" y="863"/>
                  </a:cxn>
                </a:cxnLst>
                <a:rect l="0" t="0" r="r" b="b"/>
                <a:pathLst>
                  <a:path w="16812" h="13572">
                    <a:moveTo>
                      <a:pt x="3845" y="13163"/>
                    </a:moveTo>
                    <a:lnTo>
                      <a:pt x="7457" y="13163"/>
                    </a:lnTo>
                    <a:lnTo>
                      <a:pt x="7457" y="11165"/>
                    </a:lnTo>
                    <a:lnTo>
                      <a:pt x="0" y="11165"/>
                    </a:lnTo>
                    <a:lnTo>
                      <a:pt x="0" y="0"/>
                    </a:lnTo>
                    <a:lnTo>
                      <a:pt x="16812" y="0"/>
                    </a:lnTo>
                    <a:lnTo>
                      <a:pt x="16812" y="11165"/>
                    </a:lnTo>
                    <a:lnTo>
                      <a:pt x="10277" y="11165"/>
                    </a:lnTo>
                    <a:lnTo>
                      <a:pt x="10277" y="13163"/>
                    </a:lnTo>
                    <a:lnTo>
                      <a:pt x="13890" y="13163"/>
                    </a:lnTo>
                    <a:lnTo>
                      <a:pt x="13890" y="13572"/>
                    </a:lnTo>
                    <a:lnTo>
                      <a:pt x="3845" y="13572"/>
                    </a:lnTo>
                    <a:lnTo>
                      <a:pt x="3845" y="13163"/>
                    </a:lnTo>
                    <a:close/>
                    <a:moveTo>
                      <a:pt x="829" y="863"/>
                    </a:moveTo>
                    <a:lnTo>
                      <a:pt x="15983" y="863"/>
                    </a:lnTo>
                    <a:lnTo>
                      <a:pt x="15983" y="10067"/>
                    </a:lnTo>
                    <a:lnTo>
                      <a:pt x="829" y="10067"/>
                    </a:lnTo>
                    <a:lnTo>
                      <a:pt x="829" y="86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10" tIns="45707" rIns="91410" bIns="45707" numCol="1" anchor="t" anchorCtr="0" compatLnSpc="1">
                <a:prstTxWarp prst="textNoShape">
                  <a:avLst/>
                </a:prstTxWarp>
              </a:bodyPr>
              <a:lstStyle/>
              <a:p>
                <a:pPr fontAlgn="ctr"/>
                <a:endParaRPr lang="en-US" altLang="zh-CN" sz="800" dirty="0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pic>
            <p:nvPicPr>
              <p:cNvPr id="302" name="51503931"/>
              <p:cNvPicPr>
                <a:picLocks noChangeAspect="1" noChangeArrowheads="1"/>
              </p:cNvPicPr>
              <p:nvPr/>
            </p:nvPicPr>
            <p:blipFill>
              <a:blip r:embed="rId19" cstate="screen"/>
              <a:srcRect/>
              <a:stretch>
                <a:fillRect/>
              </a:stretch>
            </p:blipFill>
            <p:spPr bwMode="auto">
              <a:xfrm>
                <a:off x="6157172" y="2040186"/>
                <a:ext cx="420675" cy="32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50" name="组合 541"/>
            <p:cNvGrpSpPr/>
            <p:nvPr/>
          </p:nvGrpSpPr>
          <p:grpSpPr>
            <a:xfrm>
              <a:off x="6805534" y="2040186"/>
              <a:ext cx="432048" cy="432051"/>
              <a:chOff x="6809639" y="2040186"/>
              <a:chExt cx="432048" cy="432051"/>
            </a:xfrm>
          </p:grpSpPr>
          <p:sp>
            <p:nvSpPr>
              <p:cNvPr id="299" name="879047503"/>
              <p:cNvSpPr>
                <a:spLocks noEditPoints="1"/>
              </p:cNvSpPr>
              <p:nvPr/>
            </p:nvSpPr>
            <p:spPr bwMode="auto">
              <a:xfrm>
                <a:off x="6809639" y="2040189"/>
                <a:ext cx="432048" cy="432048"/>
              </a:xfrm>
              <a:custGeom>
                <a:avLst/>
                <a:gdLst/>
                <a:ahLst/>
                <a:cxnLst>
                  <a:cxn ang="0">
                    <a:pos x="3845" y="13163"/>
                  </a:cxn>
                  <a:cxn ang="0">
                    <a:pos x="7457" y="13163"/>
                  </a:cxn>
                  <a:cxn ang="0">
                    <a:pos x="7457" y="11165"/>
                  </a:cxn>
                  <a:cxn ang="0">
                    <a:pos x="0" y="11165"/>
                  </a:cxn>
                  <a:cxn ang="0">
                    <a:pos x="0" y="0"/>
                  </a:cxn>
                  <a:cxn ang="0">
                    <a:pos x="16812" y="0"/>
                  </a:cxn>
                  <a:cxn ang="0">
                    <a:pos x="16812" y="11165"/>
                  </a:cxn>
                  <a:cxn ang="0">
                    <a:pos x="10277" y="11165"/>
                  </a:cxn>
                  <a:cxn ang="0">
                    <a:pos x="10277" y="13163"/>
                  </a:cxn>
                  <a:cxn ang="0">
                    <a:pos x="13890" y="13163"/>
                  </a:cxn>
                  <a:cxn ang="0">
                    <a:pos x="13890" y="13572"/>
                  </a:cxn>
                  <a:cxn ang="0">
                    <a:pos x="3845" y="13572"/>
                  </a:cxn>
                  <a:cxn ang="0">
                    <a:pos x="3845" y="13163"/>
                  </a:cxn>
                  <a:cxn ang="0">
                    <a:pos x="829" y="863"/>
                  </a:cxn>
                  <a:cxn ang="0">
                    <a:pos x="15983" y="863"/>
                  </a:cxn>
                  <a:cxn ang="0">
                    <a:pos x="15983" y="10067"/>
                  </a:cxn>
                  <a:cxn ang="0">
                    <a:pos x="829" y="10067"/>
                  </a:cxn>
                  <a:cxn ang="0">
                    <a:pos x="829" y="863"/>
                  </a:cxn>
                </a:cxnLst>
                <a:rect l="0" t="0" r="r" b="b"/>
                <a:pathLst>
                  <a:path w="16812" h="13572">
                    <a:moveTo>
                      <a:pt x="3845" y="13163"/>
                    </a:moveTo>
                    <a:lnTo>
                      <a:pt x="7457" y="13163"/>
                    </a:lnTo>
                    <a:lnTo>
                      <a:pt x="7457" y="11165"/>
                    </a:lnTo>
                    <a:lnTo>
                      <a:pt x="0" y="11165"/>
                    </a:lnTo>
                    <a:lnTo>
                      <a:pt x="0" y="0"/>
                    </a:lnTo>
                    <a:lnTo>
                      <a:pt x="16812" y="0"/>
                    </a:lnTo>
                    <a:lnTo>
                      <a:pt x="16812" y="11165"/>
                    </a:lnTo>
                    <a:lnTo>
                      <a:pt x="10277" y="11165"/>
                    </a:lnTo>
                    <a:lnTo>
                      <a:pt x="10277" y="13163"/>
                    </a:lnTo>
                    <a:lnTo>
                      <a:pt x="13890" y="13163"/>
                    </a:lnTo>
                    <a:lnTo>
                      <a:pt x="13890" y="13572"/>
                    </a:lnTo>
                    <a:lnTo>
                      <a:pt x="3845" y="13572"/>
                    </a:lnTo>
                    <a:lnTo>
                      <a:pt x="3845" y="13163"/>
                    </a:lnTo>
                    <a:close/>
                    <a:moveTo>
                      <a:pt x="829" y="863"/>
                    </a:moveTo>
                    <a:lnTo>
                      <a:pt x="15983" y="863"/>
                    </a:lnTo>
                    <a:lnTo>
                      <a:pt x="15983" y="10067"/>
                    </a:lnTo>
                    <a:lnTo>
                      <a:pt x="829" y="10067"/>
                    </a:lnTo>
                    <a:lnTo>
                      <a:pt x="829" y="86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10" tIns="45707" rIns="91410" bIns="45707" numCol="1" anchor="t" anchorCtr="0" compatLnSpc="1">
                <a:prstTxWarp prst="textNoShape">
                  <a:avLst/>
                </a:prstTxWarp>
              </a:bodyPr>
              <a:lstStyle/>
              <a:p>
                <a:pPr fontAlgn="ctr"/>
                <a:endParaRPr lang="en-US" altLang="zh-CN" sz="800" dirty="0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pic>
            <p:nvPicPr>
              <p:cNvPr id="300" name="195994599"/>
              <p:cNvPicPr>
                <a:picLocks noChangeArrowheads="1"/>
              </p:cNvPicPr>
              <p:nvPr/>
            </p:nvPicPr>
            <p:blipFill>
              <a:blip r:embed="rId20" cstate="screen"/>
              <a:srcRect/>
              <a:stretch>
                <a:fillRect/>
              </a:stretch>
            </p:blipFill>
            <p:spPr bwMode="auto">
              <a:xfrm>
                <a:off x="6820487" y="2040186"/>
                <a:ext cx="421200" cy="324000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</p:grpSp>
      </p:grpSp>
      <p:sp>
        <p:nvSpPr>
          <p:cNvPr id="305" name="119841472"/>
          <p:cNvSpPr/>
          <p:nvPr/>
        </p:nvSpPr>
        <p:spPr>
          <a:xfrm>
            <a:off x="596937" y="3732320"/>
            <a:ext cx="1272987" cy="227127"/>
          </a:xfrm>
          <a:prstGeom prst="rect">
            <a:avLst/>
          </a:prstGeom>
        </p:spPr>
        <p:txBody>
          <a:bodyPr wrap="squar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Intelligent Analysis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06" name="Freeform 5"/>
          <p:cNvSpPr>
            <a:spLocks noChangeAspect="1" noEditPoints="1"/>
          </p:cNvSpPr>
          <p:nvPr/>
        </p:nvSpPr>
        <p:spPr bwMode="auto">
          <a:xfrm>
            <a:off x="946108" y="3918058"/>
            <a:ext cx="296413" cy="205027"/>
          </a:xfrm>
          <a:custGeom>
            <a:avLst/>
            <a:gdLst/>
            <a:ahLst/>
            <a:cxnLst>
              <a:cxn ang="0">
                <a:pos x="13474" y="5453"/>
              </a:cxn>
              <a:cxn ang="0">
                <a:pos x="12317" y="4601"/>
              </a:cxn>
              <a:cxn ang="0">
                <a:pos x="11412" y="4426"/>
              </a:cxn>
              <a:cxn ang="0">
                <a:pos x="4848" y="9576"/>
              </a:cxn>
              <a:cxn ang="0">
                <a:pos x="5783" y="10159"/>
              </a:cxn>
              <a:cxn ang="0">
                <a:pos x="6029" y="10586"/>
              </a:cxn>
              <a:cxn ang="0">
                <a:pos x="5871" y="11449"/>
              </a:cxn>
              <a:cxn ang="0">
                <a:pos x="5269" y="11440"/>
              </a:cxn>
              <a:cxn ang="0">
                <a:pos x="4824" y="10607"/>
              </a:cxn>
              <a:cxn ang="0">
                <a:pos x="4838" y="9638"/>
              </a:cxn>
              <a:cxn ang="0">
                <a:pos x="3536" y="8751"/>
              </a:cxn>
              <a:cxn ang="0">
                <a:pos x="4283" y="9174"/>
              </a:cxn>
              <a:cxn ang="0">
                <a:pos x="4127" y="9883"/>
              </a:cxn>
              <a:cxn ang="0">
                <a:pos x="4481" y="11467"/>
              </a:cxn>
              <a:cxn ang="0">
                <a:pos x="5571" y="12255"/>
              </a:cxn>
              <a:cxn ang="0">
                <a:pos x="6393" y="11776"/>
              </a:cxn>
              <a:cxn ang="0">
                <a:pos x="6623" y="11327"/>
              </a:cxn>
              <a:cxn ang="0">
                <a:pos x="6593" y="10954"/>
              </a:cxn>
              <a:cxn ang="0">
                <a:pos x="7001" y="12029"/>
              </a:cxn>
              <a:cxn ang="0">
                <a:pos x="6605" y="13157"/>
              </a:cxn>
              <a:cxn ang="0">
                <a:pos x="5384" y="13849"/>
              </a:cxn>
              <a:cxn ang="0">
                <a:pos x="4005" y="13316"/>
              </a:cxn>
              <a:cxn ang="0">
                <a:pos x="2966" y="11875"/>
              </a:cxn>
              <a:cxn ang="0">
                <a:pos x="2611" y="10263"/>
              </a:cxn>
              <a:cxn ang="0">
                <a:pos x="2657" y="9067"/>
              </a:cxn>
              <a:cxn ang="0">
                <a:pos x="2906" y="8446"/>
              </a:cxn>
              <a:cxn ang="0">
                <a:pos x="2108" y="8756"/>
              </a:cxn>
              <a:cxn ang="0">
                <a:pos x="1951" y="10042"/>
              </a:cxn>
              <a:cxn ang="0">
                <a:pos x="2244" y="11405"/>
              </a:cxn>
              <a:cxn ang="0">
                <a:pos x="1800" y="11462"/>
              </a:cxn>
              <a:cxn ang="0">
                <a:pos x="514" y="10430"/>
              </a:cxn>
              <a:cxn ang="0">
                <a:pos x="0" y="8981"/>
              </a:cxn>
              <a:cxn ang="0">
                <a:pos x="814" y="8147"/>
              </a:cxn>
              <a:cxn ang="0">
                <a:pos x="2055" y="8130"/>
              </a:cxn>
              <a:cxn ang="0">
                <a:pos x="13652" y="11178"/>
              </a:cxn>
              <a:cxn ang="0">
                <a:pos x="13281" y="11893"/>
              </a:cxn>
              <a:cxn ang="0">
                <a:pos x="12680" y="12371"/>
              </a:cxn>
              <a:cxn ang="0">
                <a:pos x="11525" y="12547"/>
              </a:cxn>
              <a:cxn ang="0">
                <a:pos x="11812" y="11849"/>
              </a:cxn>
              <a:cxn ang="0">
                <a:pos x="7899" y="11652"/>
              </a:cxn>
              <a:cxn ang="0">
                <a:pos x="8996" y="12019"/>
              </a:cxn>
              <a:cxn ang="0">
                <a:pos x="10612" y="11876"/>
              </a:cxn>
              <a:cxn ang="0">
                <a:pos x="10925" y="12290"/>
              </a:cxn>
              <a:cxn ang="0">
                <a:pos x="10585" y="12853"/>
              </a:cxn>
              <a:cxn ang="0">
                <a:pos x="9821" y="13182"/>
              </a:cxn>
              <a:cxn ang="0">
                <a:pos x="6649" y="14004"/>
              </a:cxn>
              <a:cxn ang="0">
                <a:pos x="7422" y="12934"/>
              </a:cxn>
              <a:cxn ang="0">
                <a:pos x="7677" y="12066"/>
              </a:cxn>
              <a:cxn ang="0">
                <a:pos x="14396" y="10218"/>
              </a:cxn>
              <a:cxn ang="0">
                <a:pos x="14321" y="8192"/>
              </a:cxn>
              <a:cxn ang="0">
                <a:pos x="12918" y="5928"/>
              </a:cxn>
              <a:cxn ang="0">
                <a:pos x="11740" y="5209"/>
              </a:cxn>
              <a:cxn ang="0">
                <a:pos x="10623" y="5077"/>
              </a:cxn>
              <a:cxn ang="0">
                <a:pos x="9280" y="5224"/>
              </a:cxn>
              <a:cxn ang="0">
                <a:pos x="1229" y="7366"/>
              </a:cxn>
              <a:cxn ang="0">
                <a:pos x="2849" y="7799"/>
              </a:cxn>
              <a:cxn ang="0">
                <a:pos x="5581" y="9338"/>
              </a:cxn>
              <a:cxn ang="0">
                <a:pos x="7851" y="10919"/>
              </a:cxn>
              <a:cxn ang="0">
                <a:pos x="9572" y="11341"/>
              </a:cxn>
              <a:cxn ang="0">
                <a:pos x="10600" y="11241"/>
              </a:cxn>
              <a:cxn ang="0">
                <a:pos x="13760" y="10423"/>
              </a:cxn>
            </a:cxnLst>
            <a:rect l="0" t="0" r="r" b="b"/>
            <a:pathLst>
              <a:path w="16170" h="14014">
                <a:moveTo>
                  <a:pt x="11178" y="2724"/>
                </a:moveTo>
                <a:lnTo>
                  <a:pt x="14087" y="2724"/>
                </a:lnTo>
                <a:lnTo>
                  <a:pt x="14087" y="6276"/>
                </a:lnTo>
                <a:lnTo>
                  <a:pt x="14080" y="6265"/>
                </a:lnTo>
                <a:lnTo>
                  <a:pt x="14060" y="6231"/>
                </a:lnTo>
                <a:lnTo>
                  <a:pt x="14025" y="6177"/>
                </a:lnTo>
                <a:lnTo>
                  <a:pt x="13979" y="6106"/>
                </a:lnTo>
                <a:lnTo>
                  <a:pt x="13920" y="6022"/>
                </a:lnTo>
                <a:lnTo>
                  <a:pt x="13852" y="5923"/>
                </a:lnTo>
                <a:lnTo>
                  <a:pt x="13812" y="5870"/>
                </a:lnTo>
                <a:lnTo>
                  <a:pt x="13771" y="5815"/>
                </a:lnTo>
                <a:lnTo>
                  <a:pt x="13727" y="5758"/>
                </a:lnTo>
                <a:lnTo>
                  <a:pt x="13682" y="5698"/>
                </a:lnTo>
                <a:lnTo>
                  <a:pt x="13632" y="5639"/>
                </a:lnTo>
                <a:lnTo>
                  <a:pt x="13582" y="5577"/>
                </a:lnTo>
                <a:lnTo>
                  <a:pt x="13529" y="5515"/>
                </a:lnTo>
                <a:lnTo>
                  <a:pt x="13474" y="5453"/>
                </a:lnTo>
                <a:lnTo>
                  <a:pt x="13417" y="5390"/>
                </a:lnTo>
                <a:lnTo>
                  <a:pt x="13357" y="5328"/>
                </a:lnTo>
                <a:lnTo>
                  <a:pt x="13297" y="5266"/>
                </a:lnTo>
                <a:lnTo>
                  <a:pt x="13234" y="5204"/>
                </a:lnTo>
                <a:lnTo>
                  <a:pt x="13169" y="5145"/>
                </a:lnTo>
                <a:lnTo>
                  <a:pt x="13104" y="5085"/>
                </a:lnTo>
                <a:lnTo>
                  <a:pt x="13036" y="5029"/>
                </a:lnTo>
                <a:lnTo>
                  <a:pt x="12967" y="4973"/>
                </a:lnTo>
                <a:lnTo>
                  <a:pt x="12897" y="4919"/>
                </a:lnTo>
                <a:lnTo>
                  <a:pt x="12825" y="4869"/>
                </a:lnTo>
                <a:lnTo>
                  <a:pt x="12752" y="4822"/>
                </a:lnTo>
                <a:lnTo>
                  <a:pt x="12678" y="4776"/>
                </a:lnTo>
                <a:lnTo>
                  <a:pt x="12604" y="4735"/>
                </a:lnTo>
                <a:lnTo>
                  <a:pt x="12531" y="4697"/>
                </a:lnTo>
                <a:lnTo>
                  <a:pt x="12458" y="4662"/>
                </a:lnTo>
                <a:lnTo>
                  <a:pt x="12387" y="4630"/>
                </a:lnTo>
                <a:lnTo>
                  <a:pt x="12317" y="4601"/>
                </a:lnTo>
                <a:lnTo>
                  <a:pt x="12250" y="4575"/>
                </a:lnTo>
                <a:lnTo>
                  <a:pt x="12182" y="4551"/>
                </a:lnTo>
                <a:lnTo>
                  <a:pt x="12117" y="4530"/>
                </a:lnTo>
                <a:lnTo>
                  <a:pt x="12054" y="4511"/>
                </a:lnTo>
                <a:lnTo>
                  <a:pt x="11991" y="4495"/>
                </a:lnTo>
                <a:lnTo>
                  <a:pt x="11930" y="4480"/>
                </a:lnTo>
                <a:lnTo>
                  <a:pt x="11873" y="4468"/>
                </a:lnTo>
                <a:lnTo>
                  <a:pt x="11816" y="4458"/>
                </a:lnTo>
                <a:lnTo>
                  <a:pt x="11762" y="4449"/>
                </a:lnTo>
                <a:lnTo>
                  <a:pt x="11709" y="4442"/>
                </a:lnTo>
                <a:lnTo>
                  <a:pt x="11660" y="4436"/>
                </a:lnTo>
                <a:lnTo>
                  <a:pt x="11612" y="4432"/>
                </a:lnTo>
                <a:lnTo>
                  <a:pt x="11567" y="4429"/>
                </a:lnTo>
                <a:lnTo>
                  <a:pt x="11524" y="4427"/>
                </a:lnTo>
                <a:lnTo>
                  <a:pt x="11484" y="4425"/>
                </a:lnTo>
                <a:lnTo>
                  <a:pt x="11446" y="4425"/>
                </a:lnTo>
                <a:lnTo>
                  <a:pt x="11412" y="4426"/>
                </a:lnTo>
                <a:lnTo>
                  <a:pt x="11380" y="4427"/>
                </a:lnTo>
                <a:lnTo>
                  <a:pt x="11351" y="4428"/>
                </a:lnTo>
                <a:lnTo>
                  <a:pt x="11303" y="4432"/>
                </a:lnTo>
                <a:lnTo>
                  <a:pt x="11267" y="4435"/>
                </a:lnTo>
                <a:lnTo>
                  <a:pt x="11246" y="4439"/>
                </a:lnTo>
                <a:lnTo>
                  <a:pt x="11239" y="4440"/>
                </a:lnTo>
                <a:lnTo>
                  <a:pt x="11178" y="2724"/>
                </a:lnTo>
                <a:close/>
                <a:moveTo>
                  <a:pt x="9156" y="0"/>
                </a:moveTo>
                <a:lnTo>
                  <a:pt x="16170" y="0"/>
                </a:lnTo>
                <a:lnTo>
                  <a:pt x="16170" y="1256"/>
                </a:lnTo>
                <a:lnTo>
                  <a:pt x="13383" y="1256"/>
                </a:lnTo>
                <a:lnTo>
                  <a:pt x="13383" y="2174"/>
                </a:lnTo>
                <a:lnTo>
                  <a:pt x="11820" y="2174"/>
                </a:lnTo>
                <a:lnTo>
                  <a:pt x="11820" y="1256"/>
                </a:lnTo>
                <a:lnTo>
                  <a:pt x="9156" y="1256"/>
                </a:lnTo>
                <a:lnTo>
                  <a:pt x="9156" y="0"/>
                </a:lnTo>
                <a:close/>
                <a:moveTo>
                  <a:pt x="4848" y="9576"/>
                </a:moveTo>
                <a:lnTo>
                  <a:pt x="4855" y="9581"/>
                </a:lnTo>
                <a:lnTo>
                  <a:pt x="4877" y="9595"/>
                </a:lnTo>
                <a:lnTo>
                  <a:pt x="4912" y="9615"/>
                </a:lnTo>
                <a:lnTo>
                  <a:pt x="4958" y="9642"/>
                </a:lnTo>
                <a:lnTo>
                  <a:pt x="5013" y="9675"/>
                </a:lnTo>
                <a:lnTo>
                  <a:pt x="5075" y="9713"/>
                </a:lnTo>
                <a:lnTo>
                  <a:pt x="5143" y="9754"/>
                </a:lnTo>
                <a:lnTo>
                  <a:pt x="5216" y="9798"/>
                </a:lnTo>
                <a:lnTo>
                  <a:pt x="5291" y="9843"/>
                </a:lnTo>
                <a:lnTo>
                  <a:pt x="5366" y="9890"/>
                </a:lnTo>
                <a:lnTo>
                  <a:pt x="5441" y="9936"/>
                </a:lnTo>
                <a:lnTo>
                  <a:pt x="5514" y="9981"/>
                </a:lnTo>
                <a:lnTo>
                  <a:pt x="5583" y="10025"/>
                </a:lnTo>
                <a:lnTo>
                  <a:pt x="5644" y="10064"/>
                </a:lnTo>
                <a:lnTo>
                  <a:pt x="5699" y="10101"/>
                </a:lnTo>
                <a:lnTo>
                  <a:pt x="5744" y="10131"/>
                </a:lnTo>
                <a:lnTo>
                  <a:pt x="5783" y="10159"/>
                </a:lnTo>
                <a:lnTo>
                  <a:pt x="5817" y="10186"/>
                </a:lnTo>
                <a:lnTo>
                  <a:pt x="5849" y="10214"/>
                </a:lnTo>
                <a:lnTo>
                  <a:pt x="5878" y="10241"/>
                </a:lnTo>
                <a:lnTo>
                  <a:pt x="5903" y="10266"/>
                </a:lnTo>
                <a:lnTo>
                  <a:pt x="5926" y="10292"/>
                </a:lnTo>
                <a:lnTo>
                  <a:pt x="5946" y="10315"/>
                </a:lnTo>
                <a:lnTo>
                  <a:pt x="5963" y="10336"/>
                </a:lnTo>
                <a:lnTo>
                  <a:pt x="5978" y="10356"/>
                </a:lnTo>
                <a:lnTo>
                  <a:pt x="5990" y="10374"/>
                </a:lnTo>
                <a:lnTo>
                  <a:pt x="6000" y="10391"/>
                </a:lnTo>
                <a:lnTo>
                  <a:pt x="6008" y="10404"/>
                </a:lnTo>
                <a:lnTo>
                  <a:pt x="6018" y="10423"/>
                </a:lnTo>
                <a:lnTo>
                  <a:pt x="6021" y="10430"/>
                </a:lnTo>
                <a:lnTo>
                  <a:pt x="6022" y="10441"/>
                </a:lnTo>
                <a:lnTo>
                  <a:pt x="6024" y="10472"/>
                </a:lnTo>
                <a:lnTo>
                  <a:pt x="6027" y="10522"/>
                </a:lnTo>
                <a:lnTo>
                  <a:pt x="6029" y="10586"/>
                </a:lnTo>
                <a:lnTo>
                  <a:pt x="6029" y="10662"/>
                </a:lnTo>
                <a:lnTo>
                  <a:pt x="6028" y="10749"/>
                </a:lnTo>
                <a:lnTo>
                  <a:pt x="6026" y="10796"/>
                </a:lnTo>
                <a:lnTo>
                  <a:pt x="6024" y="10843"/>
                </a:lnTo>
                <a:lnTo>
                  <a:pt x="6021" y="10893"/>
                </a:lnTo>
                <a:lnTo>
                  <a:pt x="6016" y="10942"/>
                </a:lnTo>
                <a:lnTo>
                  <a:pt x="6011" y="10992"/>
                </a:lnTo>
                <a:lnTo>
                  <a:pt x="6004" y="11042"/>
                </a:lnTo>
                <a:lnTo>
                  <a:pt x="5996" y="11093"/>
                </a:lnTo>
                <a:lnTo>
                  <a:pt x="5986" y="11142"/>
                </a:lnTo>
                <a:lnTo>
                  <a:pt x="5975" y="11192"/>
                </a:lnTo>
                <a:lnTo>
                  <a:pt x="5963" y="11239"/>
                </a:lnTo>
                <a:lnTo>
                  <a:pt x="5948" y="11286"/>
                </a:lnTo>
                <a:lnTo>
                  <a:pt x="5931" y="11330"/>
                </a:lnTo>
                <a:lnTo>
                  <a:pt x="5913" y="11372"/>
                </a:lnTo>
                <a:lnTo>
                  <a:pt x="5893" y="11412"/>
                </a:lnTo>
                <a:lnTo>
                  <a:pt x="5871" y="11449"/>
                </a:lnTo>
                <a:lnTo>
                  <a:pt x="5846" y="11484"/>
                </a:lnTo>
                <a:lnTo>
                  <a:pt x="5819" y="11514"/>
                </a:lnTo>
                <a:lnTo>
                  <a:pt x="5790" y="11541"/>
                </a:lnTo>
                <a:lnTo>
                  <a:pt x="5758" y="11563"/>
                </a:lnTo>
                <a:lnTo>
                  <a:pt x="5723" y="11582"/>
                </a:lnTo>
                <a:lnTo>
                  <a:pt x="5687" y="11596"/>
                </a:lnTo>
                <a:lnTo>
                  <a:pt x="5649" y="11603"/>
                </a:lnTo>
                <a:lnTo>
                  <a:pt x="5612" y="11606"/>
                </a:lnTo>
                <a:lnTo>
                  <a:pt x="5574" y="11604"/>
                </a:lnTo>
                <a:lnTo>
                  <a:pt x="5535" y="11598"/>
                </a:lnTo>
                <a:lnTo>
                  <a:pt x="5497" y="11587"/>
                </a:lnTo>
                <a:lnTo>
                  <a:pt x="5458" y="11571"/>
                </a:lnTo>
                <a:lnTo>
                  <a:pt x="5420" y="11552"/>
                </a:lnTo>
                <a:lnTo>
                  <a:pt x="5382" y="11529"/>
                </a:lnTo>
                <a:lnTo>
                  <a:pt x="5344" y="11503"/>
                </a:lnTo>
                <a:lnTo>
                  <a:pt x="5306" y="11473"/>
                </a:lnTo>
                <a:lnTo>
                  <a:pt x="5269" y="11440"/>
                </a:lnTo>
                <a:lnTo>
                  <a:pt x="5233" y="11404"/>
                </a:lnTo>
                <a:lnTo>
                  <a:pt x="5197" y="11365"/>
                </a:lnTo>
                <a:lnTo>
                  <a:pt x="5162" y="11324"/>
                </a:lnTo>
                <a:lnTo>
                  <a:pt x="5128" y="11280"/>
                </a:lnTo>
                <a:lnTo>
                  <a:pt x="5095" y="11235"/>
                </a:lnTo>
                <a:lnTo>
                  <a:pt x="5063" y="11188"/>
                </a:lnTo>
                <a:lnTo>
                  <a:pt x="5033" y="11139"/>
                </a:lnTo>
                <a:lnTo>
                  <a:pt x="5004" y="11089"/>
                </a:lnTo>
                <a:lnTo>
                  <a:pt x="4975" y="11037"/>
                </a:lnTo>
                <a:lnTo>
                  <a:pt x="4950" y="10985"/>
                </a:lnTo>
                <a:lnTo>
                  <a:pt x="4926" y="10931"/>
                </a:lnTo>
                <a:lnTo>
                  <a:pt x="4904" y="10876"/>
                </a:lnTo>
                <a:lnTo>
                  <a:pt x="4883" y="10823"/>
                </a:lnTo>
                <a:lnTo>
                  <a:pt x="4865" y="10768"/>
                </a:lnTo>
                <a:lnTo>
                  <a:pt x="4849" y="10714"/>
                </a:lnTo>
                <a:lnTo>
                  <a:pt x="4835" y="10660"/>
                </a:lnTo>
                <a:lnTo>
                  <a:pt x="4824" y="10607"/>
                </a:lnTo>
                <a:lnTo>
                  <a:pt x="4815" y="10553"/>
                </a:lnTo>
                <a:lnTo>
                  <a:pt x="4809" y="10502"/>
                </a:lnTo>
                <a:lnTo>
                  <a:pt x="4806" y="10451"/>
                </a:lnTo>
                <a:lnTo>
                  <a:pt x="4804" y="10402"/>
                </a:lnTo>
                <a:lnTo>
                  <a:pt x="4801" y="10353"/>
                </a:lnTo>
                <a:lnTo>
                  <a:pt x="4801" y="10307"/>
                </a:lnTo>
                <a:lnTo>
                  <a:pt x="4800" y="10260"/>
                </a:lnTo>
                <a:lnTo>
                  <a:pt x="4801" y="10172"/>
                </a:lnTo>
                <a:lnTo>
                  <a:pt x="4802" y="10090"/>
                </a:lnTo>
                <a:lnTo>
                  <a:pt x="4806" y="10012"/>
                </a:lnTo>
                <a:lnTo>
                  <a:pt x="4810" y="9940"/>
                </a:lnTo>
                <a:lnTo>
                  <a:pt x="4814" y="9874"/>
                </a:lnTo>
                <a:lnTo>
                  <a:pt x="4819" y="9814"/>
                </a:lnTo>
                <a:lnTo>
                  <a:pt x="4824" y="9760"/>
                </a:lnTo>
                <a:lnTo>
                  <a:pt x="4829" y="9713"/>
                </a:lnTo>
                <a:lnTo>
                  <a:pt x="4834" y="9672"/>
                </a:lnTo>
                <a:lnTo>
                  <a:pt x="4838" y="9638"/>
                </a:lnTo>
                <a:lnTo>
                  <a:pt x="4842" y="9612"/>
                </a:lnTo>
                <a:lnTo>
                  <a:pt x="4845" y="9593"/>
                </a:lnTo>
                <a:lnTo>
                  <a:pt x="4847" y="9580"/>
                </a:lnTo>
                <a:lnTo>
                  <a:pt x="4848" y="9576"/>
                </a:lnTo>
                <a:close/>
                <a:moveTo>
                  <a:pt x="2906" y="8446"/>
                </a:moveTo>
                <a:lnTo>
                  <a:pt x="2912" y="8449"/>
                </a:lnTo>
                <a:lnTo>
                  <a:pt x="2930" y="8458"/>
                </a:lnTo>
                <a:lnTo>
                  <a:pt x="2959" y="8472"/>
                </a:lnTo>
                <a:lnTo>
                  <a:pt x="2999" y="8491"/>
                </a:lnTo>
                <a:lnTo>
                  <a:pt x="3046" y="8515"/>
                </a:lnTo>
                <a:lnTo>
                  <a:pt x="3102" y="8542"/>
                </a:lnTo>
                <a:lnTo>
                  <a:pt x="3163" y="8572"/>
                </a:lnTo>
                <a:lnTo>
                  <a:pt x="3231" y="8606"/>
                </a:lnTo>
                <a:lnTo>
                  <a:pt x="3303" y="8641"/>
                </a:lnTo>
                <a:lnTo>
                  <a:pt x="3379" y="8677"/>
                </a:lnTo>
                <a:lnTo>
                  <a:pt x="3456" y="8714"/>
                </a:lnTo>
                <a:lnTo>
                  <a:pt x="3536" y="8751"/>
                </a:lnTo>
                <a:lnTo>
                  <a:pt x="3615" y="8789"/>
                </a:lnTo>
                <a:lnTo>
                  <a:pt x="3694" y="8826"/>
                </a:lnTo>
                <a:lnTo>
                  <a:pt x="3771" y="8860"/>
                </a:lnTo>
                <a:lnTo>
                  <a:pt x="3844" y="8893"/>
                </a:lnTo>
                <a:lnTo>
                  <a:pt x="3880" y="8910"/>
                </a:lnTo>
                <a:lnTo>
                  <a:pt x="3913" y="8926"/>
                </a:lnTo>
                <a:lnTo>
                  <a:pt x="3944" y="8941"/>
                </a:lnTo>
                <a:lnTo>
                  <a:pt x="3975" y="8956"/>
                </a:lnTo>
                <a:lnTo>
                  <a:pt x="4030" y="8986"/>
                </a:lnTo>
                <a:lnTo>
                  <a:pt x="4080" y="9016"/>
                </a:lnTo>
                <a:lnTo>
                  <a:pt x="4123" y="9044"/>
                </a:lnTo>
                <a:lnTo>
                  <a:pt x="4162" y="9070"/>
                </a:lnTo>
                <a:lnTo>
                  <a:pt x="4195" y="9095"/>
                </a:lnTo>
                <a:lnTo>
                  <a:pt x="4223" y="9118"/>
                </a:lnTo>
                <a:lnTo>
                  <a:pt x="4248" y="9139"/>
                </a:lnTo>
                <a:lnTo>
                  <a:pt x="4267" y="9157"/>
                </a:lnTo>
                <a:lnTo>
                  <a:pt x="4283" y="9174"/>
                </a:lnTo>
                <a:lnTo>
                  <a:pt x="4295" y="9187"/>
                </a:lnTo>
                <a:lnTo>
                  <a:pt x="4309" y="9207"/>
                </a:lnTo>
                <a:lnTo>
                  <a:pt x="4314" y="9214"/>
                </a:lnTo>
                <a:lnTo>
                  <a:pt x="4308" y="9226"/>
                </a:lnTo>
                <a:lnTo>
                  <a:pt x="4292" y="9261"/>
                </a:lnTo>
                <a:lnTo>
                  <a:pt x="4281" y="9288"/>
                </a:lnTo>
                <a:lnTo>
                  <a:pt x="4269" y="9320"/>
                </a:lnTo>
                <a:lnTo>
                  <a:pt x="4256" y="9356"/>
                </a:lnTo>
                <a:lnTo>
                  <a:pt x="4241" y="9398"/>
                </a:lnTo>
                <a:lnTo>
                  <a:pt x="4225" y="9444"/>
                </a:lnTo>
                <a:lnTo>
                  <a:pt x="4210" y="9495"/>
                </a:lnTo>
                <a:lnTo>
                  <a:pt x="4194" y="9549"/>
                </a:lnTo>
                <a:lnTo>
                  <a:pt x="4179" y="9609"/>
                </a:lnTo>
                <a:lnTo>
                  <a:pt x="4165" y="9672"/>
                </a:lnTo>
                <a:lnTo>
                  <a:pt x="4151" y="9739"/>
                </a:lnTo>
                <a:lnTo>
                  <a:pt x="4139" y="9810"/>
                </a:lnTo>
                <a:lnTo>
                  <a:pt x="4127" y="9883"/>
                </a:lnTo>
                <a:lnTo>
                  <a:pt x="4118" y="9960"/>
                </a:lnTo>
                <a:lnTo>
                  <a:pt x="4111" y="10040"/>
                </a:lnTo>
                <a:lnTo>
                  <a:pt x="4107" y="10123"/>
                </a:lnTo>
                <a:lnTo>
                  <a:pt x="4106" y="10209"/>
                </a:lnTo>
                <a:lnTo>
                  <a:pt x="4107" y="10297"/>
                </a:lnTo>
                <a:lnTo>
                  <a:pt x="4112" y="10387"/>
                </a:lnTo>
                <a:lnTo>
                  <a:pt x="4121" y="10478"/>
                </a:lnTo>
                <a:lnTo>
                  <a:pt x="4134" y="10572"/>
                </a:lnTo>
                <a:lnTo>
                  <a:pt x="4152" y="10668"/>
                </a:lnTo>
                <a:lnTo>
                  <a:pt x="4173" y="10765"/>
                </a:lnTo>
                <a:lnTo>
                  <a:pt x="4200" y="10864"/>
                </a:lnTo>
                <a:lnTo>
                  <a:pt x="4232" y="10963"/>
                </a:lnTo>
                <a:lnTo>
                  <a:pt x="4270" y="11064"/>
                </a:lnTo>
                <a:lnTo>
                  <a:pt x="4314" y="11165"/>
                </a:lnTo>
                <a:lnTo>
                  <a:pt x="4364" y="11266"/>
                </a:lnTo>
                <a:lnTo>
                  <a:pt x="4420" y="11368"/>
                </a:lnTo>
                <a:lnTo>
                  <a:pt x="4481" y="11467"/>
                </a:lnTo>
                <a:lnTo>
                  <a:pt x="4544" y="11559"/>
                </a:lnTo>
                <a:lnTo>
                  <a:pt x="4605" y="11645"/>
                </a:lnTo>
                <a:lnTo>
                  <a:pt x="4669" y="11724"/>
                </a:lnTo>
                <a:lnTo>
                  <a:pt x="4734" y="11798"/>
                </a:lnTo>
                <a:lnTo>
                  <a:pt x="4798" y="11864"/>
                </a:lnTo>
                <a:lnTo>
                  <a:pt x="4864" y="11926"/>
                </a:lnTo>
                <a:lnTo>
                  <a:pt x="4930" y="11982"/>
                </a:lnTo>
                <a:lnTo>
                  <a:pt x="4996" y="12031"/>
                </a:lnTo>
                <a:lnTo>
                  <a:pt x="5061" y="12075"/>
                </a:lnTo>
                <a:lnTo>
                  <a:pt x="5127" y="12115"/>
                </a:lnTo>
                <a:lnTo>
                  <a:pt x="5192" y="12149"/>
                </a:lnTo>
                <a:lnTo>
                  <a:pt x="5256" y="12179"/>
                </a:lnTo>
                <a:lnTo>
                  <a:pt x="5321" y="12203"/>
                </a:lnTo>
                <a:lnTo>
                  <a:pt x="5385" y="12223"/>
                </a:lnTo>
                <a:lnTo>
                  <a:pt x="5448" y="12238"/>
                </a:lnTo>
                <a:lnTo>
                  <a:pt x="5510" y="12249"/>
                </a:lnTo>
                <a:lnTo>
                  <a:pt x="5571" y="12255"/>
                </a:lnTo>
                <a:lnTo>
                  <a:pt x="5630" y="12258"/>
                </a:lnTo>
                <a:lnTo>
                  <a:pt x="5689" y="12256"/>
                </a:lnTo>
                <a:lnTo>
                  <a:pt x="5746" y="12251"/>
                </a:lnTo>
                <a:lnTo>
                  <a:pt x="5801" y="12242"/>
                </a:lnTo>
                <a:lnTo>
                  <a:pt x="5855" y="12230"/>
                </a:lnTo>
                <a:lnTo>
                  <a:pt x="5907" y="12215"/>
                </a:lnTo>
                <a:lnTo>
                  <a:pt x="5957" y="12196"/>
                </a:lnTo>
                <a:lnTo>
                  <a:pt x="6004" y="12173"/>
                </a:lnTo>
                <a:lnTo>
                  <a:pt x="6049" y="12149"/>
                </a:lnTo>
                <a:lnTo>
                  <a:pt x="6091" y="12122"/>
                </a:lnTo>
                <a:lnTo>
                  <a:pt x="6131" y="12092"/>
                </a:lnTo>
                <a:lnTo>
                  <a:pt x="6169" y="12059"/>
                </a:lnTo>
                <a:lnTo>
                  <a:pt x="6203" y="12024"/>
                </a:lnTo>
                <a:lnTo>
                  <a:pt x="6236" y="11988"/>
                </a:lnTo>
                <a:lnTo>
                  <a:pt x="6292" y="11913"/>
                </a:lnTo>
                <a:lnTo>
                  <a:pt x="6346" y="11843"/>
                </a:lnTo>
                <a:lnTo>
                  <a:pt x="6393" y="11776"/>
                </a:lnTo>
                <a:lnTo>
                  <a:pt x="6437" y="11714"/>
                </a:lnTo>
                <a:lnTo>
                  <a:pt x="6456" y="11684"/>
                </a:lnTo>
                <a:lnTo>
                  <a:pt x="6475" y="11654"/>
                </a:lnTo>
                <a:lnTo>
                  <a:pt x="6492" y="11626"/>
                </a:lnTo>
                <a:lnTo>
                  <a:pt x="6508" y="11599"/>
                </a:lnTo>
                <a:lnTo>
                  <a:pt x="6524" y="11572"/>
                </a:lnTo>
                <a:lnTo>
                  <a:pt x="6538" y="11546"/>
                </a:lnTo>
                <a:lnTo>
                  <a:pt x="6551" y="11521"/>
                </a:lnTo>
                <a:lnTo>
                  <a:pt x="6563" y="11497"/>
                </a:lnTo>
                <a:lnTo>
                  <a:pt x="6574" y="11473"/>
                </a:lnTo>
                <a:lnTo>
                  <a:pt x="6584" y="11450"/>
                </a:lnTo>
                <a:lnTo>
                  <a:pt x="6593" y="11428"/>
                </a:lnTo>
                <a:lnTo>
                  <a:pt x="6600" y="11407"/>
                </a:lnTo>
                <a:lnTo>
                  <a:pt x="6607" y="11386"/>
                </a:lnTo>
                <a:lnTo>
                  <a:pt x="6614" y="11365"/>
                </a:lnTo>
                <a:lnTo>
                  <a:pt x="6619" y="11346"/>
                </a:lnTo>
                <a:lnTo>
                  <a:pt x="6623" y="11327"/>
                </a:lnTo>
                <a:lnTo>
                  <a:pt x="6625" y="11309"/>
                </a:lnTo>
                <a:lnTo>
                  <a:pt x="6627" y="11292"/>
                </a:lnTo>
                <a:lnTo>
                  <a:pt x="6628" y="11274"/>
                </a:lnTo>
                <a:lnTo>
                  <a:pt x="6629" y="11258"/>
                </a:lnTo>
                <a:lnTo>
                  <a:pt x="6628" y="11242"/>
                </a:lnTo>
                <a:lnTo>
                  <a:pt x="6626" y="11227"/>
                </a:lnTo>
                <a:lnTo>
                  <a:pt x="6623" y="11212"/>
                </a:lnTo>
                <a:lnTo>
                  <a:pt x="6620" y="11198"/>
                </a:lnTo>
                <a:lnTo>
                  <a:pt x="6613" y="11170"/>
                </a:lnTo>
                <a:lnTo>
                  <a:pt x="6606" y="11142"/>
                </a:lnTo>
                <a:lnTo>
                  <a:pt x="6601" y="11115"/>
                </a:lnTo>
                <a:lnTo>
                  <a:pt x="6598" y="11089"/>
                </a:lnTo>
                <a:lnTo>
                  <a:pt x="6595" y="11062"/>
                </a:lnTo>
                <a:lnTo>
                  <a:pt x="6594" y="11038"/>
                </a:lnTo>
                <a:lnTo>
                  <a:pt x="6593" y="11015"/>
                </a:lnTo>
                <a:lnTo>
                  <a:pt x="6592" y="10993"/>
                </a:lnTo>
                <a:lnTo>
                  <a:pt x="6593" y="10954"/>
                </a:lnTo>
                <a:lnTo>
                  <a:pt x="6595" y="10925"/>
                </a:lnTo>
                <a:lnTo>
                  <a:pt x="6597" y="10906"/>
                </a:lnTo>
                <a:lnTo>
                  <a:pt x="6598" y="10899"/>
                </a:lnTo>
                <a:lnTo>
                  <a:pt x="7004" y="11176"/>
                </a:lnTo>
                <a:lnTo>
                  <a:pt x="7005" y="11190"/>
                </a:lnTo>
                <a:lnTo>
                  <a:pt x="7008" y="11226"/>
                </a:lnTo>
                <a:lnTo>
                  <a:pt x="7011" y="11286"/>
                </a:lnTo>
                <a:lnTo>
                  <a:pt x="7015" y="11363"/>
                </a:lnTo>
                <a:lnTo>
                  <a:pt x="7018" y="11457"/>
                </a:lnTo>
                <a:lnTo>
                  <a:pt x="7020" y="11567"/>
                </a:lnTo>
                <a:lnTo>
                  <a:pt x="7019" y="11626"/>
                </a:lnTo>
                <a:lnTo>
                  <a:pt x="7018" y="11689"/>
                </a:lnTo>
                <a:lnTo>
                  <a:pt x="7017" y="11753"/>
                </a:lnTo>
                <a:lnTo>
                  <a:pt x="7015" y="11819"/>
                </a:lnTo>
                <a:lnTo>
                  <a:pt x="7011" y="11888"/>
                </a:lnTo>
                <a:lnTo>
                  <a:pt x="7006" y="11957"/>
                </a:lnTo>
                <a:lnTo>
                  <a:pt x="7001" y="12029"/>
                </a:lnTo>
                <a:lnTo>
                  <a:pt x="6994" y="12101"/>
                </a:lnTo>
                <a:lnTo>
                  <a:pt x="6984" y="12173"/>
                </a:lnTo>
                <a:lnTo>
                  <a:pt x="6974" y="12246"/>
                </a:lnTo>
                <a:lnTo>
                  <a:pt x="6963" y="12319"/>
                </a:lnTo>
                <a:lnTo>
                  <a:pt x="6949" y="12392"/>
                </a:lnTo>
                <a:lnTo>
                  <a:pt x="6934" y="12463"/>
                </a:lnTo>
                <a:lnTo>
                  <a:pt x="6917" y="12535"/>
                </a:lnTo>
                <a:lnTo>
                  <a:pt x="6898" y="12605"/>
                </a:lnTo>
                <a:lnTo>
                  <a:pt x="6877" y="12674"/>
                </a:lnTo>
                <a:lnTo>
                  <a:pt x="6853" y="12740"/>
                </a:lnTo>
                <a:lnTo>
                  <a:pt x="6828" y="12805"/>
                </a:lnTo>
                <a:lnTo>
                  <a:pt x="6799" y="12866"/>
                </a:lnTo>
                <a:lnTo>
                  <a:pt x="6769" y="12926"/>
                </a:lnTo>
                <a:lnTo>
                  <a:pt x="6735" y="12985"/>
                </a:lnTo>
                <a:lnTo>
                  <a:pt x="6695" y="13042"/>
                </a:lnTo>
                <a:lnTo>
                  <a:pt x="6653" y="13100"/>
                </a:lnTo>
                <a:lnTo>
                  <a:pt x="6605" y="13157"/>
                </a:lnTo>
                <a:lnTo>
                  <a:pt x="6555" y="13215"/>
                </a:lnTo>
                <a:lnTo>
                  <a:pt x="6500" y="13271"/>
                </a:lnTo>
                <a:lnTo>
                  <a:pt x="6443" y="13325"/>
                </a:lnTo>
                <a:lnTo>
                  <a:pt x="6381" y="13379"/>
                </a:lnTo>
                <a:lnTo>
                  <a:pt x="6317" y="13431"/>
                </a:lnTo>
                <a:lnTo>
                  <a:pt x="6251" y="13481"/>
                </a:lnTo>
                <a:lnTo>
                  <a:pt x="6181" y="13529"/>
                </a:lnTo>
                <a:lnTo>
                  <a:pt x="6109" y="13575"/>
                </a:lnTo>
                <a:lnTo>
                  <a:pt x="6034" y="13618"/>
                </a:lnTo>
                <a:lnTo>
                  <a:pt x="5959" y="13659"/>
                </a:lnTo>
                <a:lnTo>
                  <a:pt x="5880" y="13697"/>
                </a:lnTo>
                <a:lnTo>
                  <a:pt x="5800" y="13731"/>
                </a:lnTo>
                <a:lnTo>
                  <a:pt x="5719" y="13762"/>
                </a:lnTo>
                <a:lnTo>
                  <a:pt x="5636" y="13791"/>
                </a:lnTo>
                <a:lnTo>
                  <a:pt x="5552" y="13814"/>
                </a:lnTo>
                <a:lnTo>
                  <a:pt x="5468" y="13834"/>
                </a:lnTo>
                <a:lnTo>
                  <a:pt x="5384" y="13849"/>
                </a:lnTo>
                <a:lnTo>
                  <a:pt x="5299" y="13860"/>
                </a:lnTo>
                <a:lnTo>
                  <a:pt x="5213" y="13867"/>
                </a:lnTo>
                <a:lnTo>
                  <a:pt x="5127" y="13869"/>
                </a:lnTo>
                <a:lnTo>
                  <a:pt x="5041" y="13864"/>
                </a:lnTo>
                <a:lnTo>
                  <a:pt x="4956" y="13855"/>
                </a:lnTo>
                <a:lnTo>
                  <a:pt x="4871" y="13840"/>
                </a:lnTo>
                <a:lnTo>
                  <a:pt x="4787" y="13819"/>
                </a:lnTo>
                <a:lnTo>
                  <a:pt x="4704" y="13793"/>
                </a:lnTo>
                <a:lnTo>
                  <a:pt x="4623" y="13759"/>
                </a:lnTo>
                <a:lnTo>
                  <a:pt x="4543" y="13719"/>
                </a:lnTo>
                <a:lnTo>
                  <a:pt x="4464" y="13673"/>
                </a:lnTo>
                <a:lnTo>
                  <a:pt x="4386" y="13621"/>
                </a:lnTo>
                <a:lnTo>
                  <a:pt x="4308" y="13566"/>
                </a:lnTo>
                <a:lnTo>
                  <a:pt x="4231" y="13508"/>
                </a:lnTo>
                <a:lnTo>
                  <a:pt x="4156" y="13447"/>
                </a:lnTo>
                <a:lnTo>
                  <a:pt x="4080" y="13383"/>
                </a:lnTo>
                <a:lnTo>
                  <a:pt x="4005" y="13316"/>
                </a:lnTo>
                <a:lnTo>
                  <a:pt x="3932" y="13247"/>
                </a:lnTo>
                <a:lnTo>
                  <a:pt x="3860" y="13175"/>
                </a:lnTo>
                <a:lnTo>
                  <a:pt x="3788" y="13101"/>
                </a:lnTo>
                <a:lnTo>
                  <a:pt x="3718" y="13024"/>
                </a:lnTo>
                <a:lnTo>
                  <a:pt x="3649" y="12945"/>
                </a:lnTo>
                <a:lnTo>
                  <a:pt x="3582" y="12864"/>
                </a:lnTo>
                <a:lnTo>
                  <a:pt x="3516" y="12782"/>
                </a:lnTo>
                <a:lnTo>
                  <a:pt x="3452" y="12698"/>
                </a:lnTo>
                <a:lnTo>
                  <a:pt x="3390" y="12611"/>
                </a:lnTo>
                <a:lnTo>
                  <a:pt x="3330" y="12523"/>
                </a:lnTo>
                <a:lnTo>
                  <a:pt x="3271" y="12434"/>
                </a:lnTo>
                <a:lnTo>
                  <a:pt x="3215" y="12343"/>
                </a:lnTo>
                <a:lnTo>
                  <a:pt x="3160" y="12252"/>
                </a:lnTo>
                <a:lnTo>
                  <a:pt x="3108" y="12159"/>
                </a:lnTo>
                <a:lnTo>
                  <a:pt x="3058" y="12065"/>
                </a:lnTo>
                <a:lnTo>
                  <a:pt x="3011" y="11970"/>
                </a:lnTo>
                <a:lnTo>
                  <a:pt x="2966" y="11875"/>
                </a:lnTo>
                <a:lnTo>
                  <a:pt x="2924" y="11780"/>
                </a:lnTo>
                <a:lnTo>
                  <a:pt x="2884" y="11684"/>
                </a:lnTo>
                <a:lnTo>
                  <a:pt x="2848" y="11587"/>
                </a:lnTo>
                <a:lnTo>
                  <a:pt x="2814" y="11490"/>
                </a:lnTo>
                <a:lnTo>
                  <a:pt x="2783" y="11393"/>
                </a:lnTo>
                <a:lnTo>
                  <a:pt x="2755" y="11296"/>
                </a:lnTo>
                <a:lnTo>
                  <a:pt x="2731" y="11199"/>
                </a:lnTo>
                <a:lnTo>
                  <a:pt x="2709" y="11102"/>
                </a:lnTo>
                <a:lnTo>
                  <a:pt x="2692" y="11006"/>
                </a:lnTo>
                <a:lnTo>
                  <a:pt x="2677" y="10910"/>
                </a:lnTo>
                <a:lnTo>
                  <a:pt x="2663" y="10815"/>
                </a:lnTo>
                <a:lnTo>
                  <a:pt x="2651" y="10721"/>
                </a:lnTo>
                <a:lnTo>
                  <a:pt x="2641" y="10627"/>
                </a:lnTo>
                <a:lnTo>
                  <a:pt x="2631" y="10535"/>
                </a:lnTo>
                <a:lnTo>
                  <a:pt x="2624" y="10443"/>
                </a:lnTo>
                <a:lnTo>
                  <a:pt x="2617" y="10353"/>
                </a:lnTo>
                <a:lnTo>
                  <a:pt x="2611" y="10263"/>
                </a:lnTo>
                <a:lnTo>
                  <a:pt x="2607" y="10176"/>
                </a:lnTo>
                <a:lnTo>
                  <a:pt x="2604" y="10091"/>
                </a:lnTo>
                <a:lnTo>
                  <a:pt x="2602" y="10006"/>
                </a:lnTo>
                <a:lnTo>
                  <a:pt x="2601" y="9924"/>
                </a:lnTo>
                <a:lnTo>
                  <a:pt x="2601" y="9843"/>
                </a:lnTo>
                <a:lnTo>
                  <a:pt x="2602" y="9764"/>
                </a:lnTo>
                <a:lnTo>
                  <a:pt x="2604" y="9687"/>
                </a:lnTo>
                <a:lnTo>
                  <a:pt x="2606" y="9614"/>
                </a:lnTo>
                <a:lnTo>
                  <a:pt x="2609" y="9542"/>
                </a:lnTo>
                <a:lnTo>
                  <a:pt x="2613" y="9472"/>
                </a:lnTo>
                <a:lnTo>
                  <a:pt x="2619" y="9406"/>
                </a:lnTo>
                <a:lnTo>
                  <a:pt x="2624" y="9342"/>
                </a:lnTo>
                <a:lnTo>
                  <a:pt x="2630" y="9280"/>
                </a:lnTo>
                <a:lnTo>
                  <a:pt x="2636" y="9223"/>
                </a:lnTo>
                <a:lnTo>
                  <a:pt x="2643" y="9167"/>
                </a:lnTo>
                <a:lnTo>
                  <a:pt x="2650" y="9116"/>
                </a:lnTo>
                <a:lnTo>
                  <a:pt x="2657" y="9067"/>
                </a:lnTo>
                <a:lnTo>
                  <a:pt x="2665" y="9022"/>
                </a:lnTo>
                <a:lnTo>
                  <a:pt x="2673" y="8980"/>
                </a:lnTo>
                <a:lnTo>
                  <a:pt x="2681" y="8942"/>
                </a:lnTo>
                <a:lnTo>
                  <a:pt x="2689" y="8909"/>
                </a:lnTo>
                <a:lnTo>
                  <a:pt x="2697" y="8878"/>
                </a:lnTo>
                <a:lnTo>
                  <a:pt x="2705" y="8852"/>
                </a:lnTo>
                <a:lnTo>
                  <a:pt x="2714" y="8830"/>
                </a:lnTo>
                <a:lnTo>
                  <a:pt x="2730" y="8790"/>
                </a:lnTo>
                <a:lnTo>
                  <a:pt x="2746" y="8752"/>
                </a:lnTo>
                <a:lnTo>
                  <a:pt x="2763" y="8715"/>
                </a:lnTo>
                <a:lnTo>
                  <a:pt x="2779" y="8679"/>
                </a:lnTo>
                <a:lnTo>
                  <a:pt x="2812" y="8615"/>
                </a:lnTo>
                <a:lnTo>
                  <a:pt x="2842" y="8557"/>
                </a:lnTo>
                <a:lnTo>
                  <a:pt x="2867" y="8511"/>
                </a:lnTo>
                <a:lnTo>
                  <a:pt x="2887" y="8475"/>
                </a:lnTo>
                <a:lnTo>
                  <a:pt x="2900" y="8453"/>
                </a:lnTo>
                <a:lnTo>
                  <a:pt x="2906" y="8446"/>
                </a:lnTo>
                <a:close/>
                <a:moveTo>
                  <a:pt x="2372" y="8211"/>
                </a:moveTo>
                <a:lnTo>
                  <a:pt x="2368" y="8217"/>
                </a:lnTo>
                <a:lnTo>
                  <a:pt x="2356" y="8233"/>
                </a:lnTo>
                <a:lnTo>
                  <a:pt x="2338" y="8260"/>
                </a:lnTo>
                <a:lnTo>
                  <a:pt x="2314" y="8298"/>
                </a:lnTo>
                <a:lnTo>
                  <a:pt x="2300" y="8322"/>
                </a:lnTo>
                <a:lnTo>
                  <a:pt x="2286" y="8348"/>
                </a:lnTo>
                <a:lnTo>
                  <a:pt x="2270" y="8376"/>
                </a:lnTo>
                <a:lnTo>
                  <a:pt x="2254" y="8408"/>
                </a:lnTo>
                <a:lnTo>
                  <a:pt x="2237" y="8442"/>
                </a:lnTo>
                <a:lnTo>
                  <a:pt x="2219" y="8478"/>
                </a:lnTo>
                <a:lnTo>
                  <a:pt x="2201" y="8519"/>
                </a:lnTo>
                <a:lnTo>
                  <a:pt x="2183" y="8560"/>
                </a:lnTo>
                <a:lnTo>
                  <a:pt x="2164" y="8606"/>
                </a:lnTo>
                <a:lnTo>
                  <a:pt x="2146" y="8653"/>
                </a:lnTo>
                <a:lnTo>
                  <a:pt x="2126" y="8703"/>
                </a:lnTo>
                <a:lnTo>
                  <a:pt x="2108" y="8756"/>
                </a:lnTo>
                <a:lnTo>
                  <a:pt x="2090" y="8812"/>
                </a:lnTo>
                <a:lnTo>
                  <a:pt x="2072" y="8869"/>
                </a:lnTo>
                <a:lnTo>
                  <a:pt x="2055" y="8931"/>
                </a:lnTo>
                <a:lnTo>
                  <a:pt x="2038" y="8993"/>
                </a:lnTo>
                <a:lnTo>
                  <a:pt x="2023" y="9060"/>
                </a:lnTo>
                <a:lnTo>
                  <a:pt x="2008" y="9129"/>
                </a:lnTo>
                <a:lnTo>
                  <a:pt x="1994" y="9201"/>
                </a:lnTo>
                <a:lnTo>
                  <a:pt x="1982" y="9274"/>
                </a:lnTo>
                <a:lnTo>
                  <a:pt x="1970" y="9352"/>
                </a:lnTo>
                <a:lnTo>
                  <a:pt x="1961" y="9431"/>
                </a:lnTo>
                <a:lnTo>
                  <a:pt x="1952" y="9513"/>
                </a:lnTo>
                <a:lnTo>
                  <a:pt x="1945" y="9598"/>
                </a:lnTo>
                <a:lnTo>
                  <a:pt x="1940" y="9684"/>
                </a:lnTo>
                <a:lnTo>
                  <a:pt x="1939" y="9772"/>
                </a:lnTo>
                <a:lnTo>
                  <a:pt x="1940" y="9862"/>
                </a:lnTo>
                <a:lnTo>
                  <a:pt x="1944" y="9952"/>
                </a:lnTo>
                <a:lnTo>
                  <a:pt x="1951" y="10042"/>
                </a:lnTo>
                <a:lnTo>
                  <a:pt x="1959" y="10133"/>
                </a:lnTo>
                <a:lnTo>
                  <a:pt x="1969" y="10224"/>
                </a:lnTo>
                <a:lnTo>
                  <a:pt x="1981" y="10315"/>
                </a:lnTo>
                <a:lnTo>
                  <a:pt x="1995" y="10405"/>
                </a:lnTo>
                <a:lnTo>
                  <a:pt x="2010" y="10495"/>
                </a:lnTo>
                <a:lnTo>
                  <a:pt x="2027" y="10582"/>
                </a:lnTo>
                <a:lnTo>
                  <a:pt x="2046" y="10669"/>
                </a:lnTo>
                <a:lnTo>
                  <a:pt x="2064" y="10754"/>
                </a:lnTo>
                <a:lnTo>
                  <a:pt x="2083" y="10838"/>
                </a:lnTo>
                <a:lnTo>
                  <a:pt x="2103" y="10919"/>
                </a:lnTo>
                <a:lnTo>
                  <a:pt x="2123" y="10998"/>
                </a:lnTo>
                <a:lnTo>
                  <a:pt x="2145" y="11074"/>
                </a:lnTo>
                <a:lnTo>
                  <a:pt x="2165" y="11147"/>
                </a:lnTo>
                <a:lnTo>
                  <a:pt x="2185" y="11217"/>
                </a:lnTo>
                <a:lnTo>
                  <a:pt x="2205" y="11284"/>
                </a:lnTo>
                <a:lnTo>
                  <a:pt x="2224" y="11346"/>
                </a:lnTo>
                <a:lnTo>
                  <a:pt x="2244" y="11405"/>
                </a:lnTo>
                <a:lnTo>
                  <a:pt x="2261" y="11459"/>
                </a:lnTo>
                <a:lnTo>
                  <a:pt x="2278" y="11509"/>
                </a:lnTo>
                <a:lnTo>
                  <a:pt x="2307" y="11594"/>
                </a:lnTo>
                <a:lnTo>
                  <a:pt x="2331" y="11656"/>
                </a:lnTo>
                <a:lnTo>
                  <a:pt x="2346" y="11697"/>
                </a:lnTo>
                <a:lnTo>
                  <a:pt x="2351" y="11710"/>
                </a:lnTo>
                <a:lnTo>
                  <a:pt x="2335" y="11704"/>
                </a:lnTo>
                <a:lnTo>
                  <a:pt x="2288" y="11686"/>
                </a:lnTo>
                <a:lnTo>
                  <a:pt x="2255" y="11672"/>
                </a:lnTo>
                <a:lnTo>
                  <a:pt x="2215" y="11656"/>
                </a:lnTo>
                <a:lnTo>
                  <a:pt x="2170" y="11637"/>
                </a:lnTo>
                <a:lnTo>
                  <a:pt x="2119" y="11615"/>
                </a:lnTo>
                <a:lnTo>
                  <a:pt x="2064" y="11591"/>
                </a:lnTo>
                <a:lnTo>
                  <a:pt x="2003" y="11562"/>
                </a:lnTo>
                <a:lnTo>
                  <a:pt x="1938" y="11532"/>
                </a:lnTo>
                <a:lnTo>
                  <a:pt x="1871" y="11499"/>
                </a:lnTo>
                <a:lnTo>
                  <a:pt x="1800" y="11462"/>
                </a:lnTo>
                <a:lnTo>
                  <a:pt x="1726" y="11423"/>
                </a:lnTo>
                <a:lnTo>
                  <a:pt x="1649" y="11382"/>
                </a:lnTo>
                <a:lnTo>
                  <a:pt x="1572" y="11336"/>
                </a:lnTo>
                <a:lnTo>
                  <a:pt x="1492" y="11290"/>
                </a:lnTo>
                <a:lnTo>
                  <a:pt x="1411" y="11239"/>
                </a:lnTo>
                <a:lnTo>
                  <a:pt x="1329" y="11187"/>
                </a:lnTo>
                <a:lnTo>
                  <a:pt x="1248" y="11131"/>
                </a:lnTo>
                <a:lnTo>
                  <a:pt x="1166" y="11072"/>
                </a:lnTo>
                <a:lnTo>
                  <a:pt x="1085" y="11012"/>
                </a:lnTo>
                <a:lnTo>
                  <a:pt x="1006" y="10948"/>
                </a:lnTo>
                <a:lnTo>
                  <a:pt x="928" y="10881"/>
                </a:lnTo>
                <a:lnTo>
                  <a:pt x="851" y="10813"/>
                </a:lnTo>
                <a:lnTo>
                  <a:pt x="777" y="10742"/>
                </a:lnTo>
                <a:lnTo>
                  <a:pt x="706" y="10667"/>
                </a:lnTo>
                <a:lnTo>
                  <a:pt x="639" y="10591"/>
                </a:lnTo>
                <a:lnTo>
                  <a:pt x="574" y="10512"/>
                </a:lnTo>
                <a:lnTo>
                  <a:pt x="514" y="10430"/>
                </a:lnTo>
                <a:lnTo>
                  <a:pt x="459" y="10346"/>
                </a:lnTo>
                <a:lnTo>
                  <a:pt x="408" y="10259"/>
                </a:lnTo>
                <a:lnTo>
                  <a:pt x="361" y="10171"/>
                </a:lnTo>
                <a:lnTo>
                  <a:pt x="316" y="10082"/>
                </a:lnTo>
                <a:lnTo>
                  <a:pt x="273" y="9994"/>
                </a:lnTo>
                <a:lnTo>
                  <a:pt x="232" y="9905"/>
                </a:lnTo>
                <a:lnTo>
                  <a:pt x="195" y="9817"/>
                </a:lnTo>
                <a:lnTo>
                  <a:pt x="160" y="9728"/>
                </a:lnTo>
                <a:lnTo>
                  <a:pt x="128" y="9641"/>
                </a:lnTo>
                <a:lnTo>
                  <a:pt x="99" y="9554"/>
                </a:lnTo>
                <a:lnTo>
                  <a:pt x="74" y="9468"/>
                </a:lnTo>
                <a:lnTo>
                  <a:pt x="52" y="9383"/>
                </a:lnTo>
                <a:lnTo>
                  <a:pt x="33" y="9300"/>
                </a:lnTo>
                <a:lnTo>
                  <a:pt x="18" y="9218"/>
                </a:lnTo>
                <a:lnTo>
                  <a:pt x="8" y="9137"/>
                </a:lnTo>
                <a:lnTo>
                  <a:pt x="2" y="9058"/>
                </a:lnTo>
                <a:lnTo>
                  <a:pt x="0" y="8981"/>
                </a:lnTo>
                <a:lnTo>
                  <a:pt x="3" y="8907"/>
                </a:lnTo>
                <a:lnTo>
                  <a:pt x="10" y="8835"/>
                </a:lnTo>
                <a:lnTo>
                  <a:pt x="22" y="8765"/>
                </a:lnTo>
                <a:lnTo>
                  <a:pt x="39" y="8698"/>
                </a:lnTo>
                <a:lnTo>
                  <a:pt x="63" y="8633"/>
                </a:lnTo>
                <a:lnTo>
                  <a:pt x="91" y="8572"/>
                </a:lnTo>
                <a:lnTo>
                  <a:pt x="124" y="8514"/>
                </a:lnTo>
                <a:lnTo>
                  <a:pt x="165" y="8459"/>
                </a:lnTo>
                <a:lnTo>
                  <a:pt x="210" y="8408"/>
                </a:lnTo>
                <a:lnTo>
                  <a:pt x="262" y="8360"/>
                </a:lnTo>
                <a:lnTo>
                  <a:pt x="320" y="8317"/>
                </a:lnTo>
                <a:lnTo>
                  <a:pt x="385" y="8277"/>
                </a:lnTo>
                <a:lnTo>
                  <a:pt x="457" y="8242"/>
                </a:lnTo>
                <a:lnTo>
                  <a:pt x="535" y="8212"/>
                </a:lnTo>
                <a:lnTo>
                  <a:pt x="621" y="8185"/>
                </a:lnTo>
                <a:lnTo>
                  <a:pt x="714" y="8163"/>
                </a:lnTo>
                <a:lnTo>
                  <a:pt x="814" y="8147"/>
                </a:lnTo>
                <a:lnTo>
                  <a:pt x="916" y="8134"/>
                </a:lnTo>
                <a:lnTo>
                  <a:pt x="1014" y="8123"/>
                </a:lnTo>
                <a:lnTo>
                  <a:pt x="1109" y="8114"/>
                </a:lnTo>
                <a:lnTo>
                  <a:pt x="1200" y="8107"/>
                </a:lnTo>
                <a:lnTo>
                  <a:pt x="1287" y="8102"/>
                </a:lnTo>
                <a:lnTo>
                  <a:pt x="1369" y="8097"/>
                </a:lnTo>
                <a:lnTo>
                  <a:pt x="1449" y="8095"/>
                </a:lnTo>
                <a:lnTo>
                  <a:pt x="1525" y="8093"/>
                </a:lnTo>
                <a:lnTo>
                  <a:pt x="1598" y="8094"/>
                </a:lnTo>
                <a:lnTo>
                  <a:pt x="1667" y="8095"/>
                </a:lnTo>
                <a:lnTo>
                  <a:pt x="1732" y="8098"/>
                </a:lnTo>
                <a:lnTo>
                  <a:pt x="1795" y="8102"/>
                </a:lnTo>
                <a:lnTo>
                  <a:pt x="1852" y="8106"/>
                </a:lnTo>
                <a:lnTo>
                  <a:pt x="1908" y="8111"/>
                </a:lnTo>
                <a:lnTo>
                  <a:pt x="1961" y="8117"/>
                </a:lnTo>
                <a:lnTo>
                  <a:pt x="2009" y="8123"/>
                </a:lnTo>
                <a:lnTo>
                  <a:pt x="2055" y="8130"/>
                </a:lnTo>
                <a:lnTo>
                  <a:pt x="2096" y="8137"/>
                </a:lnTo>
                <a:lnTo>
                  <a:pt x="2135" y="8144"/>
                </a:lnTo>
                <a:lnTo>
                  <a:pt x="2172" y="8151"/>
                </a:lnTo>
                <a:lnTo>
                  <a:pt x="2204" y="8159"/>
                </a:lnTo>
                <a:lnTo>
                  <a:pt x="2233" y="8166"/>
                </a:lnTo>
                <a:lnTo>
                  <a:pt x="2261" y="8173"/>
                </a:lnTo>
                <a:lnTo>
                  <a:pt x="2284" y="8180"/>
                </a:lnTo>
                <a:lnTo>
                  <a:pt x="2323" y="8192"/>
                </a:lnTo>
                <a:lnTo>
                  <a:pt x="2351" y="8203"/>
                </a:lnTo>
                <a:lnTo>
                  <a:pt x="2367" y="8209"/>
                </a:lnTo>
                <a:lnTo>
                  <a:pt x="2372" y="8211"/>
                </a:lnTo>
                <a:close/>
                <a:moveTo>
                  <a:pt x="11913" y="11560"/>
                </a:moveTo>
                <a:lnTo>
                  <a:pt x="13685" y="11069"/>
                </a:lnTo>
                <a:lnTo>
                  <a:pt x="13682" y="11077"/>
                </a:lnTo>
                <a:lnTo>
                  <a:pt x="13676" y="11099"/>
                </a:lnTo>
                <a:lnTo>
                  <a:pt x="13666" y="11133"/>
                </a:lnTo>
                <a:lnTo>
                  <a:pt x="13652" y="11178"/>
                </a:lnTo>
                <a:lnTo>
                  <a:pt x="13632" y="11234"/>
                </a:lnTo>
                <a:lnTo>
                  <a:pt x="13609" y="11297"/>
                </a:lnTo>
                <a:lnTo>
                  <a:pt x="13596" y="11332"/>
                </a:lnTo>
                <a:lnTo>
                  <a:pt x="13581" y="11367"/>
                </a:lnTo>
                <a:lnTo>
                  <a:pt x="13566" y="11405"/>
                </a:lnTo>
                <a:lnTo>
                  <a:pt x="13548" y="11443"/>
                </a:lnTo>
                <a:lnTo>
                  <a:pt x="13530" y="11483"/>
                </a:lnTo>
                <a:lnTo>
                  <a:pt x="13511" y="11523"/>
                </a:lnTo>
                <a:lnTo>
                  <a:pt x="13490" y="11564"/>
                </a:lnTo>
                <a:lnTo>
                  <a:pt x="13469" y="11606"/>
                </a:lnTo>
                <a:lnTo>
                  <a:pt x="13445" y="11647"/>
                </a:lnTo>
                <a:lnTo>
                  <a:pt x="13421" y="11689"/>
                </a:lnTo>
                <a:lnTo>
                  <a:pt x="13396" y="11730"/>
                </a:lnTo>
                <a:lnTo>
                  <a:pt x="13370" y="11771"/>
                </a:lnTo>
                <a:lnTo>
                  <a:pt x="13341" y="11813"/>
                </a:lnTo>
                <a:lnTo>
                  <a:pt x="13312" y="11853"/>
                </a:lnTo>
                <a:lnTo>
                  <a:pt x="13281" y="11893"/>
                </a:lnTo>
                <a:lnTo>
                  <a:pt x="13249" y="11932"/>
                </a:lnTo>
                <a:lnTo>
                  <a:pt x="13216" y="11969"/>
                </a:lnTo>
                <a:lnTo>
                  <a:pt x="13182" y="12005"/>
                </a:lnTo>
                <a:lnTo>
                  <a:pt x="13145" y="12040"/>
                </a:lnTo>
                <a:lnTo>
                  <a:pt x="13108" y="12072"/>
                </a:lnTo>
                <a:lnTo>
                  <a:pt x="13070" y="12104"/>
                </a:lnTo>
                <a:lnTo>
                  <a:pt x="13032" y="12134"/>
                </a:lnTo>
                <a:lnTo>
                  <a:pt x="12995" y="12163"/>
                </a:lnTo>
                <a:lnTo>
                  <a:pt x="12957" y="12191"/>
                </a:lnTo>
                <a:lnTo>
                  <a:pt x="12921" y="12218"/>
                </a:lnTo>
                <a:lnTo>
                  <a:pt x="12884" y="12243"/>
                </a:lnTo>
                <a:lnTo>
                  <a:pt x="12849" y="12267"/>
                </a:lnTo>
                <a:lnTo>
                  <a:pt x="12814" y="12290"/>
                </a:lnTo>
                <a:lnTo>
                  <a:pt x="12779" y="12312"/>
                </a:lnTo>
                <a:lnTo>
                  <a:pt x="12745" y="12333"/>
                </a:lnTo>
                <a:lnTo>
                  <a:pt x="12712" y="12352"/>
                </a:lnTo>
                <a:lnTo>
                  <a:pt x="12680" y="12371"/>
                </a:lnTo>
                <a:lnTo>
                  <a:pt x="12619" y="12405"/>
                </a:lnTo>
                <a:lnTo>
                  <a:pt x="12561" y="12435"/>
                </a:lnTo>
                <a:lnTo>
                  <a:pt x="12509" y="12461"/>
                </a:lnTo>
                <a:lnTo>
                  <a:pt x="12461" y="12484"/>
                </a:lnTo>
                <a:lnTo>
                  <a:pt x="12420" y="12502"/>
                </a:lnTo>
                <a:lnTo>
                  <a:pt x="12384" y="12517"/>
                </a:lnTo>
                <a:lnTo>
                  <a:pt x="12356" y="12528"/>
                </a:lnTo>
                <a:lnTo>
                  <a:pt x="12336" y="12536"/>
                </a:lnTo>
                <a:lnTo>
                  <a:pt x="12323" y="12540"/>
                </a:lnTo>
                <a:lnTo>
                  <a:pt x="12319" y="12542"/>
                </a:lnTo>
                <a:lnTo>
                  <a:pt x="11422" y="12734"/>
                </a:lnTo>
                <a:lnTo>
                  <a:pt x="11425" y="12728"/>
                </a:lnTo>
                <a:lnTo>
                  <a:pt x="11435" y="12710"/>
                </a:lnTo>
                <a:lnTo>
                  <a:pt x="11451" y="12682"/>
                </a:lnTo>
                <a:lnTo>
                  <a:pt x="11473" y="12644"/>
                </a:lnTo>
                <a:lnTo>
                  <a:pt x="11498" y="12599"/>
                </a:lnTo>
                <a:lnTo>
                  <a:pt x="11525" y="12547"/>
                </a:lnTo>
                <a:lnTo>
                  <a:pt x="11555" y="12491"/>
                </a:lnTo>
                <a:lnTo>
                  <a:pt x="11588" y="12430"/>
                </a:lnTo>
                <a:lnTo>
                  <a:pt x="11619" y="12367"/>
                </a:lnTo>
                <a:lnTo>
                  <a:pt x="11651" y="12303"/>
                </a:lnTo>
                <a:lnTo>
                  <a:pt x="11682" y="12239"/>
                </a:lnTo>
                <a:lnTo>
                  <a:pt x="11710" y="12176"/>
                </a:lnTo>
                <a:lnTo>
                  <a:pt x="11723" y="12145"/>
                </a:lnTo>
                <a:lnTo>
                  <a:pt x="11735" y="12116"/>
                </a:lnTo>
                <a:lnTo>
                  <a:pt x="11746" y="12088"/>
                </a:lnTo>
                <a:lnTo>
                  <a:pt x="11757" y="12060"/>
                </a:lnTo>
                <a:lnTo>
                  <a:pt x="11766" y="12034"/>
                </a:lnTo>
                <a:lnTo>
                  <a:pt x="11774" y="12010"/>
                </a:lnTo>
                <a:lnTo>
                  <a:pt x="11780" y="11987"/>
                </a:lnTo>
                <a:lnTo>
                  <a:pt x="11785" y="11965"/>
                </a:lnTo>
                <a:lnTo>
                  <a:pt x="11793" y="11926"/>
                </a:lnTo>
                <a:lnTo>
                  <a:pt x="11802" y="11888"/>
                </a:lnTo>
                <a:lnTo>
                  <a:pt x="11812" y="11849"/>
                </a:lnTo>
                <a:lnTo>
                  <a:pt x="11822" y="11813"/>
                </a:lnTo>
                <a:lnTo>
                  <a:pt x="11833" y="11777"/>
                </a:lnTo>
                <a:lnTo>
                  <a:pt x="11844" y="11744"/>
                </a:lnTo>
                <a:lnTo>
                  <a:pt x="11855" y="11713"/>
                </a:lnTo>
                <a:lnTo>
                  <a:pt x="11865" y="11684"/>
                </a:lnTo>
                <a:lnTo>
                  <a:pt x="11884" y="11633"/>
                </a:lnTo>
                <a:lnTo>
                  <a:pt x="11899" y="11594"/>
                </a:lnTo>
                <a:lnTo>
                  <a:pt x="11909" y="11569"/>
                </a:lnTo>
                <a:lnTo>
                  <a:pt x="11913" y="11560"/>
                </a:lnTo>
                <a:close/>
                <a:moveTo>
                  <a:pt x="7622" y="11497"/>
                </a:moveTo>
                <a:lnTo>
                  <a:pt x="7633" y="11503"/>
                </a:lnTo>
                <a:lnTo>
                  <a:pt x="7663" y="11521"/>
                </a:lnTo>
                <a:lnTo>
                  <a:pt x="7710" y="11549"/>
                </a:lnTo>
                <a:lnTo>
                  <a:pt x="7775" y="11586"/>
                </a:lnTo>
                <a:lnTo>
                  <a:pt x="7812" y="11607"/>
                </a:lnTo>
                <a:lnTo>
                  <a:pt x="7854" y="11629"/>
                </a:lnTo>
                <a:lnTo>
                  <a:pt x="7899" y="11652"/>
                </a:lnTo>
                <a:lnTo>
                  <a:pt x="7947" y="11676"/>
                </a:lnTo>
                <a:lnTo>
                  <a:pt x="7998" y="11702"/>
                </a:lnTo>
                <a:lnTo>
                  <a:pt x="8052" y="11727"/>
                </a:lnTo>
                <a:lnTo>
                  <a:pt x="8108" y="11753"/>
                </a:lnTo>
                <a:lnTo>
                  <a:pt x="8167" y="11780"/>
                </a:lnTo>
                <a:lnTo>
                  <a:pt x="8227" y="11805"/>
                </a:lnTo>
                <a:lnTo>
                  <a:pt x="8291" y="11831"/>
                </a:lnTo>
                <a:lnTo>
                  <a:pt x="8356" y="11855"/>
                </a:lnTo>
                <a:lnTo>
                  <a:pt x="8423" y="11880"/>
                </a:lnTo>
                <a:lnTo>
                  <a:pt x="8491" y="11903"/>
                </a:lnTo>
                <a:lnTo>
                  <a:pt x="8561" y="11925"/>
                </a:lnTo>
                <a:lnTo>
                  <a:pt x="8632" y="11946"/>
                </a:lnTo>
                <a:lnTo>
                  <a:pt x="8704" y="11964"/>
                </a:lnTo>
                <a:lnTo>
                  <a:pt x="8775" y="11982"/>
                </a:lnTo>
                <a:lnTo>
                  <a:pt x="8848" y="11997"/>
                </a:lnTo>
                <a:lnTo>
                  <a:pt x="8922" y="12009"/>
                </a:lnTo>
                <a:lnTo>
                  <a:pt x="8996" y="12019"/>
                </a:lnTo>
                <a:lnTo>
                  <a:pt x="9068" y="12027"/>
                </a:lnTo>
                <a:lnTo>
                  <a:pt x="9142" y="12031"/>
                </a:lnTo>
                <a:lnTo>
                  <a:pt x="9215" y="12032"/>
                </a:lnTo>
                <a:lnTo>
                  <a:pt x="9288" y="12030"/>
                </a:lnTo>
                <a:lnTo>
                  <a:pt x="9360" y="12025"/>
                </a:lnTo>
                <a:lnTo>
                  <a:pt x="9434" y="12020"/>
                </a:lnTo>
                <a:lnTo>
                  <a:pt x="9510" y="12014"/>
                </a:lnTo>
                <a:lnTo>
                  <a:pt x="9586" y="12008"/>
                </a:lnTo>
                <a:lnTo>
                  <a:pt x="9663" y="12001"/>
                </a:lnTo>
                <a:lnTo>
                  <a:pt x="9740" y="11993"/>
                </a:lnTo>
                <a:lnTo>
                  <a:pt x="9817" y="11985"/>
                </a:lnTo>
                <a:lnTo>
                  <a:pt x="9895" y="11975"/>
                </a:lnTo>
                <a:lnTo>
                  <a:pt x="10049" y="11956"/>
                </a:lnTo>
                <a:lnTo>
                  <a:pt x="10199" y="11937"/>
                </a:lnTo>
                <a:lnTo>
                  <a:pt x="10345" y="11917"/>
                </a:lnTo>
                <a:lnTo>
                  <a:pt x="10483" y="11897"/>
                </a:lnTo>
                <a:lnTo>
                  <a:pt x="10612" y="11876"/>
                </a:lnTo>
                <a:lnTo>
                  <a:pt x="10730" y="11858"/>
                </a:lnTo>
                <a:lnTo>
                  <a:pt x="10836" y="11841"/>
                </a:lnTo>
                <a:lnTo>
                  <a:pt x="10926" y="11826"/>
                </a:lnTo>
                <a:lnTo>
                  <a:pt x="11000" y="11813"/>
                </a:lnTo>
                <a:lnTo>
                  <a:pt x="11055" y="11804"/>
                </a:lnTo>
                <a:lnTo>
                  <a:pt x="11090" y="11798"/>
                </a:lnTo>
                <a:lnTo>
                  <a:pt x="11102" y="11795"/>
                </a:lnTo>
                <a:lnTo>
                  <a:pt x="11100" y="11803"/>
                </a:lnTo>
                <a:lnTo>
                  <a:pt x="11093" y="11823"/>
                </a:lnTo>
                <a:lnTo>
                  <a:pt x="11082" y="11856"/>
                </a:lnTo>
                <a:lnTo>
                  <a:pt x="11066" y="11899"/>
                </a:lnTo>
                <a:lnTo>
                  <a:pt x="11048" y="11951"/>
                </a:lnTo>
                <a:lnTo>
                  <a:pt x="11027" y="12010"/>
                </a:lnTo>
                <a:lnTo>
                  <a:pt x="11004" y="12075"/>
                </a:lnTo>
                <a:lnTo>
                  <a:pt x="10979" y="12144"/>
                </a:lnTo>
                <a:lnTo>
                  <a:pt x="10952" y="12217"/>
                </a:lnTo>
                <a:lnTo>
                  <a:pt x="10925" y="12290"/>
                </a:lnTo>
                <a:lnTo>
                  <a:pt x="10897" y="12363"/>
                </a:lnTo>
                <a:lnTo>
                  <a:pt x="10867" y="12434"/>
                </a:lnTo>
                <a:lnTo>
                  <a:pt x="10839" y="12502"/>
                </a:lnTo>
                <a:lnTo>
                  <a:pt x="10812" y="12565"/>
                </a:lnTo>
                <a:lnTo>
                  <a:pt x="10799" y="12595"/>
                </a:lnTo>
                <a:lnTo>
                  <a:pt x="10785" y="12621"/>
                </a:lnTo>
                <a:lnTo>
                  <a:pt x="10772" y="12647"/>
                </a:lnTo>
                <a:lnTo>
                  <a:pt x="10760" y="12669"/>
                </a:lnTo>
                <a:lnTo>
                  <a:pt x="10747" y="12692"/>
                </a:lnTo>
                <a:lnTo>
                  <a:pt x="10733" y="12713"/>
                </a:lnTo>
                <a:lnTo>
                  <a:pt x="10716" y="12734"/>
                </a:lnTo>
                <a:lnTo>
                  <a:pt x="10697" y="12755"/>
                </a:lnTo>
                <a:lnTo>
                  <a:pt x="10678" y="12776"/>
                </a:lnTo>
                <a:lnTo>
                  <a:pt x="10657" y="12796"/>
                </a:lnTo>
                <a:lnTo>
                  <a:pt x="10635" y="12815"/>
                </a:lnTo>
                <a:lnTo>
                  <a:pt x="10611" y="12834"/>
                </a:lnTo>
                <a:lnTo>
                  <a:pt x="10585" y="12853"/>
                </a:lnTo>
                <a:lnTo>
                  <a:pt x="10559" y="12872"/>
                </a:lnTo>
                <a:lnTo>
                  <a:pt x="10531" y="12890"/>
                </a:lnTo>
                <a:lnTo>
                  <a:pt x="10502" y="12907"/>
                </a:lnTo>
                <a:lnTo>
                  <a:pt x="10473" y="12924"/>
                </a:lnTo>
                <a:lnTo>
                  <a:pt x="10442" y="12941"/>
                </a:lnTo>
                <a:lnTo>
                  <a:pt x="10410" y="12957"/>
                </a:lnTo>
                <a:lnTo>
                  <a:pt x="10379" y="12974"/>
                </a:lnTo>
                <a:lnTo>
                  <a:pt x="10346" y="12990"/>
                </a:lnTo>
                <a:lnTo>
                  <a:pt x="10312" y="13005"/>
                </a:lnTo>
                <a:lnTo>
                  <a:pt x="10278" y="13020"/>
                </a:lnTo>
                <a:lnTo>
                  <a:pt x="10244" y="13035"/>
                </a:lnTo>
                <a:lnTo>
                  <a:pt x="10174" y="13063"/>
                </a:lnTo>
                <a:lnTo>
                  <a:pt x="10103" y="13090"/>
                </a:lnTo>
                <a:lnTo>
                  <a:pt x="10031" y="13115"/>
                </a:lnTo>
                <a:lnTo>
                  <a:pt x="9961" y="13139"/>
                </a:lnTo>
                <a:lnTo>
                  <a:pt x="9890" y="13161"/>
                </a:lnTo>
                <a:lnTo>
                  <a:pt x="9821" y="13182"/>
                </a:lnTo>
                <a:lnTo>
                  <a:pt x="9725" y="13209"/>
                </a:lnTo>
                <a:lnTo>
                  <a:pt x="9580" y="13248"/>
                </a:lnTo>
                <a:lnTo>
                  <a:pt x="9393" y="13299"/>
                </a:lnTo>
                <a:lnTo>
                  <a:pt x="9171" y="13357"/>
                </a:lnTo>
                <a:lnTo>
                  <a:pt x="8923" y="13422"/>
                </a:lnTo>
                <a:lnTo>
                  <a:pt x="8655" y="13492"/>
                </a:lnTo>
                <a:lnTo>
                  <a:pt x="8377" y="13564"/>
                </a:lnTo>
                <a:lnTo>
                  <a:pt x="8095" y="13638"/>
                </a:lnTo>
                <a:lnTo>
                  <a:pt x="7817" y="13710"/>
                </a:lnTo>
                <a:lnTo>
                  <a:pt x="7551" y="13779"/>
                </a:lnTo>
                <a:lnTo>
                  <a:pt x="7305" y="13842"/>
                </a:lnTo>
                <a:lnTo>
                  <a:pt x="7087" y="13899"/>
                </a:lnTo>
                <a:lnTo>
                  <a:pt x="6903" y="13946"/>
                </a:lnTo>
                <a:lnTo>
                  <a:pt x="6762" y="13983"/>
                </a:lnTo>
                <a:lnTo>
                  <a:pt x="6672" y="14006"/>
                </a:lnTo>
                <a:lnTo>
                  <a:pt x="6641" y="14014"/>
                </a:lnTo>
                <a:lnTo>
                  <a:pt x="6649" y="14004"/>
                </a:lnTo>
                <a:lnTo>
                  <a:pt x="6673" y="13976"/>
                </a:lnTo>
                <a:lnTo>
                  <a:pt x="6711" y="13930"/>
                </a:lnTo>
                <a:lnTo>
                  <a:pt x="6760" y="13869"/>
                </a:lnTo>
                <a:lnTo>
                  <a:pt x="6820" y="13795"/>
                </a:lnTo>
                <a:lnTo>
                  <a:pt x="6887" y="13709"/>
                </a:lnTo>
                <a:lnTo>
                  <a:pt x="6960" y="13614"/>
                </a:lnTo>
                <a:lnTo>
                  <a:pt x="7038" y="13510"/>
                </a:lnTo>
                <a:lnTo>
                  <a:pt x="7078" y="13455"/>
                </a:lnTo>
                <a:lnTo>
                  <a:pt x="7118" y="13400"/>
                </a:lnTo>
                <a:lnTo>
                  <a:pt x="7158" y="13343"/>
                </a:lnTo>
                <a:lnTo>
                  <a:pt x="7199" y="13286"/>
                </a:lnTo>
                <a:lnTo>
                  <a:pt x="7238" y="13228"/>
                </a:lnTo>
                <a:lnTo>
                  <a:pt x="7277" y="13168"/>
                </a:lnTo>
                <a:lnTo>
                  <a:pt x="7315" y="13110"/>
                </a:lnTo>
                <a:lnTo>
                  <a:pt x="7352" y="13051"/>
                </a:lnTo>
                <a:lnTo>
                  <a:pt x="7388" y="12993"/>
                </a:lnTo>
                <a:lnTo>
                  <a:pt x="7422" y="12934"/>
                </a:lnTo>
                <a:lnTo>
                  <a:pt x="7454" y="12877"/>
                </a:lnTo>
                <a:lnTo>
                  <a:pt x="7485" y="12820"/>
                </a:lnTo>
                <a:lnTo>
                  <a:pt x="7512" y="12764"/>
                </a:lnTo>
                <a:lnTo>
                  <a:pt x="7537" y="12710"/>
                </a:lnTo>
                <a:lnTo>
                  <a:pt x="7560" y="12657"/>
                </a:lnTo>
                <a:lnTo>
                  <a:pt x="7580" y="12606"/>
                </a:lnTo>
                <a:lnTo>
                  <a:pt x="7597" y="12556"/>
                </a:lnTo>
                <a:lnTo>
                  <a:pt x="7612" y="12506"/>
                </a:lnTo>
                <a:lnTo>
                  <a:pt x="7625" y="12455"/>
                </a:lnTo>
                <a:lnTo>
                  <a:pt x="7637" y="12405"/>
                </a:lnTo>
                <a:lnTo>
                  <a:pt x="7646" y="12355"/>
                </a:lnTo>
                <a:lnTo>
                  <a:pt x="7654" y="12306"/>
                </a:lnTo>
                <a:lnTo>
                  <a:pt x="7662" y="12256"/>
                </a:lnTo>
                <a:lnTo>
                  <a:pt x="7668" y="12208"/>
                </a:lnTo>
                <a:lnTo>
                  <a:pt x="7672" y="12159"/>
                </a:lnTo>
                <a:lnTo>
                  <a:pt x="7675" y="12113"/>
                </a:lnTo>
                <a:lnTo>
                  <a:pt x="7677" y="12066"/>
                </a:lnTo>
                <a:lnTo>
                  <a:pt x="7678" y="12021"/>
                </a:lnTo>
                <a:lnTo>
                  <a:pt x="7678" y="11976"/>
                </a:lnTo>
                <a:lnTo>
                  <a:pt x="7677" y="11933"/>
                </a:lnTo>
                <a:lnTo>
                  <a:pt x="7676" y="11892"/>
                </a:lnTo>
                <a:lnTo>
                  <a:pt x="7674" y="11851"/>
                </a:lnTo>
                <a:lnTo>
                  <a:pt x="7671" y="11813"/>
                </a:lnTo>
                <a:lnTo>
                  <a:pt x="7668" y="11775"/>
                </a:lnTo>
                <a:lnTo>
                  <a:pt x="7664" y="11740"/>
                </a:lnTo>
                <a:lnTo>
                  <a:pt x="7660" y="11707"/>
                </a:lnTo>
                <a:lnTo>
                  <a:pt x="7651" y="11646"/>
                </a:lnTo>
                <a:lnTo>
                  <a:pt x="7643" y="11595"/>
                </a:lnTo>
                <a:lnTo>
                  <a:pt x="7635" y="11553"/>
                </a:lnTo>
                <a:lnTo>
                  <a:pt x="7628" y="11522"/>
                </a:lnTo>
                <a:lnTo>
                  <a:pt x="7624" y="11503"/>
                </a:lnTo>
                <a:lnTo>
                  <a:pt x="7622" y="11497"/>
                </a:lnTo>
                <a:close/>
                <a:moveTo>
                  <a:pt x="14393" y="10247"/>
                </a:moveTo>
                <a:lnTo>
                  <a:pt x="14396" y="10218"/>
                </a:lnTo>
                <a:lnTo>
                  <a:pt x="14405" y="10135"/>
                </a:lnTo>
                <a:lnTo>
                  <a:pt x="14412" y="10074"/>
                </a:lnTo>
                <a:lnTo>
                  <a:pt x="14418" y="10003"/>
                </a:lnTo>
                <a:lnTo>
                  <a:pt x="14423" y="9921"/>
                </a:lnTo>
                <a:lnTo>
                  <a:pt x="14429" y="9828"/>
                </a:lnTo>
                <a:lnTo>
                  <a:pt x="14433" y="9727"/>
                </a:lnTo>
                <a:lnTo>
                  <a:pt x="14436" y="9616"/>
                </a:lnTo>
                <a:lnTo>
                  <a:pt x="14438" y="9498"/>
                </a:lnTo>
                <a:lnTo>
                  <a:pt x="14437" y="9372"/>
                </a:lnTo>
                <a:lnTo>
                  <a:pt x="14435" y="9240"/>
                </a:lnTo>
                <a:lnTo>
                  <a:pt x="14429" y="9103"/>
                </a:lnTo>
                <a:lnTo>
                  <a:pt x="14421" y="8960"/>
                </a:lnTo>
                <a:lnTo>
                  <a:pt x="14408" y="8812"/>
                </a:lnTo>
                <a:lnTo>
                  <a:pt x="14393" y="8661"/>
                </a:lnTo>
                <a:lnTo>
                  <a:pt x="14373" y="8508"/>
                </a:lnTo>
                <a:lnTo>
                  <a:pt x="14349" y="8351"/>
                </a:lnTo>
                <a:lnTo>
                  <a:pt x="14321" y="8192"/>
                </a:lnTo>
                <a:lnTo>
                  <a:pt x="14286" y="8034"/>
                </a:lnTo>
                <a:lnTo>
                  <a:pt x="14246" y="7875"/>
                </a:lnTo>
                <a:lnTo>
                  <a:pt x="14200" y="7717"/>
                </a:lnTo>
                <a:lnTo>
                  <a:pt x="14148" y="7559"/>
                </a:lnTo>
                <a:lnTo>
                  <a:pt x="14089" y="7404"/>
                </a:lnTo>
                <a:lnTo>
                  <a:pt x="14022" y="7251"/>
                </a:lnTo>
                <a:lnTo>
                  <a:pt x="13949" y="7101"/>
                </a:lnTo>
                <a:lnTo>
                  <a:pt x="13868" y="6956"/>
                </a:lnTo>
                <a:lnTo>
                  <a:pt x="13779" y="6816"/>
                </a:lnTo>
                <a:lnTo>
                  <a:pt x="13681" y="6680"/>
                </a:lnTo>
                <a:lnTo>
                  <a:pt x="13574" y="6552"/>
                </a:lnTo>
                <a:lnTo>
                  <a:pt x="13457" y="6429"/>
                </a:lnTo>
                <a:lnTo>
                  <a:pt x="13339" y="6315"/>
                </a:lnTo>
                <a:lnTo>
                  <a:pt x="13226" y="6207"/>
                </a:lnTo>
                <a:lnTo>
                  <a:pt x="13119" y="6107"/>
                </a:lnTo>
                <a:lnTo>
                  <a:pt x="13016" y="6014"/>
                </a:lnTo>
                <a:lnTo>
                  <a:pt x="12918" y="5928"/>
                </a:lnTo>
                <a:lnTo>
                  <a:pt x="12825" y="5847"/>
                </a:lnTo>
                <a:lnTo>
                  <a:pt x="12735" y="5773"/>
                </a:lnTo>
                <a:lnTo>
                  <a:pt x="12650" y="5704"/>
                </a:lnTo>
                <a:lnTo>
                  <a:pt x="12568" y="5642"/>
                </a:lnTo>
                <a:lnTo>
                  <a:pt x="12490" y="5585"/>
                </a:lnTo>
                <a:lnTo>
                  <a:pt x="12416" y="5533"/>
                </a:lnTo>
                <a:lnTo>
                  <a:pt x="12344" y="5484"/>
                </a:lnTo>
                <a:lnTo>
                  <a:pt x="12274" y="5442"/>
                </a:lnTo>
                <a:lnTo>
                  <a:pt x="12208" y="5402"/>
                </a:lnTo>
                <a:lnTo>
                  <a:pt x="12144" y="5367"/>
                </a:lnTo>
                <a:lnTo>
                  <a:pt x="12082" y="5336"/>
                </a:lnTo>
                <a:lnTo>
                  <a:pt x="12021" y="5308"/>
                </a:lnTo>
                <a:lnTo>
                  <a:pt x="11963" y="5283"/>
                </a:lnTo>
                <a:lnTo>
                  <a:pt x="11906" y="5261"/>
                </a:lnTo>
                <a:lnTo>
                  <a:pt x="11850" y="5242"/>
                </a:lnTo>
                <a:lnTo>
                  <a:pt x="11795" y="5225"/>
                </a:lnTo>
                <a:lnTo>
                  <a:pt x="11740" y="5209"/>
                </a:lnTo>
                <a:lnTo>
                  <a:pt x="11687" y="5196"/>
                </a:lnTo>
                <a:lnTo>
                  <a:pt x="11632" y="5185"/>
                </a:lnTo>
                <a:lnTo>
                  <a:pt x="11579" y="5175"/>
                </a:lnTo>
                <a:lnTo>
                  <a:pt x="11524" y="5165"/>
                </a:lnTo>
                <a:lnTo>
                  <a:pt x="11470" y="5157"/>
                </a:lnTo>
                <a:lnTo>
                  <a:pt x="11415" y="5149"/>
                </a:lnTo>
                <a:lnTo>
                  <a:pt x="11301" y="5133"/>
                </a:lnTo>
                <a:lnTo>
                  <a:pt x="11182" y="5114"/>
                </a:lnTo>
                <a:lnTo>
                  <a:pt x="11119" y="5105"/>
                </a:lnTo>
                <a:lnTo>
                  <a:pt x="11057" y="5098"/>
                </a:lnTo>
                <a:lnTo>
                  <a:pt x="10995" y="5092"/>
                </a:lnTo>
                <a:lnTo>
                  <a:pt x="10933" y="5087"/>
                </a:lnTo>
                <a:lnTo>
                  <a:pt x="10870" y="5083"/>
                </a:lnTo>
                <a:lnTo>
                  <a:pt x="10808" y="5080"/>
                </a:lnTo>
                <a:lnTo>
                  <a:pt x="10746" y="5078"/>
                </a:lnTo>
                <a:lnTo>
                  <a:pt x="10684" y="5077"/>
                </a:lnTo>
                <a:lnTo>
                  <a:pt x="10623" y="5077"/>
                </a:lnTo>
                <a:lnTo>
                  <a:pt x="10561" y="5077"/>
                </a:lnTo>
                <a:lnTo>
                  <a:pt x="10500" y="5079"/>
                </a:lnTo>
                <a:lnTo>
                  <a:pt x="10440" y="5081"/>
                </a:lnTo>
                <a:lnTo>
                  <a:pt x="10380" y="5084"/>
                </a:lnTo>
                <a:lnTo>
                  <a:pt x="10321" y="5087"/>
                </a:lnTo>
                <a:lnTo>
                  <a:pt x="10262" y="5091"/>
                </a:lnTo>
                <a:lnTo>
                  <a:pt x="10204" y="5095"/>
                </a:lnTo>
                <a:lnTo>
                  <a:pt x="10090" y="5106"/>
                </a:lnTo>
                <a:lnTo>
                  <a:pt x="9981" y="5117"/>
                </a:lnTo>
                <a:lnTo>
                  <a:pt x="9876" y="5131"/>
                </a:lnTo>
                <a:lnTo>
                  <a:pt x="9776" y="5143"/>
                </a:lnTo>
                <a:lnTo>
                  <a:pt x="9681" y="5156"/>
                </a:lnTo>
                <a:lnTo>
                  <a:pt x="9593" y="5169"/>
                </a:lnTo>
                <a:lnTo>
                  <a:pt x="9511" y="5180"/>
                </a:lnTo>
                <a:lnTo>
                  <a:pt x="9436" y="5190"/>
                </a:lnTo>
                <a:lnTo>
                  <a:pt x="9379" y="5201"/>
                </a:lnTo>
                <a:lnTo>
                  <a:pt x="9280" y="5224"/>
                </a:lnTo>
                <a:lnTo>
                  <a:pt x="9143" y="5257"/>
                </a:lnTo>
                <a:lnTo>
                  <a:pt x="8970" y="5299"/>
                </a:lnTo>
                <a:lnTo>
                  <a:pt x="8764" y="5352"/>
                </a:lnTo>
                <a:lnTo>
                  <a:pt x="8529" y="5412"/>
                </a:lnTo>
                <a:lnTo>
                  <a:pt x="8266" y="5480"/>
                </a:lnTo>
                <a:lnTo>
                  <a:pt x="7980" y="5556"/>
                </a:lnTo>
                <a:lnTo>
                  <a:pt x="7343" y="5724"/>
                </a:lnTo>
                <a:lnTo>
                  <a:pt x="6644" y="5908"/>
                </a:lnTo>
                <a:lnTo>
                  <a:pt x="5904" y="6106"/>
                </a:lnTo>
                <a:lnTo>
                  <a:pt x="5145" y="6309"/>
                </a:lnTo>
                <a:lnTo>
                  <a:pt x="4391" y="6512"/>
                </a:lnTo>
                <a:lnTo>
                  <a:pt x="3665" y="6707"/>
                </a:lnTo>
                <a:lnTo>
                  <a:pt x="2987" y="6890"/>
                </a:lnTo>
                <a:lnTo>
                  <a:pt x="2382" y="7053"/>
                </a:lnTo>
                <a:lnTo>
                  <a:pt x="1873" y="7191"/>
                </a:lnTo>
                <a:lnTo>
                  <a:pt x="1481" y="7297"/>
                </a:lnTo>
                <a:lnTo>
                  <a:pt x="1229" y="7366"/>
                </a:lnTo>
                <a:lnTo>
                  <a:pt x="1140" y="7390"/>
                </a:lnTo>
                <a:lnTo>
                  <a:pt x="1167" y="7393"/>
                </a:lnTo>
                <a:lnTo>
                  <a:pt x="1246" y="7406"/>
                </a:lnTo>
                <a:lnTo>
                  <a:pt x="1303" y="7415"/>
                </a:lnTo>
                <a:lnTo>
                  <a:pt x="1371" y="7427"/>
                </a:lnTo>
                <a:lnTo>
                  <a:pt x="1451" y="7441"/>
                </a:lnTo>
                <a:lnTo>
                  <a:pt x="1540" y="7458"/>
                </a:lnTo>
                <a:lnTo>
                  <a:pt x="1638" y="7477"/>
                </a:lnTo>
                <a:lnTo>
                  <a:pt x="1745" y="7499"/>
                </a:lnTo>
                <a:lnTo>
                  <a:pt x="1861" y="7526"/>
                </a:lnTo>
                <a:lnTo>
                  <a:pt x="1984" y="7554"/>
                </a:lnTo>
                <a:lnTo>
                  <a:pt x="2113" y="7586"/>
                </a:lnTo>
                <a:lnTo>
                  <a:pt x="2251" y="7622"/>
                </a:lnTo>
                <a:lnTo>
                  <a:pt x="2392" y="7660"/>
                </a:lnTo>
                <a:lnTo>
                  <a:pt x="2540" y="7702"/>
                </a:lnTo>
                <a:lnTo>
                  <a:pt x="2692" y="7749"/>
                </a:lnTo>
                <a:lnTo>
                  <a:pt x="2849" y="7799"/>
                </a:lnTo>
                <a:lnTo>
                  <a:pt x="3009" y="7854"/>
                </a:lnTo>
                <a:lnTo>
                  <a:pt x="3171" y="7913"/>
                </a:lnTo>
                <a:lnTo>
                  <a:pt x="3336" y="7975"/>
                </a:lnTo>
                <a:lnTo>
                  <a:pt x="3503" y="8042"/>
                </a:lnTo>
                <a:lnTo>
                  <a:pt x="3671" y="8114"/>
                </a:lnTo>
                <a:lnTo>
                  <a:pt x="3839" y="8190"/>
                </a:lnTo>
                <a:lnTo>
                  <a:pt x="4007" y="8271"/>
                </a:lnTo>
                <a:lnTo>
                  <a:pt x="4175" y="8357"/>
                </a:lnTo>
                <a:lnTo>
                  <a:pt x="4342" y="8448"/>
                </a:lnTo>
                <a:lnTo>
                  <a:pt x="4506" y="8544"/>
                </a:lnTo>
                <a:lnTo>
                  <a:pt x="4669" y="8646"/>
                </a:lnTo>
                <a:lnTo>
                  <a:pt x="4829" y="8752"/>
                </a:lnTo>
                <a:lnTo>
                  <a:pt x="4984" y="8865"/>
                </a:lnTo>
                <a:lnTo>
                  <a:pt x="5136" y="8982"/>
                </a:lnTo>
                <a:lnTo>
                  <a:pt x="5285" y="9103"/>
                </a:lnTo>
                <a:lnTo>
                  <a:pt x="5433" y="9222"/>
                </a:lnTo>
                <a:lnTo>
                  <a:pt x="5581" y="9338"/>
                </a:lnTo>
                <a:lnTo>
                  <a:pt x="5727" y="9453"/>
                </a:lnTo>
                <a:lnTo>
                  <a:pt x="5873" y="9566"/>
                </a:lnTo>
                <a:lnTo>
                  <a:pt x="6017" y="9676"/>
                </a:lnTo>
                <a:lnTo>
                  <a:pt x="6160" y="9784"/>
                </a:lnTo>
                <a:lnTo>
                  <a:pt x="6302" y="9891"/>
                </a:lnTo>
                <a:lnTo>
                  <a:pt x="6442" y="9994"/>
                </a:lnTo>
                <a:lnTo>
                  <a:pt x="6581" y="10095"/>
                </a:lnTo>
                <a:lnTo>
                  <a:pt x="6718" y="10193"/>
                </a:lnTo>
                <a:lnTo>
                  <a:pt x="6852" y="10286"/>
                </a:lnTo>
                <a:lnTo>
                  <a:pt x="6985" y="10378"/>
                </a:lnTo>
                <a:lnTo>
                  <a:pt x="7116" y="10466"/>
                </a:lnTo>
                <a:lnTo>
                  <a:pt x="7245" y="10551"/>
                </a:lnTo>
                <a:lnTo>
                  <a:pt x="7371" y="10632"/>
                </a:lnTo>
                <a:lnTo>
                  <a:pt x="7495" y="10710"/>
                </a:lnTo>
                <a:lnTo>
                  <a:pt x="7616" y="10783"/>
                </a:lnTo>
                <a:lnTo>
                  <a:pt x="7734" y="10853"/>
                </a:lnTo>
                <a:lnTo>
                  <a:pt x="7851" y="10919"/>
                </a:lnTo>
                <a:lnTo>
                  <a:pt x="7964" y="10980"/>
                </a:lnTo>
                <a:lnTo>
                  <a:pt x="8073" y="11037"/>
                </a:lnTo>
                <a:lnTo>
                  <a:pt x="8180" y="11090"/>
                </a:lnTo>
                <a:lnTo>
                  <a:pt x="8284" y="11137"/>
                </a:lnTo>
                <a:lnTo>
                  <a:pt x="8384" y="11180"/>
                </a:lnTo>
                <a:lnTo>
                  <a:pt x="8480" y="11218"/>
                </a:lnTo>
                <a:lnTo>
                  <a:pt x="8573" y="11251"/>
                </a:lnTo>
                <a:lnTo>
                  <a:pt x="8663" y="11278"/>
                </a:lnTo>
                <a:lnTo>
                  <a:pt x="8748" y="11301"/>
                </a:lnTo>
                <a:lnTo>
                  <a:pt x="8830" y="11318"/>
                </a:lnTo>
                <a:lnTo>
                  <a:pt x="8907" y="11329"/>
                </a:lnTo>
                <a:lnTo>
                  <a:pt x="8980" y="11334"/>
                </a:lnTo>
                <a:lnTo>
                  <a:pt x="9120" y="11338"/>
                </a:lnTo>
                <a:lnTo>
                  <a:pt x="9254" y="11341"/>
                </a:lnTo>
                <a:lnTo>
                  <a:pt x="9384" y="11342"/>
                </a:lnTo>
                <a:lnTo>
                  <a:pt x="9510" y="11342"/>
                </a:lnTo>
                <a:lnTo>
                  <a:pt x="9572" y="11341"/>
                </a:lnTo>
                <a:lnTo>
                  <a:pt x="9633" y="11340"/>
                </a:lnTo>
                <a:lnTo>
                  <a:pt x="9694" y="11338"/>
                </a:lnTo>
                <a:lnTo>
                  <a:pt x="9754" y="11336"/>
                </a:lnTo>
                <a:lnTo>
                  <a:pt x="9814" y="11333"/>
                </a:lnTo>
                <a:lnTo>
                  <a:pt x="9873" y="11330"/>
                </a:lnTo>
                <a:lnTo>
                  <a:pt x="9932" y="11326"/>
                </a:lnTo>
                <a:lnTo>
                  <a:pt x="9992" y="11321"/>
                </a:lnTo>
                <a:lnTo>
                  <a:pt x="10052" y="11317"/>
                </a:lnTo>
                <a:lnTo>
                  <a:pt x="10110" y="11311"/>
                </a:lnTo>
                <a:lnTo>
                  <a:pt x="10170" y="11305"/>
                </a:lnTo>
                <a:lnTo>
                  <a:pt x="10231" y="11298"/>
                </a:lnTo>
                <a:lnTo>
                  <a:pt x="10290" y="11290"/>
                </a:lnTo>
                <a:lnTo>
                  <a:pt x="10351" y="11282"/>
                </a:lnTo>
                <a:lnTo>
                  <a:pt x="10412" y="11272"/>
                </a:lnTo>
                <a:lnTo>
                  <a:pt x="10474" y="11263"/>
                </a:lnTo>
                <a:lnTo>
                  <a:pt x="10537" y="11252"/>
                </a:lnTo>
                <a:lnTo>
                  <a:pt x="10600" y="11241"/>
                </a:lnTo>
                <a:lnTo>
                  <a:pt x="10665" y="11229"/>
                </a:lnTo>
                <a:lnTo>
                  <a:pt x="10730" y="11217"/>
                </a:lnTo>
                <a:lnTo>
                  <a:pt x="10797" y="11203"/>
                </a:lnTo>
                <a:lnTo>
                  <a:pt x="10864" y="11189"/>
                </a:lnTo>
                <a:lnTo>
                  <a:pt x="10934" y="11173"/>
                </a:lnTo>
                <a:lnTo>
                  <a:pt x="11004" y="11157"/>
                </a:lnTo>
                <a:lnTo>
                  <a:pt x="11167" y="11118"/>
                </a:lnTo>
                <a:lnTo>
                  <a:pt x="11368" y="11067"/>
                </a:lnTo>
                <a:lnTo>
                  <a:pt x="11598" y="11008"/>
                </a:lnTo>
                <a:lnTo>
                  <a:pt x="11854" y="10940"/>
                </a:lnTo>
                <a:lnTo>
                  <a:pt x="12126" y="10867"/>
                </a:lnTo>
                <a:lnTo>
                  <a:pt x="12409" y="10792"/>
                </a:lnTo>
                <a:lnTo>
                  <a:pt x="12697" y="10714"/>
                </a:lnTo>
                <a:lnTo>
                  <a:pt x="12983" y="10636"/>
                </a:lnTo>
                <a:lnTo>
                  <a:pt x="13259" y="10560"/>
                </a:lnTo>
                <a:lnTo>
                  <a:pt x="13521" y="10489"/>
                </a:lnTo>
                <a:lnTo>
                  <a:pt x="13760" y="10423"/>
                </a:lnTo>
                <a:lnTo>
                  <a:pt x="13970" y="10364"/>
                </a:lnTo>
                <a:lnTo>
                  <a:pt x="14146" y="10316"/>
                </a:lnTo>
                <a:lnTo>
                  <a:pt x="14279" y="10278"/>
                </a:lnTo>
                <a:lnTo>
                  <a:pt x="14363" y="10255"/>
                </a:lnTo>
                <a:lnTo>
                  <a:pt x="14393" y="10247"/>
                </a:lnTo>
                <a:close/>
              </a:path>
            </a:pathLst>
          </a:custGeom>
          <a:solidFill>
            <a:srgbClr val="002060">
              <a:alpha val="64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52" name="组合 197"/>
          <p:cNvGrpSpPr>
            <a:grpSpLocks noChangeAspect="1"/>
          </p:cNvGrpSpPr>
          <p:nvPr/>
        </p:nvGrpSpPr>
        <p:grpSpPr>
          <a:xfrm>
            <a:off x="1671336" y="3954499"/>
            <a:ext cx="226322" cy="188797"/>
            <a:chOff x="941695" y="2162514"/>
            <a:chExt cx="791571" cy="676220"/>
          </a:xfrm>
          <a:solidFill>
            <a:srgbClr val="002060">
              <a:alpha val="24000"/>
            </a:srgbClr>
          </a:solidFill>
        </p:grpSpPr>
        <p:grpSp>
          <p:nvGrpSpPr>
            <p:cNvPr id="53" name="Group 2973"/>
            <p:cNvGrpSpPr>
              <a:grpSpLocks/>
            </p:cNvGrpSpPr>
            <p:nvPr/>
          </p:nvGrpSpPr>
          <p:grpSpPr bwMode="auto">
            <a:xfrm>
              <a:off x="952923" y="2162504"/>
              <a:ext cx="780334" cy="676218"/>
              <a:chOff x="3413" y="2610"/>
              <a:chExt cx="433" cy="516"/>
            </a:xfrm>
            <a:grpFill/>
          </p:grpSpPr>
          <p:sp>
            <p:nvSpPr>
              <p:cNvPr id="312" name="Freeform 2974"/>
              <p:cNvSpPr>
                <a:spLocks/>
              </p:cNvSpPr>
              <p:nvPr/>
            </p:nvSpPr>
            <p:spPr bwMode="auto">
              <a:xfrm>
                <a:off x="3598" y="2610"/>
                <a:ext cx="64" cy="76"/>
              </a:xfrm>
              <a:custGeom>
                <a:avLst/>
                <a:gdLst/>
                <a:ahLst/>
                <a:cxnLst>
                  <a:cxn ang="0">
                    <a:pos x="32" y="38"/>
                  </a:cxn>
                  <a:cxn ang="0">
                    <a:pos x="0" y="38"/>
                  </a:cxn>
                  <a:cxn ang="0">
                    <a:pos x="0" y="5"/>
                  </a:cxn>
                  <a:cxn ang="0">
                    <a:pos x="32" y="5"/>
                  </a:cxn>
                  <a:cxn ang="0">
                    <a:pos x="32" y="38"/>
                  </a:cxn>
                </a:cxnLst>
                <a:rect l="0" t="0" r="r" b="b"/>
                <a:pathLst>
                  <a:path w="32" h="38">
                    <a:moveTo>
                      <a:pt x="32" y="38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15" y="0"/>
                      <a:pt x="32" y="5"/>
                    </a:cubicBezTo>
                    <a:cubicBezTo>
                      <a:pt x="32" y="13"/>
                      <a:pt x="32" y="38"/>
                      <a:pt x="32" y="3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3" name="Oval 2975"/>
              <p:cNvSpPr>
                <a:spLocks noChangeArrowheads="1"/>
              </p:cNvSpPr>
              <p:nvPr/>
            </p:nvSpPr>
            <p:spPr bwMode="auto">
              <a:xfrm>
                <a:off x="3413" y="2886"/>
                <a:ext cx="433" cy="86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4" name="Freeform 2976"/>
              <p:cNvSpPr>
                <a:spLocks/>
              </p:cNvSpPr>
              <p:nvPr/>
            </p:nvSpPr>
            <p:spPr bwMode="auto">
              <a:xfrm>
                <a:off x="3415" y="2674"/>
                <a:ext cx="429" cy="290"/>
              </a:xfrm>
              <a:custGeom>
                <a:avLst/>
                <a:gdLst/>
                <a:ahLst/>
                <a:cxnLst>
                  <a:cxn ang="0">
                    <a:pos x="109" y="127"/>
                  </a:cxn>
                  <a:cxn ang="0">
                    <a:pos x="0" y="145"/>
                  </a:cxn>
                  <a:cxn ang="0">
                    <a:pos x="13" y="60"/>
                  </a:cxn>
                  <a:cxn ang="0">
                    <a:pos x="30" y="30"/>
                  </a:cxn>
                  <a:cxn ang="0">
                    <a:pos x="93" y="0"/>
                  </a:cxn>
                  <a:cxn ang="0">
                    <a:pos x="122" y="0"/>
                  </a:cxn>
                  <a:cxn ang="0">
                    <a:pos x="184" y="30"/>
                  </a:cxn>
                  <a:cxn ang="0">
                    <a:pos x="201" y="60"/>
                  </a:cxn>
                  <a:cxn ang="0">
                    <a:pos x="214" y="145"/>
                  </a:cxn>
                  <a:cxn ang="0">
                    <a:pos x="110" y="127"/>
                  </a:cxn>
                  <a:cxn ang="0">
                    <a:pos x="109" y="127"/>
                  </a:cxn>
                </a:cxnLst>
                <a:rect l="0" t="0" r="r" b="b"/>
                <a:pathLst>
                  <a:path w="214" h="145">
                    <a:moveTo>
                      <a:pt x="109" y="127"/>
                    </a:moveTo>
                    <a:cubicBezTo>
                      <a:pt x="12" y="125"/>
                      <a:pt x="0" y="145"/>
                      <a:pt x="0" y="145"/>
                    </a:cubicBezTo>
                    <a:cubicBezTo>
                      <a:pt x="13" y="60"/>
                      <a:pt x="13" y="60"/>
                      <a:pt x="13" y="60"/>
                    </a:cubicBezTo>
                    <a:cubicBezTo>
                      <a:pt x="16" y="43"/>
                      <a:pt x="23" y="36"/>
                      <a:pt x="30" y="30"/>
                    </a:cubicBezTo>
                    <a:cubicBezTo>
                      <a:pt x="44" y="16"/>
                      <a:pt x="93" y="0"/>
                      <a:pt x="93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0"/>
                      <a:pt x="170" y="16"/>
                      <a:pt x="184" y="30"/>
                    </a:cubicBezTo>
                    <a:cubicBezTo>
                      <a:pt x="191" y="36"/>
                      <a:pt x="198" y="43"/>
                      <a:pt x="201" y="60"/>
                    </a:cubicBezTo>
                    <a:cubicBezTo>
                      <a:pt x="214" y="145"/>
                      <a:pt x="214" y="145"/>
                      <a:pt x="214" y="145"/>
                    </a:cubicBezTo>
                    <a:cubicBezTo>
                      <a:pt x="214" y="145"/>
                      <a:pt x="208" y="125"/>
                      <a:pt x="110" y="127"/>
                    </a:cubicBezTo>
                    <a:lnTo>
                      <a:pt x="109" y="1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5" name="Oval 2977"/>
              <p:cNvSpPr>
                <a:spLocks noChangeArrowheads="1"/>
              </p:cNvSpPr>
              <p:nvPr/>
            </p:nvSpPr>
            <p:spPr bwMode="auto">
              <a:xfrm>
                <a:off x="3415" y="2916"/>
                <a:ext cx="429" cy="84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6" name="Oval 2978"/>
              <p:cNvSpPr>
                <a:spLocks noChangeArrowheads="1"/>
              </p:cNvSpPr>
              <p:nvPr/>
            </p:nvSpPr>
            <p:spPr bwMode="auto">
              <a:xfrm>
                <a:off x="3472" y="2938"/>
                <a:ext cx="318" cy="62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7" name="Freeform 2979"/>
              <p:cNvSpPr>
                <a:spLocks/>
              </p:cNvSpPr>
              <p:nvPr/>
            </p:nvSpPr>
            <p:spPr bwMode="auto">
              <a:xfrm>
                <a:off x="3413" y="2668"/>
                <a:ext cx="433" cy="270"/>
              </a:xfrm>
              <a:custGeom>
                <a:avLst/>
                <a:gdLst/>
                <a:ahLst/>
                <a:cxnLst>
                  <a:cxn ang="0">
                    <a:pos x="0" y="134"/>
                  </a:cxn>
                  <a:cxn ang="0">
                    <a:pos x="13" y="47"/>
                  </a:cxn>
                  <a:cxn ang="0">
                    <a:pos x="30" y="17"/>
                  </a:cxn>
                  <a:cxn ang="0">
                    <a:pos x="93" y="0"/>
                  </a:cxn>
                  <a:cxn ang="0">
                    <a:pos x="123" y="0"/>
                  </a:cxn>
                  <a:cxn ang="0">
                    <a:pos x="186" y="17"/>
                  </a:cxn>
                  <a:cxn ang="0">
                    <a:pos x="203" y="47"/>
                  </a:cxn>
                  <a:cxn ang="0">
                    <a:pos x="216" y="134"/>
                  </a:cxn>
                  <a:cxn ang="0">
                    <a:pos x="0" y="134"/>
                  </a:cxn>
                </a:cxnLst>
                <a:rect l="0" t="0" r="r" b="b"/>
                <a:pathLst>
                  <a:path w="216" h="135">
                    <a:moveTo>
                      <a:pt x="0" y="134"/>
                    </a:moveTo>
                    <a:cubicBezTo>
                      <a:pt x="0" y="135"/>
                      <a:pt x="13" y="47"/>
                      <a:pt x="13" y="47"/>
                    </a:cubicBezTo>
                    <a:cubicBezTo>
                      <a:pt x="17" y="31"/>
                      <a:pt x="23" y="23"/>
                      <a:pt x="30" y="17"/>
                    </a:cubicBezTo>
                    <a:cubicBezTo>
                      <a:pt x="45" y="3"/>
                      <a:pt x="93" y="0"/>
                      <a:pt x="93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72" y="3"/>
                      <a:pt x="186" y="17"/>
                    </a:cubicBezTo>
                    <a:cubicBezTo>
                      <a:pt x="193" y="23"/>
                      <a:pt x="200" y="31"/>
                      <a:pt x="203" y="47"/>
                    </a:cubicBezTo>
                    <a:cubicBezTo>
                      <a:pt x="203" y="47"/>
                      <a:pt x="215" y="132"/>
                      <a:pt x="216" y="134"/>
                    </a:cubicBezTo>
                    <a:cubicBezTo>
                      <a:pt x="154" y="94"/>
                      <a:pt x="23" y="109"/>
                      <a:pt x="0" y="13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8" name="Freeform 2980"/>
              <p:cNvSpPr>
                <a:spLocks/>
              </p:cNvSpPr>
              <p:nvPr/>
            </p:nvSpPr>
            <p:spPr bwMode="auto">
              <a:xfrm>
                <a:off x="3678" y="2674"/>
                <a:ext cx="168" cy="262"/>
              </a:xfrm>
              <a:custGeom>
                <a:avLst/>
                <a:gdLst/>
                <a:ahLst/>
                <a:cxnLst>
                  <a:cxn ang="0">
                    <a:pos x="6" y="108"/>
                  </a:cxn>
                  <a:cxn ang="0">
                    <a:pos x="0" y="3"/>
                  </a:cxn>
                  <a:cxn ang="0">
                    <a:pos x="54" y="14"/>
                  </a:cxn>
                  <a:cxn ang="0">
                    <a:pos x="71" y="44"/>
                  </a:cxn>
                  <a:cxn ang="0">
                    <a:pos x="84" y="131"/>
                  </a:cxn>
                  <a:cxn ang="0">
                    <a:pos x="6" y="108"/>
                  </a:cxn>
                </a:cxnLst>
                <a:rect l="0" t="0" r="r" b="b"/>
                <a:pathLst>
                  <a:path w="84" h="131">
                    <a:moveTo>
                      <a:pt x="6" y="108"/>
                    </a:moveTo>
                    <a:cubicBezTo>
                      <a:pt x="17" y="37"/>
                      <a:pt x="0" y="3"/>
                      <a:pt x="0" y="3"/>
                    </a:cubicBezTo>
                    <a:cubicBezTo>
                      <a:pt x="0" y="3"/>
                      <a:pt x="40" y="0"/>
                      <a:pt x="54" y="14"/>
                    </a:cubicBezTo>
                    <a:cubicBezTo>
                      <a:pt x="61" y="20"/>
                      <a:pt x="68" y="28"/>
                      <a:pt x="71" y="44"/>
                    </a:cubicBezTo>
                    <a:cubicBezTo>
                      <a:pt x="71" y="44"/>
                      <a:pt x="83" y="129"/>
                      <a:pt x="84" y="131"/>
                    </a:cubicBezTo>
                    <a:cubicBezTo>
                      <a:pt x="63" y="118"/>
                      <a:pt x="35" y="111"/>
                      <a:pt x="6" y="10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19" name="Freeform 2981"/>
              <p:cNvSpPr>
                <a:spLocks/>
              </p:cNvSpPr>
              <p:nvPr/>
            </p:nvSpPr>
            <p:spPr bwMode="auto">
              <a:xfrm>
                <a:off x="3447" y="2650"/>
                <a:ext cx="367" cy="88"/>
              </a:xfrm>
              <a:custGeom>
                <a:avLst/>
                <a:gdLst/>
                <a:ahLst/>
                <a:cxnLst>
                  <a:cxn ang="0">
                    <a:pos x="89" y="27"/>
                  </a:cxn>
                  <a:cxn ang="0">
                    <a:pos x="3" y="39"/>
                  </a:cxn>
                  <a:cxn ang="0">
                    <a:pos x="13" y="26"/>
                  </a:cxn>
                  <a:cxn ang="0">
                    <a:pos x="76" y="1"/>
                  </a:cxn>
                  <a:cxn ang="0">
                    <a:pos x="91" y="0"/>
                  </a:cxn>
                  <a:cxn ang="0">
                    <a:pos x="106" y="1"/>
                  </a:cxn>
                  <a:cxn ang="0">
                    <a:pos x="169" y="26"/>
                  </a:cxn>
                  <a:cxn ang="0">
                    <a:pos x="180" y="40"/>
                  </a:cxn>
                  <a:cxn ang="0">
                    <a:pos x="89" y="27"/>
                  </a:cxn>
                </a:cxnLst>
                <a:rect l="0" t="0" r="r" b="b"/>
                <a:pathLst>
                  <a:path w="183" h="44">
                    <a:moveTo>
                      <a:pt x="89" y="27"/>
                    </a:moveTo>
                    <a:cubicBezTo>
                      <a:pt x="26" y="27"/>
                      <a:pt x="0" y="43"/>
                      <a:pt x="3" y="39"/>
                    </a:cubicBezTo>
                    <a:cubicBezTo>
                      <a:pt x="6" y="33"/>
                      <a:pt x="10" y="30"/>
                      <a:pt x="13" y="26"/>
                    </a:cubicBezTo>
                    <a:cubicBezTo>
                      <a:pt x="28" y="12"/>
                      <a:pt x="76" y="1"/>
                      <a:pt x="76" y="1"/>
                    </a:cubicBezTo>
                    <a:cubicBezTo>
                      <a:pt x="76" y="1"/>
                      <a:pt x="82" y="0"/>
                      <a:pt x="91" y="0"/>
                    </a:cubicBezTo>
                    <a:cubicBezTo>
                      <a:pt x="102" y="0"/>
                      <a:pt x="106" y="1"/>
                      <a:pt x="106" y="1"/>
                    </a:cubicBezTo>
                    <a:cubicBezTo>
                      <a:pt x="106" y="1"/>
                      <a:pt x="155" y="12"/>
                      <a:pt x="169" y="26"/>
                    </a:cubicBezTo>
                    <a:cubicBezTo>
                      <a:pt x="173" y="30"/>
                      <a:pt x="177" y="34"/>
                      <a:pt x="180" y="40"/>
                    </a:cubicBezTo>
                    <a:cubicBezTo>
                      <a:pt x="183" y="44"/>
                      <a:pt x="160" y="27"/>
                      <a:pt x="89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20" name="Freeform 2982"/>
              <p:cNvSpPr>
                <a:spLocks/>
              </p:cNvSpPr>
              <p:nvPr/>
            </p:nvSpPr>
            <p:spPr bwMode="auto">
              <a:xfrm>
                <a:off x="3490" y="2950"/>
                <a:ext cx="286" cy="176"/>
              </a:xfrm>
              <a:custGeom>
                <a:avLst/>
                <a:gdLst/>
                <a:ahLst/>
                <a:cxnLst>
                  <a:cxn ang="0">
                    <a:pos x="143" y="20"/>
                  </a:cxn>
                  <a:cxn ang="0">
                    <a:pos x="72" y="88"/>
                  </a:cxn>
                  <a:cxn ang="0">
                    <a:pos x="1" y="20"/>
                  </a:cxn>
                  <a:cxn ang="0">
                    <a:pos x="72" y="3"/>
                  </a:cxn>
                  <a:cxn ang="0">
                    <a:pos x="143" y="20"/>
                  </a:cxn>
                </a:cxnLst>
                <a:rect l="0" t="0" r="r" b="b"/>
                <a:pathLst>
                  <a:path w="143" h="88">
                    <a:moveTo>
                      <a:pt x="143" y="20"/>
                    </a:moveTo>
                    <a:cubicBezTo>
                      <a:pt x="142" y="49"/>
                      <a:pt x="111" y="88"/>
                      <a:pt x="72" y="88"/>
                    </a:cubicBezTo>
                    <a:cubicBezTo>
                      <a:pt x="33" y="88"/>
                      <a:pt x="0" y="49"/>
                      <a:pt x="1" y="20"/>
                    </a:cubicBezTo>
                    <a:cubicBezTo>
                      <a:pt x="1" y="0"/>
                      <a:pt x="33" y="3"/>
                      <a:pt x="72" y="3"/>
                    </a:cubicBezTo>
                    <a:cubicBezTo>
                      <a:pt x="111" y="3"/>
                      <a:pt x="143" y="1"/>
                      <a:pt x="143" y="2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21" name="Freeform 2983"/>
              <p:cNvSpPr>
                <a:spLocks/>
              </p:cNvSpPr>
              <p:nvPr/>
            </p:nvSpPr>
            <p:spPr bwMode="auto">
              <a:xfrm>
                <a:off x="3500" y="2950"/>
                <a:ext cx="266" cy="150"/>
              </a:xfrm>
              <a:custGeom>
                <a:avLst/>
                <a:gdLst/>
                <a:ahLst/>
                <a:cxnLst>
                  <a:cxn ang="0">
                    <a:pos x="133" y="17"/>
                  </a:cxn>
                  <a:cxn ang="0">
                    <a:pos x="67" y="75"/>
                  </a:cxn>
                  <a:cxn ang="0">
                    <a:pos x="0" y="17"/>
                  </a:cxn>
                  <a:cxn ang="0">
                    <a:pos x="67" y="3"/>
                  </a:cxn>
                  <a:cxn ang="0">
                    <a:pos x="133" y="17"/>
                  </a:cxn>
                </a:cxnLst>
                <a:rect l="0" t="0" r="r" b="b"/>
                <a:pathLst>
                  <a:path w="133" h="75">
                    <a:moveTo>
                      <a:pt x="133" y="17"/>
                    </a:moveTo>
                    <a:cubicBezTo>
                      <a:pt x="132" y="42"/>
                      <a:pt x="103" y="75"/>
                      <a:pt x="67" y="75"/>
                    </a:cubicBezTo>
                    <a:cubicBezTo>
                      <a:pt x="30" y="75"/>
                      <a:pt x="0" y="42"/>
                      <a:pt x="0" y="17"/>
                    </a:cubicBezTo>
                    <a:cubicBezTo>
                      <a:pt x="1" y="0"/>
                      <a:pt x="30" y="3"/>
                      <a:pt x="67" y="3"/>
                    </a:cubicBezTo>
                    <a:cubicBezTo>
                      <a:pt x="103" y="3"/>
                      <a:pt x="133" y="1"/>
                      <a:pt x="133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22" name="Freeform 2984"/>
              <p:cNvSpPr>
                <a:spLocks/>
              </p:cNvSpPr>
              <p:nvPr/>
            </p:nvSpPr>
            <p:spPr bwMode="auto">
              <a:xfrm>
                <a:off x="3686" y="2956"/>
                <a:ext cx="68" cy="13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7" y="6"/>
                  </a:cxn>
                  <a:cxn ang="0">
                    <a:pos x="32" y="24"/>
                  </a:cxn>
                  <a:cxn ang="0">
                    <a:pos x="0" y="66"/>
                  </a:cxn>
                  <a:cxn ang="0">
                    <a:pos x="1" y="0"/>
                  </a:cxn>
                </a:cxnLst>
                <a:rect l="0" t="0" r="r" b="b"/>
                <a:pathLst>
                  <a:path w="34" h="66">
                    <a:moveTo>
                      <a:pt x="1" y="0"/>
                    </a:moveTo>
                    <a:cubicBezTo>
                      <a:pt x="14" y="0"/>
                      <a:pt x="21" y="2"/>
                      <a:pt x="27" y="6"/>
                    </a:cubicBezTo>
                    <a:cubicBezTo>
                      <a:pt x="34" y="12"/>
                      <a:pt x="33" y="20"/>
                      <a:pt x="32" y="24"/>
                    </a:cubicBezTo>
                    <a:cubicBezTo>
                      <a:pt x="28" y="40"/>
                      <a:pt x="20" y="57"/>
                      <a:pt x="0" y="66"/>
                    </a:cubicBezTo>
                    <a:cubicBezTo>
                      <a:pt x="7" y="47"/>
                      <a:pt x="5" y="15"/>
                      <a:pt x="1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23" name="Freeform 2985"/>
              <p:cNvSpPr>
                <a:spLocks/>
              </p:cNvSpPr>
              <p:nvPr/>
            </p:nvSpPr>
            <p:spPr bwMode="auto">
              <a:xfrm>
                <a:off x="3660" y="2652"/>
                <a:ext cx="152" cy="84"/>
              </a:xfrm>
              <a:custGeom>
                <a:avLst/>
                <a:gdLst/>
                <a:ahLst/>
                <a:cxnLst>
                  <a:cxn ang="0">
                    <a:pos x="13" y="27"/>
                  </a:cxn>
                  <a:cxn ang="0">
                    <a:pos x="0" y="0"/>
                  </a:cxn>
                  <a:cxn ang="0">
                    <a:pos x="63" y="25"/>
                  </a:cxn>
                  <a:cxn ang="0">
                    <a:pos x="74" y="39"/>
                  </a:cxn>
                  <a:cxn ang="0">
                    <a:pos x="13" y="27"/>
                  </a:cxn>
                </a:cxnLst>
                <a:rect l="0" t="0" r="r" b="b"/>
                <a:pathLst>
                  <a:path w="76" h="42">
                    <a:moveTo>
                      <a:pt x="13" y="27"/>
                    </a:moveTo>
                    <a:cubicBezTo>
                      <a:pt x="9" y="11"/>
                      <a:pt x="0" y="0"/>
                      <a:pt x="0" y="0"/>
                    </a:cubicBezTo>
                    <a:cubicBezTo>
                      <a:pt x="0" y="0"/>
                      <a:pt x="49" y="11"/>
                      <a:pt x="63" y="25"/>
                    </a:cubicBezTo>
                    <a:cubicBezTo>
                      <a:pt x="67" y="29"/>
                      <a:pt x="71" y="33"/>
                      <a:pt x="74" y="39"/>
                    </a:cubicBezTo>
                    <a:cubicBezTo>
                      <a:pt x="76" y="42"/>
                      <a:pt x="60" y="30"/>
                      <a:pt x="13" y="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sp>
          <p:nvSpPr>
            <p:cNvPr id="309" name="空心弧 21"/>
            <p:cNvSpPr/>
            <p:nvPr/>
          </p:nvSpPr>
          <p:spPr bwMode="auto">
            <a:xfrm>
              <a:off x="941695" y="2483893"/>
              <a:ext cx="791570" cy="245660"/>
            </a:xfrm>
            <a:prstGeom prst="blockArc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C9900"/>
                </a:buClr>
                <a:buSzTx/>
                <a:buFont typeface="Wingdings" pitchFamily="2" charset="2"/>
                <a:buChar char="n"/>
                <a:tabLst/>
                <a:defRPr/>
              </a:pPr>
              <a:endParaRPr kumimoji="0" lang="zh-CN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310" name="Freeform 25"/>
            <p:cNvSpPr>
              <a:spLocks noEditPoints="1"/>
            </p:cNvSpPr>
            <p:nvPr/>
          </p:nvSpPr>
          <p:spPr bwMode="auto">
            <a:xfrm>
              <a:off x="1298751" y="2593075"/>
              <a:ext cx="243446" cy="177420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50" y="8"/>
                </a:cxn>
                <a:cxn ang="0">
                  <a:pos x="24" y="24"/>
                </a:cxn>
                <a:cxn ang="0">
                  <a:pos x="6" y="50"/>
                </a:cxn>
                <a:cxn ang="0">
                  <a:pos x="0" y="80"/>
                </a:cxn>
                <a:cxn ang="0">
                  <a:pos x="2" y="96"/>
                </a:cxn>
                <a:cxn ang="0">
                  <a:pos x="14" y="126"/>
                </a:cxn>
                <a:cxn ang="0">
                  <a:pos x="36" y="148"/>
                </a:cxn>
                <a:cxn ang="0">
                  <a:pos x="64" y="160"/>
                </a:cxn>
                <a:cxn ang="0">
                  <a:pos x="80" y="160"/>
                </a:cxn>
                <a:cxn ang="0">
                  <a:pos x="112" y="154"/>
                </a:cxn>
                <a:cxn ang="0">
                  <a:pos x="136" y="138"/>
                </a:cxn>
                <a:cxn ang="0">
                  <a:pos x="154" y="112"/>
                </a:cxn>
                <a:cxn ang="0">
                  <a:pos x="160" y="80"/>
                </a:cxn>
                <a:cxn ang="0">
                  <a:pos x="158" y="64"/>
                </a:cxn>
                <a:cxn ang="0">
                  <a:pos x="146" y="36"/>
                </a:cxn>
                <a:cxn ang="0">
                  <a:pos x="126" y="14"/>
                </a:cxn>
                <a:cxn ang="0">
                  <a:pos x="96" y="2"/>
                </a:cxn>
                <a:cxn ang="0">
                  <a:pos x="80" y="0"/>
                </a:cxn>
                <a:cxn ang="0">
                  <a:pos x="80" y="138"/>
                </a:cxn>
                <a:cxn ang="0">
                  <a:pos x="58" y="134"/>
                </a:cxn>
                <a:cxn ang="0">
                  <a:pos x="40" y="122"/>
                </a:cxn>
                <a:cxn ang="0">
                  <a:pos x="28" y="102"/>
                </a:cxn>
                <a:cxn ang="0">
                  <a:pos x="24" y="80"/>
                </a:cxn>
                <a:cxn ang="0">
                  <a:pos x="24" y="70"/>
                </a:cxn>
                <a:cxn ang="0">
                  <a:pos x="32" y="48"/>
                </a:cxn>
                <a:cxn ang="0">
                  <a:pos x="48" y="34"/>
                </a:cxn>
                <a:cxn ang="0">
                  <a:pos x="68" y="24"/>
                </a:cxn>
                <a:cxn ang="0">
                  <a:pos x="80" y="24"/>
                </a:cxn>
                <a:cxn ang="0">
                  <a:pos x="102" y="28"/>
                </a:cxn>
                <a:cxn ang="0">
                  <a:pos x="120" y="40"/>
                </a:cxn>
                <a:cxn ang="0">
                  <a:pos x="134" y="58"/>
                </a:cxn>
                <a:cxn ang="0">
                  <a:pos x="138" y="80"/>
                </a:cxn>
                <a:cxn ang="0">
                  <a:pos x="136" y="92"/>
                </a:cxn>
                <a:cxn ang="0">
                  <a:pos x="128" y="112"/>
                </a:cxn>
                <a:cxn ang="0">
                  <a:pos x="112" y="128"/>
                </a:cxn>
                <a:cxn ang="0">
                  <a:pos x="92" y="136"/>
                </a:cxn>
                <a:cxn ang="0">
                  <a:pos x="80" y="138"/>
                </a:cxn>
              </a:cxnLst>
              <a:rect l="0" t="0" r="r" b="b"/>
              <a:pathLst>
                <a:path w="160" h="160">
                  <a:moveTo>
                    <a:pt x="80" y="0"/>
                  </a:moveTo>
                  <a:lnTo>
                    <a:pt x="80" y="0"/>
                  </a:lnTo>
                  <a:lnTo>
                    <a:pt x="64" y="2"/>
                  </a:lnTo>
                  <a:lnTo>
                    <a:pt x="50" y="8"/>
                  </a:lnTo>
                  <a:lnTo>
                    <a:pt x="36" y="14"/>
                  </a:lnTo>
                  <a:lnTo>
                    <a:pt x="24" y="24"/>
                  </a:lnTo>
                  <a:lnTo>
                    <a:pt x="14" y="36"/>
                  </a:lnTo>
                  <a:lnTo>
                    <a:pt x="6" y="50"/>
                  </a:lnTo>
                  <a:lnTo>
                    <a:pt x="2" y="6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2" y="96"/>
                  </a:lnTo>
                  <a:lnTo>
                    <a:pt x="6" y="112"/>
                  </a:lnTo>
                  <a:lnTo>
                    <a:pt x="14" y="126"/>
                  </a:lnTo>
                  <a:lnTo>
                    <a:pt x="24" y="138"/>
                  </a:lnTo>
                  <a:lnTo>
                    <a:pt x="36" y="148"/>
                  </a:lnTo>
                  <a:lnTo>
                    <a:pt x="50" y="154"/>
                  </a:lnTo>
                  <a:lnTo>
                    <a:pt x="64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96" y="160"/>
                  </a:lnTo>
                  <a:lnTo>
                    <a:pt x="112" y="154"/>
                  </a:lnTo>
                  <a:lnTo>
                    <a:pt x="126" y="148"/>
                  </a:lnTo>
                  <a:lnTo>
                    <a:pt x="136" y="138"/>
                  </a:lnTo>
                  <a:lnTo>
                    <a:pt x="146" y="126"/>
                  </a:lnTo>
                  <a:lnTo>
                    <a:pt x="154" y="112"/>
                  </a:lnTo>
                  <a:lnTo>
                    <a:pt x="158" y="96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58" y="64"/>
                  </a:lnTo>
                  <a:lnTo>
                    <a:pt x="154" y="50"/>
                  </a:lnTo>
                  <a:lnTo>
                    <a:pt x="146" y="36"/>
                  </a:lnTo>
                  <a:lnTo>
                    <a:pt x="136" y="24"/>
                  </a:lnTo>
                  <a:lnTo>
                    <a:pt x="126" y="14"/>
                  </a:lnTo>
                  <a:lnTo>
                    <a:pt x="112" y="8"/>
                  </a:lnTo>
                  <a:lnTo>
                    <a:pt x="96" y="2"/>
                  </a:lnTo>
                  <a:lnTo>
                    <a:pt x="80" y="0"/>
                  </a:lnTo>
                  <a:lnTo>
                    <a:pt x="80" y="0"/>
                  </a:lnTo>
                  <a:close/>
                  <a:moveTo>
                    <a:pt x="80" y="138"/>
                  </a:moveTo>
                  <a:lnTo>
                    <a:pt x="80" y="138"/>
                  </a:lnTo>
                  <a:lnTo>
                    <a:pt x="68" y="136"/>
                  </a:lnTo>
                  <a:lnTo>
                    <a:pt x="58" y="134"/>
                  </a:lnTo>
                  <a:lnTo>
                    <a:pt x="48" y="128"/>
                  </a:lnTo>
                  <a:lnTo>
                    <a:pt x="40" y="122"/>
                  </a:lnTo>
                  <a:lnTo>
                    <a:pt x="32" y="112"/>
                  </a:lnTo>
                  <a:lnTo>
                    <a:pt x="28" y="102"/>
                  </a:lnTo>
                  <a:lnTo>
                    <a:pt x="24" y="92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0"/>
                  </a:lnTo>
                  <a:lnTo>
                    <a:pt x="28" y="58"/>
                  </a:lnTo>
                  <a:lnTo>
                    <a:pt x="32" y="48"/>
                  </a:lnTo>
                  <a:lnTo>
                    <a:pt x="40" y="40"/>
                  </a:lnTo>
                  <a:lnTo>
                    <a:pt x="48" y="34"/>
                  </a:lnTo>
                  <a:lnTo>
                    <a:pt x="58" y="28"/>
                  </a:lnTo>
                  <a:lnTo>
                    <a:pt x="68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92" y="24"/>
                  </a:lnTo>
                  <a:lnTo>
                    <a:pt x="102" y="28"/>
                  </a:lnTo>
                  <a:lnTo>
                    <a:pt x="112" y="34"/>
                  </a:lnTo>
                  <a:lnTo>
                    <a:pt x="120" y="40"/>
                  </a:lnTo>
                  <a:lnTo>
                    <a:pt x="128" y="48"/>
                  </a:lnTo>
                  <a:lnTo>
                    <a:pt x="134" y="58"/>
                  </a:lnTo>
                  <a:lnTo>
                    <a:pt x="136" y="70"/>
                  </a:lnTo>
                  <a:lnTo>
                    <a:pt x="138" y="80"/>
                  </a:lnTo>
                  <a:lnTo>
                    <a:pt x="138" y="80"/>
                  </a:lnTo>
                  <a:lnTo>
                    <a:pt x="136" y="92"/>
                  </a:lnTo>
                  <a:lnTo>
                    <a:pt x="134" y="102"/>
                  </a:lnTo>
                  <a:lnTo>
                    <a:pt x="128" y="112"/>
                  </a:lnTo>
                  <a:lnTo>
                    <a:pt x="120" y="122"/>
                  </a:lnTo>
                  <a:lnTo>
                    <a:pt x="112" y="128"/>
                  </a:lnTo>
                  <a:lnTo>
                    <a:pt x="102" y="134"/>
                  </a:lnTo>
                  <a:lnTo>
                    <a:pt x="92" y="136"/>
                  </a:lnTo>
                  <a:lnTo>
                    <a:pt x="80" y="138"/>
                  </a:lnTo>
                  <a:lnTo>
                    <a:pt x="80" y="13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sp>
          <p:nvSpPr>
            <p:cNvPr id="311" name="Freeform 26"/>
            <p:cNvSpPr>
              <a:spLocks/>
            </p:cNvSpPr>
            <p:nvPr/>
          </p:nvSpPr>
          <p:spPr bwMode="auto">
            <a:xfrm>
              <a:off x="1247582" y="2565700"/>
              <a:ext cx="164933" cy="159246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54" y="0"/>
                </a:cxn>
                <a:cxn ang="0">
                  <a:pos x="54" y="0"/>
                </a:cxn>
                <a:cxn ang="0">
                  <a:pos x="44" y="2"/>
                </a:cxn>
                <a:cxn ang="0">
                  <a:pos x="34" y="4"/>
                </a:cxn>
                <a:cxn ang="0">
                  <a:pos x="26" y="10"/>
                </a:cxn>
                <a:cxn ang="0">
                  <a:pos x="18" y="16"/>
                </a:cxn>
                <a:cxn ang="0">
                  <a:pos x="12" y="24"/>
                </a:cxn>
                <a:cxn ang="0">
                  <a:pos x="6" y="32"/>
                </a:cxn>
                <a:cxn ang="0">
                  <a:pos x="2" y="4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0" y="52"/>
                </a:cxn>
                <a:cxn ang="0">
                  <a:pos x="2" y="52"/>
                </a:cxn>
                <a:cxn ang="0">
                  <a:pos x="2" y="52"/>
                </a:cxn>
                <a:cxn ang="0">
                  <a:pos x="2" y="56"/>
                </a:cxn>
                <a:cxn ang="0">
                  <a:pos x="6" y="56"/>
                </a:cxn>
                <a:cxn ang="0">
                  <a:pos x="6" y="56"/>
                </a:cxn>
                <a:cxn ang="0">
                  <a:pos x="8" y="56"/>
                </a:cxn>
                <a:cxn ang="0">
                  <a:pos x="10" y="52"/>
                </a:cxn>
                <a:cxn ang="0">
                  <a:pos x="10" y="52"/>
                </a:cxn>
                <a:cxn ang="0">
                  <a:pos x="10" y="52"/>
                </a:cxn>
                <a:cxn ang="0">
                  <a:pos x="10" y="44"/>
                </a:cxn>
                <a:cxn ang="0">
                  <a:pos x="14" y="36"/>
                </a:cxn>
                <a:cxn ang="0">
                  <a:pos x="18" y="28"/>
                </a:cxn>
                <a:cxn ang="0">
                  <a:pos x="24" y="22"/>
                </a:cxn>
                <a:cxn ang="0">
                  <a:pos x="30" y="16"/>
                </a:cxn>
                <a:cxn ang="0">
                  <a:pos x="38" y="12"/>
                </a:cxn>
                <a:cxn ang="0">
                  <a:pos x="46" y="10"/>
                </a:cxn>
                <a:cxn ang="0">
                  <a:pos x="54" y="8"/>
                </a:cxn>
                <a:cxn ang="0">
                  <a:pos x="54" y="8"/>
                </a:cxn>
                <a:cxn ang="0">
                  <a:pos x="54" y="8"/>
                </a:cxn>
                <a:cxn ang="0">
                  <a:pos x="58" y="6"/>
                </a:cxn>
                <a:cxn ang="0">
                  <a:pos x="58" y="4"/>
                </a:cxn>
                <a:cxn ang="0">
                  <a:pos x="58" y="4"/>
                </a:cxn>
                <a:cxn ang="0">
                  <a:pos x="58" y="0"/>
                </a:cxn>
                <a:cxn ang="0">
                  <a:pos x="54" y="0"/>
                </a:cxn>
                <a:cxn ang="0">
                  <a:pos x="54" y="0"/>
                </a:cxn>
              </a:cxnLst>
              <a:rect l="0" t="0" r="r" b="b"/>
              <a:pathLst>
                <a:path w="58" h="56">
                  <a:moveTo>
                    <a:pt x="54" y="0"/>
                  </a:moveTo>
                  <a:lnTo>
                    <a:pt x="54" y="0"/>
                  </a:lnTo>
                  <a:lnTo>
                    <a:pt x="54" y="0"/>
                  </a:lnTo>
                  <a:lnTo>
                    <a:pt x="44" y="2"/>
                  </a:lnTo>
                  <a:lnTo>
                    <a:pt x="34" y="4"/>
                  </a:lnTo>
                  <a:lnTo>
                    <a:pt x="26" y="10"/>
                  </a:lnTo>
                  <a:lnTo>
                    <a:pt x="18" y="16"/>
                  </a:lnTo>
                  <a:lnTo>
                    <a:pt x="12" y="24"/>
                  </a:lnTo>
                  <a:lnTo>
                    <a:pt x="6" y="32"/>
                  </a:lnTo>
                  <a:lnTo>
                    <a:pt x="2" y="4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44"/>
                  </a:lnTo>
                  <a:lnTo>
                    <a:pt x="14" y="36"/>
                  </a:lnTo>
                  <a:lnTo>
                    <a:pt x="18" y="28"/>
                  </a:lnTo>
                  <a:lnTo>
                    <a:pt x="24" y="22"/>
                  </a:lnTo>
                  <a:lnTo>
                    <a:pt x="30" y="16"/>
                  </a:lnTo>
                  <a:lnTo>
                    <a:pt x="38" y="12"/>
                  </a:lnTo>
                  <a:lnTo>
                    <a:pt x="46" y="10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8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</p:grpSp>
      <p:grpSp>
        <p:nvGrpSpPr>
          <p:cNvPr id="55" name="组合 144"/>
          <p:cNvGrpSpPr/>
          <p:nvPr/>
        </p:nvGrpSpPr>
        <p:grpSpPr>
          <a:xfrm>
            <a:off x="2260537" y="3419404"/>
            <a:ext cx="797858" cy="229012"/>
            <a:chOff x="9711637" y="1466946"/>
            <a:chExt cx="1439708" cy="492126"/>
          </a:xfrm>
        </p:grpSpPr>
        <p:sp>
          <p:nvSpPr>
            <p:cNvPr id="325" name="Cloud"/>
            <p:cNvSpPr>
              <a:spLocks noChangeAspect="1" noEditPoints="1" noChangeArrowheads="1"/>
            </p:cNvSpPr>
            <p:nvPr/>
          </p:nvSpPr>
          <p:spPr bwMode="auto">
            <a:xfrm>
              <a:off x="9711637" y="1466946"/>
              <a:ext cx="1439708" cy="492126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ffectLst>
              <a:outerShdw dist="107763" dir="2700000" algn="ctr" rotWithShape="0">
                <a:srgbClr val="808080"/>
              </a:outerShdw>
            </a:effectLst>
          </p:spPr>
          <p:txBody>
            <a:bodyPr/>
            <a:lstStyle/>
            <a:p>
              <a:endParaRPr lang="zh-CN" altLang="en-US" sz="120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endParaRPr>
            </a:p>
          </p:txBody>
        </p:sp>
        <p:pic>
          <p:nvPicPr>
            <p:cNvPr id="326" name="Picture 63"/>
            <p:cNvPicPr>
              <a:picLocks noChangeArrowheads="1"/>
            </p:cNvPicPr>
            <p:nvPr/>
          </p:nvPicPr>
          <p:blipFill>
            <a:blip r:embed="rId21" cstate="screen"/>
            <a:srcRect/>
            <a:stretch>
              <a:fillRect/>
            </a:stretch>
          </p:blipFill>
          <p:spPr bwMode="auto">
            <a:xfrm>
              <a:off x="10045023" y="1512274"/>
              <a:ext cx="232894" cy="2270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pic>
          <p:nvPicPr>
            <p:cNvPr id="327" name="Picture 64"/>
            <p:cNvPicPr>
              <a:picLocks noChangeArrowheads="1"/>
            </p:cNvPicPr>
            <p:nvPr/>
          </p:nvPicPr>
          <p:blipFill>
            <a:blip r:embed="rId21" cstate="screen"/>
            <a:srcRect/>
            <a:stretch>
              <a:fillRect/>
            </a:stretch>
          </p:blipFill>
          <p:spPr bwMode="auto">
            <a:xfrm>
              <a:off x="10356255" y="1512274"/>
              <a:ext cx="232894" cy="2270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pic>
          <p:nvPicPr>
            <p:cNvPr id="328" name="Picture 65"/>
            <p:cNvPicPr>
              <a:picLocks noChangeArrowheads="1"/>
            </p:cNvPicPr>
            <p:nvPr/>
          </p:nvPicPr>
          <p:blipFill>
            <a:blip r:embed="rId21" cstate="screen"/>
            <a:srcRect/>
            <a:stretch>
              <a:fillRect/>
            </a:stretch>
          </p:blipFill>
          <p:spPr bwMode="auto">
            <a:xfrm>
              <a:off x="10667485" y="1512274"/>
              <a:ext cx="232894" cy="2270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</p:grpSp>
      <p:sp>
        <p:nvSpPr>
          <p:cNvPr id="329" name="119841472"/>
          <p:cNvSpPr/>
          <p:nvPr/>
        </p:nvSpPr>
        <p:spPr>
          <a:xfrm>
            <a:off x="2368118" y="3732320"/>
            <a:ext cx="846551" cy="227127"/>
          </a:xfrm>
          <a:prstGeom prst="rect">
            <a:avLst/>
          </a:prstGeom>
        </p:spPr>
        <p:txBody>
          <a:bodyPr wrap="squar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ideo Cloud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30" name="Rectangle 69"/>
          <p:cNvSpPr>
            <a:spLocks noChangeArrowheads="1"/>
          </p:cNvSpPr>
          <p:nvPr/>
        </p:nvSpPr>
        <p:spPr bwMode="auto">
          <a:xfrm>
            <a:off x="3591061" y="3237522"/>
            <a:ext cx="2084687" cy="1314327"/>
          </a:xfrm>
          <a:prstGeom prst="rect">
            <a:avLst/>
          </a:prstGeom>
          <a:solidFill>
            <a:srgbClr val="FFFFFF">
              <a:lumMod val="85000"/>
            </a:srgbClr>
          </a:solidFill>
          <a:ln w="19050" algn="ctr">
            <a:noFill/>
            <a:prstDash val="lgDash"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3466" tIns="41733" rIns="83466" bIns="41733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2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pic>
        <p:nvPicPr>
          <p:cNvPr id="345" name="Picture 3"/>
          <p:cNvPicPr>
            <a:picLocks noChangeArrowheads="1"/>
          </p:cNvPicPr>
          <p:nvPr/>
        </p:nvPicPr>
        <p:blipFill>
          <a:blip r:embed="rId22" cstate="screen"/>
          <a:srcRect/>
          <a:stretch>
            <a:fillRect/>
          </a:stretch>
        </p:blipFill>
        <p:spPr bwMode="auto">
          <a:xfrm>
            <a:off x="4331029" y="3919520"/>
            <a:ext cx="549656" cy="2433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46" name="Picture 4"/>
          <p:cNvPicPr>
            <a:picLocks noChangeAspect="1" noChangeArrowheads="1"/>
          </p:cNvPicPr>
          <p:nvPr/>
        </p:nvPicPr>
        <p:blipFill>
          <a:blip r:embed="rId23" cstate="screen"/>
          <a:srcRect/>
          <a:stretch>
            <a:fillRect/>
          </a:stretch>
        </p:blipFill>
        <p:spPr bwMode="auto">
          <a:xfrm>
            <a:off x="3636357" y="3919520"/>
            <a:ext cx="525405" cy="2433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63" name="组合 493"/>
          <p:cNvGrpSpPr/>
          <p:nvPr/>
        </p:nvGrpSpPr>
        <p:grpSpPr>
          <a:xfrm>
            <a:off x="3591061" y="3719250"/>
            <a:ext cx="664408" cy="227137"/>
            <a:chOff x="3035293" y="2100298"/>
            <a:chExt cx="647897" cy="226824"/>
          </a:xfrm>
        </p:grpSpPr>
        <p:grpSp>
          <p:nvGrpSpPr>
            <p:cNvPr id="64" name="组合 499"/>
            <p:cNvGrpSpPr/>
            <p:nvPr/>
          </p:nvGrpSpPr>
          <p:grpSpPr>
            <a:xfrm>
              <a:off x="3035293" y="2115637"/>
              <a:ext cx="523493" cy="196045"/>
              <a:chOff x="3822122" y="1852545"/>
              <a:chExt cx="513520" cy="231222"/>
            </a:xfrm>
          </p:grpSpPr>
          <p:sp>
            <p:nvSpPr>
              <p:cNvPr id="353" name="Text Box 152"/>
              <p:cNvSpPr txBox="1">
                <a:spLocks noChangeArrowheads="1"/>
              </p:cNvSpPr>
              <p:nvPr/>
            </p:nvSpPr>
            <p:spPr bwMode="auto">
              <a:xfrm>
                <a:off x="3822122" y="1870043"/>
                <a:ext cx="499885" cy="21372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none" lIns="73025" tIns="36512" rIns="73025" bIns="36512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zh-CN" sz="7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Arial" pitchFamily="34" charset="0"/>
                    <a:ea typeface="微软雅黑" pitchFamily="34" charset="-122"/>
                    <a:cs typeface="Arial" pitchFamily="34" charset="0"/>
                  </a:rPr>
                  <a:t>Mc 9527 </a:t>
                </a:r>
                <a:endParaRPr kumimoji="0" lang="zh-CN" altLang="en-US" sz="300" b="1" i="0" u="none" strike="noStrike" kern="0" cap="none" spc="0" normalizeH="0" baseline="3000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54" name="矩形 596"/>
              <p:cNvSpPr/>
              <p:nvPr/>
            </p:nvSpPr>
            <p:spPr bwMode="auto">
              <a:xfrm>
                <a:off x="3822150" y="1852545"/>
                <a:ext cx="513492" cy="207582"/>
              </a:xfrm>
              <a:prstGeom prst="rect">
                <a:avLst/>
              </a:prstGeom>
              <a:noFill/>
              <a:ln w="12700">
                <a:solidFill>
                  <a:srgbClr val="FFFFFF">
                    <a:lumMod val="50000"/>
                  </a:srgbClr>
                </a:solidFill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CC9900"/>
                  </a:buClr>
                  <a:buSzTx/>
                  <a:buFont typeface="Wingdings" pitchFamily="2" charset="2"/>
                  <a:buChar char="n"/>
                  <a:tabLst/>
                  <a:defRPr/>
                </a:pPr>
                <a:endParaRPr kumimoji="0" lang="zh-CN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grpSp>
          <p:nvGrpSpPr>
            <p:cNvPr id="65" name="组合 363"/>
            <p:cNvGrpSpPr>
              <a:grpSpLocks noChangeAspect="1"/>
            </p:cNvGrpSpPr>
            <p:nvPr/>
          </p:nvGrpSpPr>
          <p:grpSpPr>
            <a:xfrm>
              <a:off x="3461831" y="2100298"/>
              <a:ext cx="221359" cy="226824"/>
              <a:chOff x="5721762" y="1721227"/>
              <a:chExt cx="433524" cy="444228"/>
            </a:xfrm>
          </p:grpSpPr>
          <p:sp>
            <p:nvSpPr>
              <p:cNvPr id="350" name="Freeform 336"/>
              <p:cNvSpPr>
                <a:spLocks/>
              </p:cNvSpPr>
              <p:nvPr/>
            </p:nvSpPr>
            <p:spPr bwMode="auto">
              <a:xfrm>
                <a:off x="5973313" y="1983482"/>
                <a:ext cx="181973" cy="181973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64" y="44"/>
                  </a:cxn>
                  <a:cxn ang="0">
                    <a:pos x="64" y="44"/>
                  </a:cxn>
                  <a:cxn ang="0">
                    <a:pos x="68" y="48"/>
                  </a:cxn>
                  <a:cxn ang="0">
                    <a:pos x="68" y="54"/>
                  </a:cxn>
                  <a:cxn ang="0">
                    <a:pos x="68" y="58"/>
                  </a:cxn>
                  <a:cxn ang="0">
                    <a:pos x="64" y="64"/>
                  </a:cxn>
                  <a:cxn ang="0">
                    <a:pos x="64" y="64"/>
                  </a:cxn>
                  <a:cxn ang="0">
                    <a:pos x="60" y="66"/>
                  </a:cxn>
                  <a:cxn ang="0">
                    <a:pos x="54" y="68"/>
                  </a:cxn>
                  <a:cxn ang="0">
                    <a:pos x="50" y="68"/>
                  </a:cxn>
                  <a:cxn ang="0">
                    <a:pos x="44" y="64"/>
                  </a:cxn>
                  <a:cxn ang="0">
                    <a:pos x="0" y="20"/>
                  </a:cxn>
                  <a:cxn ang="0">
                    <a:pos x="20" y="0"/>
                  </a:cxn>
                </a:cxnLst>
                <a:rect l="0" t="0" r="r" b="b"/>
                <a:pathLst>
                  <a:path w="68" h="68">
                    <a:moveTo>
                      <a:pt x="20" y="0"/>
                    </a:moveTo>
                    <a:lnTo>
                      <a:pt x="64" y="44"/>
                    </a:lnTo>
                    <a:lnTo>
                      <a:pt x="64" y="44"/>
                    </a:lnTo>
                    <a:lnTo>
                      <a:pt x="68" y="48"/>
                    </a:lnTo>
                    <a:lnTo>
                      <a:pt x="68" y="54"/>
                    </a:lnTo>
                    <a:lnTo>
                      <a:pt x="68" y="5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6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4" y="64"/>
                    </a:lnTo>
                    <a:lnTo>
                      <a:pt x="0" y="20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000000">
                  <a:lumMod val="75000"/>
                  <a:lumOff val="2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51" name="Freeform 337"/>
              <p:cNvSpPr>
                <a:spLocks noEditPoints="1"/>
              </p:cNvSpPr>
              <p:nvPr/>
            </p:nvSpPr>
            <p:spPr bwMode="auto">
              <a:xfrm>
                <a:off x="5721762" y="1721227"/>
                <a:ext cx="278311" cy="294368"/>
              </a:xfrm>
              <a:custGeom>
                <a:avLst/>
                <a:gdLst/>
                <a:ahLst/>
                <a:cxnLst>
                  <a:cxn ang="0">
                    <a:pos x="88" y="82"/>
                  </a:cxn>
                  <a:cxn ang="0">
                    <a:pos x="94" y="76"/>
                  </a:cxn>
                  <a:cxn ang="0">
                    <a:pos x="100" y="58"/>
                  </a:cxn>
                  <a:cxn ang="0">
                    <a:pos x="100" y="50"/>
                  </a:cxn>
                  <a:cxn ang="0">
                    <a:pos x="96" y="30"/>
                  </a:cxn>
                  <a:cxn ang="0">
                    <a:pos x="86" y="14"/>
                  </a:cxn>
                  <a:cxn ang="0">
                    <a:pos x="70" y="4"/>
                  </a:cxn>
                  <a:cxn ang="0">
                    <a:pos x="50" y="0"/>
                  </a:cxn>
                  <a:cxn ang="0">
                    <a:pos x="40" y="0"/>
                  </a:cxn>
                  <a:cxn ang="0">
                    <a:pos x="22" y="8"/>
                  </a:cxn>
                  <a:cxn ang="0">
                    <a:pos x="8" y="22"/>
                  </a:cxn>
                  <a:cxn ang="0">
                    <a:pos x="0" y="40"/>
                  </a:cxn>
                  <a:cxn ang="0">
                    <a:pos x="0" y="50"/>
                  </a:cxn>
                  <a:cxn ang="0">
                    <a:pos x="4" y="70"/>
                  </a:cxn>
                  <a:cxn ang="0">
                    <a:pos x="14" y="86"/>
                  </a:cxn>
                  <a:cxn ang="0">
                    <a:pos x="30" y="96"/>
                  </a:cxn>
                  <a:cxn ang="0">
                    <a:pos x="50" y="100"/>
                  </a:cxn>
                  <a:cxn ang="0">
                    <a:pos x="64" y="98"/>
                  </a:cxn>
                  <a:cxn ang="0">
                    <a:pos x="92" y="110"/>
                  </a:cxn>
                  <a:cxn ang="0">
                    <a:pos x="14" y="50"/>
                  </a:cxn>
                  <a:cxn ang="0">
                    <a:pos x="14" y="42"/>
                  </a:cxn>
                  <a:cxn ang="0">
                    <a:pos x="20" y="30"/>
                  </a:cxn>
                  <a:cxn ang="0">
                    <a:pos x="30" y="20"/>
                  </a:cxn>
                  <a:cxn ang="0">
                    <a:pos x="42" y="14"/>
                  </a:cxn>
                  <a:cxn ang="0">
                    <a:pos x="50" y="14"/>
                  </a:cxn>
                  <a:cxn ang="0">
                    <a:pos x="64" y="16"/>
                  </a:cxn>
                  <a:cxn ang="0">
                    <a:pos x="76" y="24"/>
                  </a:cxn>
                  <a:cxn ang="0">
                    <a:pos x="84" y="36"/>
                  </a:cxn>
                  <a:cxn ang="0">
                    <a:pos x="86" y="50"/>
                  </a:cxn>
                  <a:cxn ang="0">
                    <a:pos x="86" y="56"/>
                  </a:cxn>
                  <a:cxn ang="0">
                    <a:pos x="80" y="70"/>
                  </a:cxn>
                  <a:cxn ang="0">
                    <a:pos x="70" y="80"/>
                  </a:cxn>
                  <a:cxn ang="0">
                    <a:pos x="58" y="84"/>
                  </a:cxn>
                  <a:cxn ang="0">
                    <a:pos x="50" y="86"/>
                  </a:cxn>
                  <a:cxn ang="0">
                    <a:pos x="36" y="82"/>
                  </a:cxn>
                  <a:cxn ang="0">
                    <a:pos x="24" y="74"/>
                  </a:cxn>
                  <a:cxn ang="0">
                    <a:pos x="16" y="64"/>
                  </a:cxn>
                  <a:cxn ang="0">
                    <a:pos x="14" y="50"/>
                  </a:cxn>
                </a:cxnLst>
                <a:rect l="0" t="0" r="r" b="b"/>
                <a:pathLst>
                  <a:path w="104" h="110">
                    <a:moveTo>
                      <a:pt x="104" y="98"/>
                    </a:moveTo>
                    <a:lnTo>
                      <a:pt x="88" y="82"/>
                    </a:lnTo>
                    <a:lnTo>
                      <a:pt x="88" y="82"/>
                    </a:lnTo>
                    <a:lnTo>
                      <a:pt x="94" y="76"/>
                    </a:lnTo>
                    <a:lnTo>
                      <a:pt x="96" y="68"/>
                    </a:lnTo>
                    <a:lnTo>
                      <a:pt x="100" y="58"/>
                    </a:lnTo>
                    <a:lnTo>
                      <a:pt x="100" y="50"/>
                    </a:lnTo>
                    <a:lnTo>
                      <a:pt x="100" y="50"/>
                    </a:lnTo>
                    <a:lnTo>
                      <a:pt x="100" y="40"/>
                    </a:lnTo>
                    <a:lnTo>
                      <a:pt x="96" y="30"/>
                    </a:lnTo>
                    <a:lnTo>
                      <a:pt x="92" y="22"/>
                    </a:lnTo>
                    <a:lnTo>
                      <a:pt x="86" y="14"/>
                    </a:lnTo>
                    <a:lnTo>
                      <a:pt x="78" y="8"/>
                    </a:lnTo>
                    <a:lnTo>
                      <a:pt x="70" y="4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30" y="4"/>
                    </a:lnTo>
                    <a:lnTo>
                      <a:pt x="22" y="8"/>
                    </a:lnTo>
                    <a:lnTo>
                      <a:pt x="14" y="14"/>
                    </a:lnTo>
                    <a:lnTo>
                      <a:pt x="8" y="22"/>
                    </a:lnTo>
                    <a:lnTo>
                      <a:pt x="4" y="30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60"/>
                    </a:lnTo>
                    <a:lnTo>
                      <a:pt x="4" y="70"/>
                    </a:lnTo>
                    <a:lnTo>
                      <a:pt x="8" y="78"/>
                    </a:lnTo>
                    <a:lnTo>
                      <a:pt x="14" y="86"/>
                    </a:lnTo>
                    <a:lnTo>
                      <a:pt x="22" y="92"/>
                    </a:lnTo>
                    <a:lnTo>
                      <a:pt x="30" y="96"/>
                    </a:lnTo>
                    <a:lnTo>
                      <a:pt x="40" y="98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64" y="98"/>
                    </a:lnTo>
                    <a:lnTo>
                      <a:pt x="76" y="92"/>
                    </a:lnTo>
                    <a:lnTo>
                      <a:pt x="92" y="110"/>
                    </a:lnTo>
                    <a:lnTo>
                      <a:pt x="104" y="98"/>
                    </a:lnTo>
                    <a:close/>
                    <a:moveTo>
                      <a:pt x="14" y="50"/>
                    </a:moveTo>
                    <a:lnTo>
                      <a:pt x="14" y="50"/>
                    </a:lnTo>
                    <a:lnTo>
                      <a:pt x="14" y="42"/>
                    </a:lnTo>
                    <a:lnTo>
                      <a:pt x="16" y="36"/>
                    </a:lnTo>
                    <a:lnTo>
                      <a:pt x="20" y="30"/>
                    </a:lnTo>
                    <a:lnTo>
                      <a:pt x="24" y="24"/>
                    </a:lnTo>
                    <a:lnTo>
                      <a:pt x="30" y="20"/>
                    </a:lnTo>
                    <a:lnTo>
                      <a:pt x="36" y="16"/>
                    </a:lnTo>
                    <a:lnTo>
                      <a:pt x="42" y="14"/>
                    </a:lnTo>
                    <a:lnTo>
                      <a:pt x="50" y="14"/>
                    </a:lnTo>
                    <a:lnTo>
                      <a:pt x="50" y="14"/>
                    </a:lnTo>
                    <a:lnTo>
                      <a:pt x="58" y="14"/>
                    </a:lnTo>
                    <a:lnTo>
                      <a:pt x="64" y="16"/>
                    </a:lnTo>
                    <a:lnTo>
                      <a:pt x="70" y="20"/>
                    </a:lnTo>
                    <a:lnTo>
                      <a:pt x="76" y="24"/>
                    </a:lnTo>
                    <a:lnTo>
                      <a:pt x="80" y="30"/>
                    </a:lnTo>
                    <a:lnTo>
                      <a:pt x="84" y="36"/>
                    </a:lnTo>
                    <a:lnTo>
                      <a:pt x="86" y="42"/>
                    </a:lnTo>
                    <a:lnTo>
                      <a:pt x="86" y="50"/>
                    </a:lnTo>
                    <a:lnTo>
                      <a:pt x="86" y="50"/>
                    </a:lnTo>
                    <a:lnTo>
                      <a:pt x="86" y="56"/>
                    </a:lnTo>
                    <a:lnTo>
                      <a:pt x="84" y="64"/>
                    </a:lnTo>
                    <a:lnTo>
                      <a:pt x="80" y="70"/>
                    </a:lnTo>
                    <a:lnTo>
                      <a:pt x="76" y="74"/>
                    </a:lnTo>
                    <a:lnTo>
                      <a:pt x="70" y="80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0" y="86"/>
                    </a:lnTo>
                    <a:lnTo>
                      <a:pt x="50" y="86"/>
                    </a:lnTo>
                    <a:lnTo>
                      <a:pt x="42" y="84"/>
                    </a:lnTo>
                    <a:lnTo>
                      <a:pt x="36" y="82"/>
                    </a:lnTo>
                    <a:lnTo>
                      <a:pt x="30" y="80"/>
                    </a:lnTo>
                    <a:lnTo>
                      <a:pt x="24" y="74"/>
                    </a:lnTo>
                    <a:lnTo>
                      <a:pt x="20" y="70"/>
                    </a:lnTo>
                    <a:lnTo>
                      <a:pt x="16" y="64"/>
                    </a:lnTo>
                    <a:lnTo>
                      <a:pt x="14" y="56"/>
                    </a:lnTo>
                    <a:lnTo>
                      <a:pt x="14" y="50"/>
                    </a:lnTo>
                    <a:lnTo>
                      <a:pt x="14" y="50"/>
                    </a:lnTo>
                    <a:close/>
                  </a:path>
                </a:pathLst>
              </a:custGeom>
              <a:solidFill>
                <a:srgbClr val="000000">
                  <a:lumMod val="75000"/>
                  <a:lumOff val="2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52" name="Freeform 338"/>
              <p:cNvSpPr>
                <a:spLocks/>
              </p:cNvSpPr>
              <p:nvPr/>
            </p:nvSpPr>
            <p:spPr bwMode="auto">
              <a:xfrm>
                <a:off x="5791340" y="1790805"/>
                <a:ext cx="128451" cy="123099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28" y="20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6" y="2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2"/>
                  </a:cxn>
                  <a:cxn ang="0">
                    <a:pos x="20" y="4"/>
                  </a:cxn>
                  <a:cxn ang="0">
                    <a:pos x="20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2" y="20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4" y="28"/>
                  </a:cxn>
                  <a:cxn ang="0">
                    <a:pos x="20" y="28"/>
                  </a:cxn>
                  <a:cxn ang="0">
                    <a:pos x="20" y="42"/>
                  </a:cxn>
                  <a:cxn ang="0">
                    <a:pos x="20" y="42"/>
                  </a:cxn>
                  <a:cxn ang="0">
                    <a:pos x="20" y="46"/>
                  </a:cxn>
                  <a:cxn ang="0">
                    <a:pos x="24" y="46"/>
                  </a:cxn>
                  <a:cxn ang="0">
                    <a:pos x="24" y="46"/>
                  </a:cxn>
                  <a:cxn ang="0">
                    <a:pos x="26" y="46"/>
                  </a:cxn>
                  <a:cxn ang="0">
                    <a:pos x="28" y="42"/>
                  </a:cxn>
                  <a:cxn ang="0">
                    <a:pos x="28" y="28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6" y="26"/>
                  </a:cxn>
                  <a:cxn ang="0">
                    <a:pos x="48" y="24"/>
                  </a:cxn>
                  <a:cxn ang="0">
                    <a:pos x="48" y="24"/>
                  </a:cxn>
                  <a:cxn ang="0">
                    <a:pos x="46" y="20"/>
                  </a:cxn>
                  <a:cxn ang="0">
                    <a:pos x="44" y="20"/>
                  </a:cxn>
                  <a:cxn ang="0">
                    <a:pos x="44" y="20"/>
                  </a:cxn>
                </a:cxnLst>
                <a:rect l="0" t="0" r="r" b="b"/>
                <a:pathLst>
                  <a:path w="48" h="46">
                    <a:moveTo>
                      <a:pt x="44" y="20"/>
                    </a:moveTo>
                    <a:lnTo>
                      <a:pt x="28" y="2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0" y="2"/>
                    </a:lnTo>
                    <a:lnTo>
                      <a:pt x="20" y="4"/>
                    </a:lnTo>
                    <a:lnTo>
                      <a:pt x="2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6"/>
                    </a:lnTo>
                    <a:lnTo>
                      <a:pt x="4" y="28"/>
                    </a:lnTo>
                    <a:lnTo>
                      <a:pt x="20" y="28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46"/>
                    </a:lnTo>
                    <a:lnTo>
                      <a:pt x="28" y="42"/>
                    </a:lnTo>
                    <a:lnTo>
                      <a:pt x="2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6" y="26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6" y="20"/>
                    </a:lnTo>
                    <a:lnTo>
                      <a:pt x="44" y="20"/>
                    </a:lnTo>
                    <a:lnTo>
                      <a:pt x="44" y="20"/>
                    </a:lnTo>
                    <a:close/>
                  </a:path>
                </a:pathLst>
              </a:custGeom>
              <a:solidFill>
                <a:srgbClr val="000000">
                  <a:lumMod val="75000"/>
                  <a:lumOff val="25000"/>
                </a:srgb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</p:grpSp>
      <p:sp>
        <p:nvSpPr>
          <p:cNvPr id="355" name="119841472"/>
          <p:cNvSpPr/>
          <p:nvPr/>
        </p:nvSpPr>
        <p:spPr>
          <a:xfrm>
            <a:off x="3549754" y="4216831"/>
            <a:ext cx="784477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Checkpoint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356" name="119841472"/>
          <p:cNvSpPr/>
          <p:nvPr/>
        </p:nvSpPr>
        <p:spPr>
          <a:xfrm>
            <a:off x="4318206" y="4216831"/>
            <a:ext cx="622573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-Police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pic>
        <p:nvPicPr>
          <p:cNvPr id="357" name="图片 607" descr="its-index-1384143400945.gif"/>
          <p:cNvPicPr>
            <a:picLocks noChangeAspect="1"/>
          </p:cNvPicPr>
          <p:nvPr/>
        </p:nvPicPr>
        <p:blipFill>
          <a:blip r:embed="rId24" cstate="screen"/>
          <a:stretch>
            <a:fillRect/>
          </a:stretch>
        </p:blipFill>
        <p:spPr>
          <a:xfrm>
            <a:off x="4409492" y="3712775"/>
            <a:ext cx="446545" cy="180586"/>
          </a:xfrm>
          <a:prstGeom prst="rect">
            <a:avLst/>
          </a:prstGeom>
        </p:spPr>
      </p:pic>
      <p:sp>
        <p:nvSpPr>
          <p:cNvPr id="371" name="119841472"/>
          <p:cNvSpPr/>
          <p:nvPr/>
        </p:nvSpPr>
        <p:spPr>
          <a:xfrm>
            <a:off x="4914039" y="4216831"/>
            <a:ext cx="842184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b="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Road Traffic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66" name="组合 348"/>
          <p:cNvGrpSpPr>
            <a:grpSpLocks noChangeAspect="1"/>
          </p:cNvGrpSpPr>
          <p:nvPr/>
        </p:nvGrpSpPr>
        <p:grpSpPr>
          <a:xfrm>
            <a:off x="5067321" y="3712775"/>
            <a:ext cx="299255" cy="148811"/>
            <a:chOff x="-1708150" y="3035300"/>
            <a:chExt cx="1457325" cy="904875"/>
          </a:xfrm>
          <a:solidFill>
            <a:srgbClr val="002060">
              <a:alpha val="64000"/>
            </a:srgbClr>
          </a:solidFill>
        </p:grpSpPr>
        <p:sp>
          <p:nvSpPr>
            <p:cNvPr id="373" name="Freeform 10"/>
            <p:cNvSpPr>
              <a:spLocks/>
            </p:cNvSpPr>
            <p:nvPr/>
          </p:nvSpPr>
          <p:spPr bwMode="auto">
            <a:xfrm>
              <a:off x="-1639888" y="3035300"/>
              <a:ext cx="1163638" cy="241300"/>
            </a:xfrm>
            <a:custGeom>
              <a:avLst/>
              <a:gdLst/>
              <a:ahLst/>
              <a:cxnLst>
                <a:cxn ang="0">
                  <a:pos x="21" y="2263"/>
                </a:cxn>
                <a:cxn ang="0">
                  <a:pos x="128" y="2298"/>
                </a:cxn>
                <a:cxn ang="0">
                  <a:pos x="245" y="2334"/>
                </a:cxn>
                <a:cxn ang="0">
                  <a:pos x="395" y="2378"/>
                </a:cxn>
                <a:cxn ang="0">
                  <a:pos x="575" y="2426"/>
                </a:cxn>
                <a:cxn ang="0">
                  <a:pos x="781" y="2477"/>
                </a:cxn>
                <a:cxn ang="0">
                  <a:pos x="1011" y="2530"/>
                </a:cxn>
                <a:cxn ang="0">
                  <a:pos x="1263" y="2581"/>
                </a:cxn>
                <a:cxn ang="0">
                  <a:pos x="1532" y="2629"/>
                </a:cxn>
                <a:cxn ang="0">
                  <a:pos x="1816" y="2670"/>
                </a:cxn>
                <a:cxn ang="0">
                  <a:pos x="2111" y="2704"/>
                </a:cxn>
                <a:cxn ang="0">
                  <a:pos x="2415" y="2727"/>
                </a:cxn>
                <a:cxn ang="0">
                  <a:pos x="2724" y="2737"/>
                </a:cxn>
                <a:cxn ang="0">
                  <a:pos x="3036" y="2732"/>
                </a:cxn>
                <a:cxn ang="0">
                  <a:pos x="3347" y="2710"/>
                </a:cxn>
                <a:cxn ang="0">
                  <a:pos x="3673" y="2669"/>
                </a:cxn>
                <a:cxn ang="0">
                  <a:pos x="4115" y="2602"/>
                </a:cxn>
                <a:cxn ang="0">
                  <a:pos x="4671" y="2512"/>
                </a:cxn>
                <a:cxn ang="0">
                  <a:pos x="5322" y="2404"/>
                </a:cxn>
                <a:cxn ang="0">
                  <a:pos x="6428" y="2216"/>
                </a:cxn>
                <a:cxn ang="0">
                  <a:pos x="8040" y="1936"/>
                </a:cxn>
                <a:cxn ang="0">
                  <a:pos x="9659" y="1651"/>
                </a:cxn>
                <a:cxn ang="0">
                  <a:pos x="11117" y="1392"/>
                </a:cxn>
                <a:cxn ang="0">
                  <a:pos x="12251" y="1188"/>
                </a:cxn>
                <a:cxn ang="0">
                  <a:pos x="12897" y="1071"/>
                </a:cxn>
                <a:cxn ang="0">
                  <a:pos x="12996" y="1040"/>
                </a:cxn>
                <a:cxn ang="0">
                  <a:pos x="13044" y="972"/>
                </a:cxn>
                <a:cxn ang="0">
                  <a:pos x="13086" y="903"/>
                </a:cxn>
                <a:cxn ang="0">
                  <a:pos x="13131" y="822"/>
                </a:cxn>
                <a:cxn ang="0">
                  <a:pos x="13161" y="756"/>
                </a:cxn>
                <a:cxn ang="0">
                  <a:pos x="13178" y="710"/>
                </a:cxn>
                <a:cxn ang="0">
                  <a:pos x="13192" y="664"/>
                </a:cxn>
                <a:cxn ang="0">
                  <a:pos x="13202" y="618"/>
                </a:cxn>
                <a:cxn ang="0">
                  <a:pos x="13207" y="574"/>
                </a:cxn>
                <a:cxn ang="0">
                  <a:pos x="13207" y="531"/>
                </a:cxn>
                <a:cxn ang="0">
                  <a:pos x="13200" y="489"/>
                </a:cxn>
                <a:cxn ang="0">
                  <a:pos x="13182" y="447"/>
                </a:cxn>
                <a:cxn ang="0">
                  <a:pos x="13157" y="404"/>
                </a:cxn>
                <a:cxn ang="0">
                  <a:pos x="13122" y="360"/>
                </a:cxn>
                <a:cxn ang="0">
                  <a:pos x="13083" y="316"/>
                </a:cxn>
                <a:cxn ang="0">
                  <a:pos x="13039" y="274"/>
                </a:cxn>
                <a:cxn ang="0">
                  <a:pos x="12966" y="212"/>
                </a:cxn>
                <a:cxn ang="0">
                  <a:pos x="12868" y="137"/>
                </a:cxn>
                <a:cxn ang="0">
                  <a:pos x="12776" y="74"/>
                </a:cxn>
                <a:cxn ang="0">
                  <a:pos x="12679" y="13"/>
                </a:cxn>
                <a:cxn ang="0">
                  <a:pos x="0" y="2256"/>
                </a:cxn>
              </a:cxnLst>
              <a:rect l="0" t="0" r="r" b="b"/>
              <a:pathLst>
                <a:path w="13208" h="2737">
                  <a:moveTo>
                    <a:pt x="0" y="2256"/>
                  </a:moveTo>
                  <a:lnTo>
                    <a:pt x="21" y="2263"/>
                  </a:lnTo>
                  <a:lnTo>
                    <a:pt x="83" y="2284"/>
                  </a:lnTo>
                  <a:lnTo>
                    <a:pt x="128" y="2298"/>
                  </a:lnTo>
                  <a:lnTo>
                    <a:pt x="182" y="2315"/>
                  </a:lnTo>
                  <a:lnTo>
                    <a:pt x="245" y="2334"/>
                  </a:lnTo>
                  <a:lnTo>
                    <a:pt x="316" y="2355"/>
                  </a:lnTo>
                  <a:lnTo>
                    <a:pt x="395" y="2378"/>
                  </a:lnTo>
                  <a:lnTo>
                    <a:pt x="482" y="2401"/>
                  </a:lnTo>
                  <a:lnTo>
                    <a:pt x="575" y="2426"/>
                  </a:lnTo>
                  <a:lnTo>
                    <a:pt x="675" y="2452"/>
                  </a:lnTo>
                  <a:lnTo>
                    <a:pt x="781" y="2477"/>
                  </a:lnTo>
                  <a:lnTo>
                    <a:pt x="894" y="2504"/>
                  </a:lnTo>
                  <a:lnTo>
                    <a:pt x="1011" y="2530"/>
                  </a:lnTo>
                  <a:lnTo>
                    <a:pt x="1135" y="2556"/>
                  </a:lnTo>
                  <a:lnTo>
                    <a:pt x="1263" y="2581"/>
                  </a:lnTo>
                  <a:lnTo>
                    <a:pt x="1396" y="2606"/>
                  </a:lnTo>
                  <a:lnTo>
                    <a:pt x="1532" y="2629"/>
                  </a:lnTo>
                  <a:lnTo>
                    <a:pt x="1672" y="2651"/>
                  </a:lnTo>
                  <a:lnTo>
                    <a:pt x="1816" y="2670"/>
                  </a:lnTo>
                  <a:lnTo>
                    <a:pt x="1961" y="2688"/>
                  </a:lnTo>
                  <a:lnTo>
                    <a:pt x="2111" y="2704"/>
                  </a:lnTo>
                  <a:lnTo>
                    <a:pt x="2262" y="2716"/>
                  </a:lnTo>
                  <a:lnTo>
                    <a:pt x="2415" y="2727"/>
                  </a:lnTo>
                  <a:lnTo>
                    <a:pt x="2569" y="2733"/>
                  </a:lnTo>
                  <a:lnTo>
                    <a:pt x="2724" y="2737"/>
                  </a:lnTo>
                  <a:lnTo>
                    <a:pt x="2880" y="2736"/>
                  </a:lnTo>
                  <a:lnTo>
                    <a:pt x="3036" y="2732"/>
                  </a:lnTo>
                  <a:lnTo>
                    <a:pt x="3191" y="2724"/>
                  </a:lnTo>
                  <a:lnTo>
                    <a:pt x="3347" y="2710"/>
                  </a:lnTo>
                  <a:lnTo>
                    <a:pt x="3501" y="2693"/>
                  </a:lnTo>
                  <a:lnTo>
                    <a:pt x="3673" y="2669"/>
                  </a:lnTo>
                  <a:lnTo>
                    <a:pt x="3878" y="2638"/>
                  </a:lnTo>
                  <a:lnTo>
                    <a:pt x="4115" y="2602"/>
                  </a:lnTo>
                  <a:lnTo>
                    <a:pt x="4380" y="2560"/>
                  </a:lnTo>
                  <a:lnTo>
                    <a:pt x="4671" y="2512"/>
                  </a:lnTo>
                  <a:lnTo>
                    <a:pt x="4986" y="2461"/>
                  </a:lnTo>
                  <a:lnTo>
                    <a:pt x="5322" y="2404"/>
                  </a:lnTo>
                  <a:lnTo>
                    <a:pt x="5676" y="2345"/>
                  </a:lnTo>
                  <a:lnTo>
                    <a:pt x="6428" y="2216"/>
                  </a:lnTo>
                  <a:lnTo>
                    <a:pt x="7223" y="2079"/>
                  </a:lnTo>
                  <a:lnTo>
                    <a:pt x="8040" y="1936"/>
                  </a:lnTo>
                  <a:lnTo>
                    <a:pt x="8859" y="1792"/>
                  </a:lnTo>
                  <a:lnTo>
                    <a:pt x="9659" y="1651"/>
                  </a:lnTo>
                  <a:lnTo>
                    <a:pt x="10418" y="1516"/>
                  </a:lnTo>
                  <a:lnTo>
                    <a:pt x="11117" y="1392"/>
                  </a:lnTo>
                  <a:lnTo>
                    <a:pt x="11734" y="1280"/>
                  </a:lnTo>
                  <a:lnTo>
                    <a:pt x="12251" y="1188"/>
                  </a:lnTo>
                  <a:lnTo>
                    <a:pt x="12645" y="1117"/>
                  </a:lnTo>
                  <a:lnTo>
                    <a:pt x="12897" y="1071"/>
                  </a:lnTo>
                  <a:lnTo>
                    <a:pt x="12986" y="1055"/>
                  </a:lnTo>
                  <a:lnTo>
                    <a:pt x="12996" y="1040"/>
                  </a:lnTo>
                  <a:lnTo>
                    <a:pt x="13025" y="1000"/>
                  </a:lnTo>
                  <a:lnTo>
                    <a:pt x="13044" y="972"/>
                  </a:lnTo>
                  <a:lnTo>
                    <a:pt x="13065" y="941"/>
                  </a:lnTo>
                  <a:lnTo>
                    <a:pt x="13086" y="903"/>
                  </a:lnTo>
                  <a:lnTo>
                    <a:pt x="13109" y="864"/>
                  </a:lnTo>
                  <a:lnTo>
                    <a:pt x="13131" y="822"/>
                  </a:lnTo>
                  <a:lnTo>
                    <a:pt x="13151" y="778"/>
                  </a:lnTo>
                  <a:lnTo>
                    <a:pt x="13161" y="756"/>
                  </a:lnTo>
                  <a:lnTo>
                    <a:pt x="13170" y="733"/>
                  </a:lnTo>
                  <a:lnTo>
                    <a:pt x="13178" y="710"/>
                  </a:lnTo>
                  <a:lnTo>
                    <a:pt x="13185" y="687"/>
                  </a:lnTo>
                  <a:lnTo>
                    <a:pt x="13192" y="664"/>
                  </a:lnTo>
                  <a:lnTo>
                    <a:pt x="13198" y="641"/>
                  </a:lnTo>
                  <a:lnTo>
                    <a:pt x="13202" y="618"/>
                  </a:lnTo>
                  <a:lnTo>
                    <a:pt x="13205" y="595"/>
                  </a:lnTo>
                  <a:lnTo>
                    <a:pt x="13207" y="574"/>
                  </a:lnTo>
                  <a:lnTo>
                    <a:pt x="13208" y="552"/>
                  </a:lnTo>
                  <a:lnTo>
                    <a:pt x="13207" y="531"/>
                  </a:lnTo>
                  <a:lnTo>
                    <a:pt x="13205" y="509"/>
                  </a:lnTo>
                  <a:lnTo>
                    <a:pt x="13200" y="489"/>
                  </a:lnTo>
                  <a:lnTo>
                    <a:pt x="13192" y="468"/>
                  </a:lnTo>
                  <a:lnTo>
                    <a:pt x="13182" y="447"/>
                  </a:lnTo>
                  <a:lnTo>
                    <a:pt x="13170" y="425"/>
                  </a:lnTo>
                  <a:lnTo>
                    <a:pt x="13157" y="404"/>
                  </a:lnTo>
                  <a:lnTo>
                    <a:pt x="13140" y="382"/>
                  </a:lnTo>
                  <a:lnTo>
                    <a:pt x="13122" y="360"/>
                  </a:lnTo>
                  <a:lnTo>
                    <a:pt x="13104" y="338"/>
                  </a:lnTo>
                  <a:lnTo>
                    <a:pt x="13083" y="316"/>
                  </a:lnTo>
                  <a:lnTo>
                    <a:pt x="13061" y="295"/>
                  </a:lnTo>
                  <a:lnTo>
                    <a:pt x="13039" y="274"/>
                  </a:lnTo>
                  <a:lnTo>
                    <a:pt x="13015" y="252"/>
                  </a:lnTo>
                  <a:lnTo>
                    <a:pt x="12966" y="212"/>
                  </a:lnTo>
                  <a:lnTo>
                    <a:pt x="12917" y="173"/>
                  </a:lnTo>
                  <a:lnTo>
                    <a:pt x="12868" y="137"/>
                  </a:lnTo>
                  <a:lnTo>
                    <a:pt x="12821" y="104"/>
                  </a:lnTo>
                  <a:lnTo>
                    <a:pt x="12776" y="74"/>
                  </a:lnTo>
                  <a:lnTo>
                    <a:pt x="12737" y="49"/>
                  </a:lnTo>
                  <a:lnTo>
                    <a:pt x="12679" y="13"/>
                  </a:lnTo>
                  <a:lnTo>
                    <a:pt x="12658" y="0"/>
                  </a:lnTo>
                  <a:lnTo>
                    <a:pt x="0" y="22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4" name="Freeform 11"/>
            <p:cNvSpPr>
              <a:spLocks/>
            </p:cNvSpPr>
            <p:nvPr/>
          </p:nvSpPr>
          <p:spPr bwMode="auto">
            <a:xfrm>
              <a:off x="-1357313" y="3157538"/>
              <a:ext cx="842963" cy="327025"/>
            </a:xfrm>
            <a:custGeom>
              <a:avLst/>
              <a:gdLst/>
              <a:ahLst/>
              <a:cxnLst>
                <a:cxn ang="0">
                  <a:pos x="9557" y="0"/>
                </a:cxn>
                <a:cxn ang="0">
                  <a:pos x="9514" y="696"/>
                </a:cxn>
                <a:cxn ang="0">
                  <a:pos x="9463" y="726"/>
                </a:cxn>
                <a:cxn ang="0">
                  <a:pos x="9370" y="783"/>
                </a:cxn>
                <a:cxn ang="0">
                  <a:pos x="9243" y="868"/>
                </a:cxn>
                <a:cxn ang="0">
                  <a:pos x="9089" y="977"/>
                </a:cxn>
                <a:cxn ang="0">
                  <a:pos x="8962" y="1074"/>
                </a:cxn>
                <a:cxn ang="0">
                  <a:pos x="8872" y="1146"/>
                </a:cxn>
                <a:cxn ang="0">
                  <a:pos x="8782" y="1222"/>
                </a:cxn>
                <a:cxn ang="0">
                  <a:pos x="8690" y="1305"/>
                </a:cxn>
                <a:cxn ang="0">
                  <a:pos x="8598" y="1391"/>
                </a:cxn>
                <a:cxn ang="0">
                  <a:pos x="8507" y="1482"/>
                </a:cxn>
                <a:cxn ang="0">
                  <a:pos x="8419" y="1577"/>
                </a:cxn>
                <a:cxn ang="0">
                  <a:pos x="8342" y="1668"/>
                </a:cxn>
                <a:cxn ang="0">
                  <a:pos x="8272" y="1757"/>
                </a:cxn>
                <a:cxn ang="0">
                  <a:pos x="8215" y="1840"/>
                </a:cxn>
                <a:cxn ang="0">
                  <a:pos x="8164" y="1920"/>
                </a:cxn>
                <a:cxn ang="0">
                  <a:pos x="8122" y="1994"/>
                </a:cxn>
                <a:cxn ang="0">
                  <a:pos x="8088" y="2063"/>
                </a:cxn>
                <a:cxn ang="0">
                  <a:pos x="8060" y="2127"/>
                </a:cxn>
                <a:cxn ang="0">
                  <a:pos x="8037" y="2185"/>
                </a:cxn>
                <a:cxn ang="0">
                  <a:pos x="8019" y="2237"/>
                </a:cxn>
                <a:cxn ang="0">
                  <a:pos x="8003" y="2302"/>
                </a:cxn>
                <a:cxn ang="0">
                  <a:pos x="7992" y="2366"/>
                </a:cxn>
                <a:cxn ang="0">
                  <a:pos x="7988" y="2398"/>
                </a:cxn>
                <a:cxn ang="0">
                  <a:pos x="182" y="3712"/>
                </a:cxn>
                <a:cxn ang="0">
                  <a:pos x="191" y="3678"/>
                </a:cxn>
                <a:cxn ang="0">
                  <a:pos x="215" y="3585"/>
                </a:cxn>
                <a:cxn ang="0">
                  <a:pos x="248" y="3445"/>
                </a:cxn>
                <a:cxn ang="0">
                  <a:pos x="283" y="3271"/>
                </a:cxn>
                <a:cxn ang="0">
                  <a:pos x="299" y="3174"/>
                </a:cxn>
                <a:cxn ang="0">
                  <a:pos x="314" y="3074"/>
                </a:cxn>
                <a:cxn ang="0">
                  <a:pos x="326" y="2971"/>
                </a:cxn>
                <a:cxn ang="0">
                  <a:pos x="336" y="2867"/>
                </a:cxn>
                <a:cxn ang="0">
                  <a:pos x="342" y="2764"/>
                </a:cxn>
                <a:cxn ang="0">
                  <a:pos x="343" y="2663"/>
                </a:cxn>
                <a:cxn ang="0">
                  <a:pos x="339" y="2566"/>
                </a:cxn>
                <a:cxn ang="0">
                  <a:pos x="329" y="2475"/>
                </a:cxn>
                <a:cxn ang="0">
                  <a:pos x="312" y="2388"/>
                </a:cxn>
                <a:cxn ang="0">
                  <a:pos x="293" y="2306"/>
                </a:cxn>
                <a:cxn ang="0">
                  <a:pos x="271" y="2229"/>
                </a:cxn>
                <a:cxn ang="0">
                  <a:pos x="246" y="2155"/>
                </a:cxn>
                <a:cxn ang="0">
                  <a:pos x="219" y="2088"/>
                </a:cxn>
                <a:cxn ang="0">
                  <a:pos x="192" y="2026"/>
                </a:cxn>
                <a:cxn ang="0">
                  <a:pos x="164" y="1968"/>
                </a:cxn>
                <a:cxn ang="0">
                  <a:pos x="136" y="1915"/>
                </a:cxn>
                <a:cxn ang="0">
                  <a:pos x="85" y="1828"/>
                </a:cxn>
                <a:cxn ang="0">
                  <a:pos x="40" y="1764"/>
                </a:cxn>
                <a:cxn ang="0">
                  <a:pos x="11" y="1724"/>
                </a:cxn>
                <a:cxn ang="0">
                  <a:pos x="0" y="1710"/>
                </a:cxn>
              </a:cxnLst>
              <a:rect l="0" t="0" r="r" b="b"/>
              <a:pathLst>
                <a:path w="9557" h="3712">
                  <a:moveTo>
                    <a:pt x="0" y="1710"/>
                  </a:moveTo>
                  <a:lnTo>
                    <a:pt x="9557" y="0"/>
                  </a:lnTo>
                  <a:lnTo>
                    <a:pt x="9520" y="692"/>
                  </a:lnTo>
                  <a:lnTo>
                    <a:pt x="9514" y="696"/>
                  </a:lnTo>
                  <a:lnTo>
                    <a:pt x="9494" y="707"/>
                  </a:lnTo>
                  <a:lnTo>
                    <a:pt x="9463" y="726"/>
                  </a:lnTo>
                  <a:lnTo>
                    <a:pt x="9422" y="751"/>
                  </a:lnTo>
                  <a:lnTo>
                    <a:pt x="9370" y="783"/>
                  </a:lnTo>
                  <a:lnTo>
                    <a:pt x="9310" y="822"/>
                  </a:lnTo>
                  <a:lnTo>
                    <a:pt x="9243" y="868"/>
                  </a:lnTo>
                  <a:lnTo>
                    <a:pt x="9169" y="919"/>
                  </a:lnTo>
                  <a:lnTo>
                    <a:pt x="9089" y="977"/>
                  </a:lnTo>
                  <a:lnTo>
                    <a:pt x="9006" y="1041"/>
                  </a:lnTo>
                  <a:lnTo>
                    <a:pt x="8962" y="1074"/>
                  </a:lnTo>
                  <a:lnTo>
                    <a:pt x="8918" y="1109"/>
                  </a:lnTo>
                  <a:lnTo>
                    <a:pt x="8872" y="1146"/>
                  </a:lnTo>
                  <a:lnTo>
                    <a:pt x="8828" y="1183"/>
                  </a:lnTo>
                  <a:lnTo>
                    <a:pt x="8782" y="1222"/>
                  </a:lnTo>
                  <a:lnTo>
                    <a:pt x="8736" y="1262"/>
                  </a:lnTo>
                  <a:lnTo>
                    <a:pt x="8690" y="1305"/>
                  </a:lnTo>
                  <a:lnTo>
                    <a:pt x="8644" y="1347"/>
                  </a:lnTo>
                  <a:lnTo>
                    <a:pt x="8598" y="1391"/>
                  </a:lnTo>
                  <a:lnTo>
                    <a:pt x="8552" y="1435"/>
                  </a:lnTo>
                  <a:lnTo>
                    <a:pt x="8507" y="1482"/>
                  </a:lnTo>
                  <a:lnTo>
                    <a:pt x="8462" y="1529"/>
                  </a:lnTo>
                  <a:lnTo>
                    <a:pt x="8419" y="1577"/>
                  </a:lnTo>
                  <a:lnTo>
                    <a:pt x="8379" y="1623"/>
                  </a:lnTo>
                  <a:lnTo>
                    <a:pt x="8342" y="1668"/>
                  </a:lnTo>
                  <a:lnTo>
                    <a:pt x="8305" y="1712"/>
                  </a:lnTo>
                  <a:lnTo>
                    <a:pt x="8272" y="1757"/>
                  </a:lnTo>
                  <a:lnTo>
                    <a:pt x="8242" y="1799"/>
                  </a:lnTo>
                  <a:lnTo>
                    <a:pt x="8215" y="1840"/>
                  </a:lnTo>
                  <a:lnTo>
                    <a:pt x="8188" y="1880"/>
                  </a:lnTo>
                  <a:lnTo>
                    <a:pt x="8164" y="1920"/>
                  </a:lnTo>
                  <a:lnTo>
                    <a:pt x="8142" y="1958"/>
                  </a:lnTo>
                  <a:lnTo>
                    <a:pt x="8122" y="1994"/>
                  </a:lnTo>
                  <a:lnTo>
                    <a:pt x="8104" y="2029"/>
                  </a:lnTo>
                  <a:lnTo>
                    <a:pt x="8088" y="2063"/>
                  </a:lnTo>
                  <a:lnTo>
                    <a:pt x="8072" y="2096"/>
                  </a:lnTo>
                  <a:lnTo>
                    <a:pt x="8060" y="2127"/>
                  </a:lnTo>
                  <a:lnTo>
                    <a:pt x="8047" y="2156"/>
                  </a:lnTo>
                  <a:lnTo>
                    <a:pt x="8037" y="2185"/>
                  </a:lnTo>
                  <a:lnTo>
                    <a:pt x="8028" y="2211"/>
                  </a:lnTo>
                  <a:lnTo>
                    <a:pt x="8019" y="2237"/>
                  </a:lnTo>
                  <a:lnTo>
                    <a:pt x="8013" y="2259"/>
                  </a:lnTo>
                  <a:lnTo>
                    <a:pt x="8003" y="2302"/>
                  </a:lnTo>
                  <a:lnTo>
                    <a:pt x="7996" y="2337"/>
                  </a:lnTo>
                  <a:lnTo>
                    <a:pt x="7992" y="2366"/>
                  </a:lnTo>
                  <a:lnTo>
                    <a:pt x="7989" y="2385"/>
                  </a:lnTo>
                  <a:lnTo>
                    <a:pt x="7988" y="2398"/>
                  </a:lnTo>
                  <a:lnTo>
                    <a:pt x="7988" y="2402"/>
                  </a:lnTo>
                  <a:lnTo>
                    <a:pt x="182" y="3712"/>
                  </a:lnTo>
                  <a:lnTo>
                    <a:pt x="185" y="3703"/>
                  </a:lnTo>
                  <a:lnTo>
                    <a:pt x="191" y="3678"/>
                  </a:lnTo>
                  <a:lnTo>
                    <a:pt x="201" y="3638"/>
                  </a:lnTo>
                  <a:lnTo>
                    <a:pt x="215" y="3585"/>
                  </a:lnTo>
                  <a:lnTo>
                    <a:pt x="230" y="3520"/>
                  </a:lnTo>
                  <a:lnTo>
                    <a:pt x="248" y="3445"/>
                  </a:lnTo>
                  <a:lnTo>
                    <a:pt x="264" y="3362"/>
                  </a:lnTo>
                  <a:lnTo>
                    <a:pt x="283" y="3271"/>
                  </a:lnTo>
                  <a:lnTo>
                    <a:pt x="290" y="3224"/>
                  </a:lnTo>
                  <a:lnTo>
                    <a:pt x="299" y="3174"/>
                  </a:lnTo>
                  <a:lnTo>
                    <a:pt x="307" y="3125"/>
                  </a:lnTo>
                  <a:lnTo>
                    <a:pt x="314" y="3074"/>
                  </a:lnTo>
                  <a:lnTo>
                    <a:pt x="320" y="3023"/>
                  </a:lnTo>
                  <a:lnTo>
                    <a:pt x="326" y="2971"/>
                  </a:lnTo>
                  <a:lnTo>
                    <a:pt x="332" y="2920"/>
                  </a:lnTo>
                  <a:lnTo>
                    <a:pt x="336" y="2867"/>
                  </a:lnTo>
                  <a:lnTo>
                    <a:pt x="339" y="2816"/>
                  </a:lnTo>
                  <a:lnTo>
                    <a:pt x="342" y="2764"/>
                  </a:lnTo>
                  <a:lnTo>
                    <a:pt x="343" y="2714"/>
                  </a:lnTo>
                  <a:lnTo>
                    <a:pt x="343" y="2663"/>
                  </a:lnTo>
                  <a:lnTo>
                    <a:pt x="341" y="2615"/>
                  </a:lnTo>
                  <a:lnTo>
                    <a:pt x="339" y="2566"/>
                  </a:lnTo>
                  <a:lnTo>
                    <a:pt x="335" y="2520"/>
                  </a:lnTo>
                  <a:lnTo>
                    <a:pt x="329" y="2475"/>
                  </a:lnTo>
                  <a:lnTo>
                    <a:pt x="320" y="2432"/>
                  </a:lnTo>
                  <a:lnTo>
                    <a:pt x="312" y="2388"/>
                  </a:lnTo>
                  <a:lnTo>
                    <a:pt x="303" y="2347"/>
                  </a:lnTo>
                  <a:lnTo>
                    <a:pt x="293" y="2306"/>
                  </a:lnTo>
                  <a:lnTo>
                    <a:pt x="282" y="2267"/>
                  </a:lnTo>
                  <a:lnTo>
                    <a:pt x="271" y="2229"/>
                  </a:lnTo>
                  <a:lnTo>
                    <a:pt x="258" y="2191"/>
                  </a:lnTo>
                  <a:lnTo>
                    <a:pt x="246" y="2155"/>
                  </a:lnTo>
                  <a:lnTo>
                    <a:pt x="232" y="2121"/>
                  </a:lnTo>
                  <a:lnTo>
                    <a:pt x="219" y="2088"/>
                  </a:lnTo>
                  <a:lnTo>
                    <a:pt x="206" y="2057"/>
                  </a:lnTo>
                  <a:lnTo>
                    <a:pt x="192" y="2026"/>
                  </a:lnTo>
                  <a:lnTo>
                    <a:pt x="178" y="1996"/>
                  </a:lnTo>
                  <a:lnTo>
                    <a:pt x="164" y="1968"/>
                  </a:lnTo>
                  <a:lnTo>
                    <a:pt x="150" y="1941"/>
                  </a:lnTo>
                  <a:lnTo>
                    <a:pt x="136" y="1915"/>
                  </a:lnTo>
                  <a:lnTo>
                    <a:pt x="110" y="1869"/>
                  </a:lnTo>
                  <a:lnTo>
                    <a:pt x="85" y="1828"/>
                  </a:lnTo>
                  <a:lnTo>
                    <a:pt x="61" y="1793"/>
                  </a:lnTo>
                  <a:lnTo>
                    <a:pt x="40" y="1764"/>
                  </a:lnTo>
                  <a:lnTo>
                    <a:pt x="24" y="1741"/>
                  </a:lnTo>
                  <a:lnTo>
                    <a:pt x="11" y="1724"/>
                  </a:lnTo>
                  <a:lnTo>
                    <a:pt x="3" y="1715"/>
                  </a:lnTo>
                  <a:lnTo>
                    <a:pt x="0" y="17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5" name="Freeform 12"/>
            <p:cNvSpPr>
              <a:spLocks/>
            </p:cNvSpPr>
            <p:nvPr/>
          </p:nvSpPr>
          <p:spPr bwMode="auto">
            <a:xfrm>
              <a:off x="-1528763" y="3314700"/>
              <a:ext cx="158750" cy="184150"/>
            </a:xfrm>
            <a:custGeom>
              <a:avLst/>
              <a:gdLst/>
              <a:ahLst/>
              <a:cxnLst>
                <a:cxn ang="0">
                  <a:pos x="911" y="80"/>
                </a:cxn>
                <a:cxn ang="0">
                  <a:pos x="904" y="185"/>
                </a:cxn>
                <a:cxn ang="0">
                  <a:pos x="904" y="342"/>
                </a:cxn>
                <a:cxn ang="0">
                  <a:pos x="912" y="454"/>
                </a:cxn>
                <a:cxn ang="0">
                  <a:pos x="926" y="575"/>
                </a:cxn>
                <a:cxn ang="0">
                  <a:pos x="950" y="698"/>
                </a:cxn>
                <a:cxn ang="0">
                  <a:pos x="986" y="817"/>
                </a:cxn>
                <a:cxn ang="0">
                  <a:pos x="1038" y="929"/>
                </a:cxn>
                <a:cxn ang="0">
                  <a:pos x="1104" y="1027"/>
                </a:cxn>
                <a:cxn ang="0">
                  <a:pos x="1185" y="1105"/>
                </a:cxn>
                <a:cxn ang="0">
                  <a:pos x="1270" y="1169"/>
                </a:cxn>
                <a:cxn ang="0">
                  <a:pos x="1356" y="1217"/>
                </a:cxn>
                <a:cxn ang="0">
                  <a:pos x="1439" y="1253"/>
                </a:cxn>
                <a:cxn ang="0">
                  <a:pos x="1518" y="1279"/>
                </a:cxn>
                <a:cxn ang="0">
                  <a:pos x="1591" y="1295"/>
                </a:cxn>
                <a:cxn ang="0">
                  <a:pos x="1656" y="1306"/>
                </a:cxn>
                <a:cxn ang="0">
                  <a:pos x="1771" y="1310"/>
                </a:cxn>
                <a:cxn ang="0">
                  <a:pos x="1791" y="1347"/>
                </a:cxn>
                <a:cxn ang="0">
                  <a:pos x="1794" y="1476"/>
                </a:cxn>
                <a:cxn ang="0">
                  <a:pos x="1786" y="1580"/>
                </a:cxn>
                <a:cxn ang="0">
                  <a:pos x="1769" y="1694"/>
                </a:cxn>
                <a:cxn ang="0">
                  <a:pos x="1735" y="1808"/>
                </a:cxn>
                <a:cxn ang="0">
                  <a:pos x="1681" y="1914"/>
                </a:cxn>
                <a:cxn ang="0">
                  <a:pos x="1603" y="2000"/>
                </a:cxn>
                <a:cxn ang="0">
                  <a:pos x="1494" y="2060"/>
                </a:cxn>
                <a:cxn ang="0">
                  <a:pos x="1354" y="2082"/>
                </a:cxn>
                <a:cxn ang="0">
                  <a:pos x="1179" y="2062"/>
                </a:cxn>
                <a:cxn ang="0">
                  <a:pos x="1013" y="2017"/>
                </a:cxn>
                <a:cxn ang="0">
                  <a:pos x="867" y="1954"/>
                </a:cxn>
                <a:cxn ang="0">
                  <a:pos x="740" y="1875"/>
                </a:cxn>
                <a:cxn ang="0">
                  <a:pos x="629" y="1785"/>
                </a:cxn>
                <a:cxn ang="0">
                  <a:pos x="533" y="1682"/>
                </a:cxn>
                <a:cxn ang="0">
                  <a:pos x="449" y="1570"/>
                </a:cxn>
                <a:cxn ang="0">
                  <a:pos x="376" y="1451"/>
                </a:cxn>
                <a:cxn ang="0">
                  <a:pos x="311" y="1325"/>
                </a:cxn>
                <a:cxn ang="0">
                  <a:pos x="253" y="1195"/>
                </a:cxn>
                <a:cxn ang="0">
                  <a:pos x="165" y="974"/>
                </a:cxn>
                <a:cxn ang="0">
                  <a:pos x="122" y="839"/>
                </a:cxn>
                <a:cxn ang="0">
                  <a:pos x="87" y="704"/>
                </a:cxn>
                <a:cxn ang="0">
                  <a:pos x="59" y="572"/>
                </a:cxn>
                <a:cxn ang="0">
                  <a:pos x="32" y="407"/>
                </a:cxn>
                <a:cxn ang="0">
                  <a:pos x="9" y="197"/>
                </a:cxn>
                <a:cxn ang="0">
                  <a:pos x="1" y="53"/>
                </a:cxn>
                <a:cxn ang="0">
                  <a:pos x="0" y="0"/>
                </a:cxn>
              </a:cxnLst>
              <a:rect l="0" t="0" r="r" b="b"/>
              <a:pathLst>
                <a:path w="1794" h="2082">
                  <a:moveTo>
                    <a:pt x="0" y="0"/>
                  </a:moveTo>
                  <a:lnTo>
                    <a:pt x="912" y="72"/>
                  </a:lnTo>
                  <a:lnTo>
                    <a:pt x="911" y="80"/>
                  </a:lnTo>
                  <a:lnTo>
                    <a:pt x="909" y="103"/>
                  </a:lnTo>
                  <a:lnTo>
                    <a:pt x="907" y="138"/>
                  </a:lnTo>
                  <a:lnTo>
                    <a:pt x="904" y="185"/>
                  </a:lnTo>
                  <a:lnTo>
                    <a:pt x="903" y="242"/>
                  </a:lnTo>
                  <a:lnTo>
                    <a:pt x="903" y="307"/>
                  </a:lnTo>
                  <a:lnTo>
                    <a:pt x="904" y="342"/>
                  </a:lnTo>
                  <a:lnTo>
                    <a:pt x="907" y="378"/>
                  </a:lnTo>
                  <a:lnTo>
                    <a:pt x="909" y="416"/>
                  </a:lnTo>
                  <a:lnTo>
                    <a:pt x="912" y="454"/>
                  </a:lnTo>
                  <a:lnTo>
                    <a:pt x="916" y="494"/>
                  </a:lnTo>
                  <a:lnTo>
                    <a:pt x="920" y="534"/>
                  </a:lnTo>
                  <a:lnTo>
                    <a:pt x="926" y="575"/>
                  </a:lnTo>
                  <a:lnTo>
                    <a:pt x="932" y="616"/>
                  </a:lnTo>
                  <a:lnTo>
                    <a:pt x="941" y="657"/>
                  </a:lnTo>
                  <a:lnTo>
                    <a:pt x="950" y="698"/>
                  </a:lnTo>
                  <a:lnTo>
                    <a:pt x="960" y="738"/>
                  </a:lnTo>
                  <a:lnTo>
                    <a:pt x="973" y="778"/>
                  </a:lnTo>
                  <a:lnTo>
                    <a:pt x="986" y="817"/>
                  </a:lnTo>
                  <a:lnTo>
                    <a:pt x="1002" y="856"/>
                  </a:lnTo>
                  <a:lnTo>
                    <a:pt x="1018" y="893"/>
                  </a:lnTo>
                  <a:lnTo>
                    <a:pt x="1038" y="929"/>
                  </a:lnTo>
                  <a:lnTo>
                    <a:pt x="1057" y="963"/>
                  </a:lnTo>
                  <a:lnTo>
                    <a:pt x="1080" y="996"/>
                  </a:lnTo>
                  <a:lnTo>
                    <a:pt x="1104" y="1027"/>
                  </a:lnTo>
                  <a:lnTo>
                    <a:pt x="1131" y="1054"/>
                  </a:lnTo>
                  <a:lnTo>
                    <a:pt x="1157" y="1081"/>
                  </a:lnTo>
                  <a:lnTo>
                    <a:pt x="1185" y="1105"/>
                  </a:lnTo>
                  <a:lnTo>
                    <a:pt x="1214" y="1129"/>
                  </a:lnTo>
                  <a:lnTo>
                    <a:pt x="1242" y="1149"/>
                  </a:lnTo>
                  <a:lnTo>
                    <a:pt x="1270" y="1169"/>
                  </a:lnTo>
                  <a:lnTo>
                    <a:pt x="1299" y="1186"/>
                  </a:lnTo>
                  <a:lnTo>
                    <a:pt x="1328" y="1203"/>
                  </a:lnTo>
                  <a:lnTo>
                    <a:pt x="1356" y="1217"/>
                  </a:lnTo>
                  <a:lnTo>
                    <a:pt x="1384" y="1231"/>
                  </a:lnTo>
                  <a:lnTo>
                    <a:pt x="1412" y="1243"/>
                  </a:lnTo>
                  <a:lnTo>
                    <a:pt x="1439" y="1253"/>
                  </a:lnTo>
                  <a:lnTo>
                    <a:pt x="1466" y="1264"/>
                  </a:lnTo>
                  <a:lnTo>
                    <a:pt x="1492" y="1272"/>
                  </a:lnTo>
                  <a:lnTo>
                    <a:pt x="1518" y="1279"/>
                  </a:lnTo>
                  <a:lnTo>
                    <a:pt x="1544" y="1285"/>
                  </a:lnTo>
                  <a:lnTo>
                    <a:pt x="1569" y="1291"/>
                  </a:lnTo>
                  <a:lnTo>
                    <a:pt x="1591" y="1295"/>
                  </a:lnTo>
                  <a:lnTo>
                    <a:pt x="1614" y="1300"/>
                  </a:lnTo>
                  <a:lnTo>
                    <a:pt x="1636" y="1303"/>
                  </a:lnTo>
                  <a:lnTo>
                    <a:pt x="1656" y="1306"/>
                  </a:lnTo>
                  <a:lnTo>
                    <a:pt x="1693" y="1309"/>
                  </a:lnTo>
                  <a:lnTo>
                    <a:pt x="1726" y="1310"/>
                  </a:lnTo>
                  <a:lnTo>
                    <a:pt x="1771" y="1310"/>
                  </a:lnTo>
                  <a:lnTo>
                    <a:pt x="1787" y="1309"/>
                  </a:lnTo>
                  <a:lnTo>
                    <a:pt x="1789" y="1319"/>
                  </a:lnTo>
                  <a:lnTo>
                    <a:pt x="1791" y="1347"/>
                  </a:lnTo>
                  <a:lnTo>
                    <a:pt x="1793" y="1389"/>
                  </a:lnTo>
                  <a:lnTo>
                    <a:pt x="1794" y="1444"/>
                  </a:lnTo>
                  <a:lnTo>
                    <a:pt x="1794" y="1476"/>
                  </a:lnTo>
                  <a:lnTo>
                    <a:pt x="1793" y="1509"/>
                  </a:lnTo>
                  <a:lnTo>
                    <a:pt x="1790" y="1544"/>
                  </a:lnTo>
                  <a:lnTo>
                    <a:pt x="1786" y="1580"/>
                  </a:lnTo>
                  <a:lnTo>
                    <a:pt x="1782" y="1617"/>
                  </a:lnTo>
                  <a:lnTo>
                    <a:pt x="1776" y="1655"/>
                  </a:lnTo>
                  <a:lnTo>
                    <a:pt x="1769" y="1694"/>
                  </a:lnTo>
                  <a:lnTo>
                    <a:pt x="1760" y="1732"/>
                  </a:lnTo>
                  <a:lnTo>
                    <a:pt x="1748" y="1770"/>
                  </a:lnTo>
                  <a:lnTo>
                    <a:pt x="1735" y="1808"/>
                  </a:lnTo>
                  <a:lnTo>
                    <a:pt x="1719" y="1845"/>
                  </a:lnTo>
                  <a:lnTo>
                    <a:pt x="1701" y="1880"/>
                  </a:lnTo>
                  <a:lnTo>
                    <a:pt x="1681" y="1914"/>
                  </a:lnTo>
                  <a:lnTo>
                    <a:pt x="1657" y="1944"/>
                  </a:lnTo>
                  <a:lnTo>
                    <a:pt x="1632" y="1973"/>
                  </a:lnTo>
                  <a:lnTo>
                    <a:pt x="1603" y="2000"/>
                  </a:lnTo>
                  <a:lnTo>
                    <a:pt x="1570" y="2024"/>
                  </a:lnTo>
                  <a:lnTo>
                    <a:pt x="1534" y="2043"/>
                  </a:lnTo>
                  <a:lnTo>
                    <a:pt x="1494" y="2060"/>
                  </a:lnTo>
                  <a:lnTo>
                    <a:pt x="1452" y="2072"/>
                  </a:lnTo>
                  <a:lnTo>
                    <a:pt x="1404" y="2079"/>
                  </a:lnTo>
                  <a:lnTo>
                    <a:pt x="1354" y="2082"/>
                  </a:lnTo>
                  <a:lnTo>
                    <a:pt x="1299" y="2080"/>
                  </a:lnTo>
                  <a:lnTo>
                    <a:pt x="1240" y="2073"/>
                  </a:lnTo>
                  <a:lnTo>
                    <a:pt x="1179" y="2062"/>
                  </a:lnTo>
                  <a:lnTo>
                    <a:pt x="1121" y="2048"/>
                  </a:lnTo>
                  <a:lnTo>
                    <a:pt x="1067" y="2033"/>
                  </a:lnTo>
                  <a:lnTo>
                    <a:pt x="1013" y="2017"/>
                  </a:lnTo>
                  <a:lnTo>
                    <a:pt x="962" y="1997"/>
                  </a:lnTo>
                  <a:lnTo>
                    <a:pt x="914" y="1976"/>
                  </a:lnTo>
                  <a:lnTo>
                    <a:pt x="867" y="1954"/>
                  </a:lnTo>
                  <a:lnTo>
                    <a:pt x="823" y="1929"/>
                  </a:lnTo>
                  <a:lnTo>
                    <a:pt x="781" y="1903"/>
                  </a:lnTo>
                  <a:lnTo>
                    <a:pt x="740" y="1875"/>
                  </a:lnTo>
                  <a:lnTo>
                    <a:pt x="701" y="1847"/>
                  </a:lnTo>
                  <a:lnTo>
                    <a:pt x="665" y="1817"/>
                  </a:lnTo>
                  <a:lnTo>
                    <a:pt x="629" y="1785"/>
                  </a:lnTo>
                  <a:lnTo>
                    <a:pt x="596" y="1752"/>
                  </a:lnTo>
                  <a:lnTo>
                    <a:pt x="564" y="1718"/>
                  </a:lnTo>
                  <a:lnTo>
                    <a:pt x="533" y="1682"/>
                  </a:lnTo>
                  <a:lnTo>
                    <a:pt x="504" y="1646"/>
                  </a:lnTo>
                  <a:lnTo>
                    <a:pt x="476" y="1609"/>
                  </a:lnTo>
                  <a:lnTo>
                    <a:pt x="449" y="1570"/>
                  </a:lnTo>
                  <a:lnTo>
                    <a:pt x="423" y="1531"/>
                  </a:lnTo>
                  <a:lnTo>
                    <a:pt x="399" y="1491"/>
                  </a:lnTo>
                  <a:lnTo>
                    <a:pt x="376" y="1451"/>
                  </a:lnTo>
                  <a:lnTo>
                    <a:pt x="353" y="1410"/>
                  </a:lnTo>
                  <a:lnTo>
                    <a:pt x="332" y="1368"/>
                  </a:lnTo>
                  <a:lnTo>
                    <a:pt x="311" y="1325"/>
                  </a:lnTo>
                  <a:lnTo>
                    <a:pt x="291" y="1282"/>
                  </a:lnTo>
                  <a:lnTo>
                    <a:pt x="271" y="1239"/>
                  </a:lnTo>
                  <a:lnTo>
                    <a:pt x="253" y="1195"/>
                  </a:lnTo>
                  <a:lnTo>
                    <a:pt x="217" y="1107"/>
                  </a:lnTo>
                  <a:lnTo>
                    <a:pt x="183" y="1018"/>
                  </a:lnTo>
                  <a:lnTo>
                    <a:pt x="165" y="974"/>
                  </a:lnTo>
                  <a:lnTo>
                    <a:pt x="150" y="929"/>
                  </a:lnTo>
                  <a:lnTo>
                    <a:pt x="135" y="884"/>
                  </a:lnTo>
                  <a:lnTo>
                    <a:pt x="122" y="839"/>
                  </a:lnTo>
                  <a:lnTo>
                    <a:pt x="109" y="794"/>
                  </a:lnTo>
                  <a:lnTo>
                    <a:pt x="97" y="748"/>
                  </a:lnTo>
                  <a:lnTo>
                    <a:pt x="87" y="704"/>
                  </a:lnTo>
                  <a:lnTo>
                    <a:pt x="76" y="660"/>
                  </a:lnTo>
                  <a:lnTo>
                    <a:pt x="67" y="616"/>
                  </a:lnTo>
                  <a:lnTo>
                    <a:pt x="59" y="572"/>
                  </a:lnTo>
                  <a:lnTo>
                    <a:pt x="50" y="530"/>
                  </a:lnTo>
                  <a:lnTo>
                    <a:pt x="44" y="488"/>
                  </a:lnTo>
                  <a:lnTo>
                    <a:pt x="32" y="407"/>
                  </a:lnTo>
                  <a:lnTo>
                    <a:pt x="23" y="331"/>
                  </a:lnTo>
                  <a:lnTo>
                    <a:pt x="14" y="261"/>
                  </a:lnTo>
                  <a:lnTo>
                    <a:pt x="9" y="197"/>
                  </a:lnTo>
                  <a:lnTo>
                    <a:pt x="5" y="141"/>
                  </a:lnTo>
                  <a:lnTo>
                    <a:pt x="3" y="92"/>
                  </a:lnTo>
                  <a:lnTo>
                    <a:pt x="1" y="53"/>
                  </a:lnTo>
                  <a:lnTo>
                    <a:pt x="0" y="24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6" name="Freeform 13"/>
            <p:cNvSpPr>
              <a:spLocks/>
            </p:cNvSpPr>
            <p:nvPr/>
          </p:nvSpPr>
          <p:spPr bwMode="auto">
            <a:xfrm>
              <a:off x="-1708150" y="3236913"/>
              <a:ext cx="166688" cy="173038"/>
            </a:xfrm>
            <a:custGeom>
              <a:avLst/>
              <a:gdLst/>
              <a:ahLst/>
              <a:cxnLst>
                <a:cxn ang="0">
                  <a:pos x="255" y="36"/>
                </a:cxn>
                <a:cxn ang="0">
                  <a:pos x="296" y="84"/>
                </a:cxn>
                <a:cxn ang="0">
                  <a:pos x="347" y="137"/>
                </a:cxn>
                <a:cxn ang="0">
                  <a:pos x="419" y="200"/>
                </a:cxn>
                <a:cxn ang="0">
                  <a:pos x="463" y="236"/>
                </a:cxn>
                <a:cxn ang="0">
                  <a:pos x="511" y="271"/>
                </a:cxn>
                <a:cxn ang="0">
                  <a:pos x="565" y="308"/>
                </a:cxn>
                <a:cxn ang="0">
                  <a:pos x="625" y="344"/>
                </a:cxn>
                <a:cxn ang="0">
                  <a:pos x="689" y="379"/>
                </a:cxn>
                <a:cxn ang="0">
                  <a:pos x="758" y="413"/>
                </a:cxn>
                <a:cxn ang="0">
                  <a:pos x="832" y="444"/>
                </a:cxn>
                <a:cxn ang="0">
                  <a:pos x="912" y="473"/>
                </a:cxn>
                <a:cxn ang="0">
                  <a:pos x="992" y="499"/>
                </a:cxn>
                <a:cxn ang="0">
                  <a:pos x="1072" y="521"/>
                </a:cxn>
                <a:cxn ang="0">
                  <a:pos x="1148" y="541"/>
                </a:cxn>
                <a:cxn ang="0">
                  <a:pos x="1222" y="557"/>
                </a:cxn>
                <a:cxn ang="0">
                  <a:pos x="1358" y="583"/>
                </a:cxn>
                <a:cxn ang="0">
                  <a:pos x="1477" y="601"/>
                </a:cxn>
                <a:cxn ang="0">
                  <a:pos x="1576" y="611"/>
                </a:cxn>
                <a:cxn ang="0">
                  <a:pos x="1650" y="616"/>
                </a:cxn>
                <a:cxn ang="0">
                  <a:pos x="1698" y="618"/>
                </a:cxn>
                <a:cxn ang="0">
                  <a:pos x="1714" y="619"/>
                </a:cxn>
                <a:cxn ang="0">
                  <a:pos x="1711" y="639"/>
                </a:cxn>
                <a:cxn ang="0">
                  <a:pos x="1705" y="692"/>
                </a:cxn>
                <a:cxn ang="0">
                  <a:pos x="1697" y="776"/>
                </a:cxn>
                <a:cxn ang="0">
                  <a:pos x="1692" y="883"/>
                </a:cxn>
                <a:cxn ang="0">
                  <a:pos x="1692" y="1006"/>
                </a:cxn>
                <a:cxn ang="0">
                  <a:pos x="1694" y="1072"/>
                </a:cxn>
                <a:cxn ang="0">
                  <a:pos x="1699" y="1140"/>
                </a:cxn>
                <a:cxn ang="0">
                  <a:pos x="1706" y="1210"/>
                </a:cxn>
                <a:cxn ang="0">
                  <a:pos x="1717" y="1280"/>
                </a:cxn>
                <a:cxn ang="0">
                  <a:pos x="1732" y="1351"/>
                </a:cxn>
                <a:cxn ang="0">
                  <a:pos x="1751" y="1420"/>
                </a:cxn>
                <a:cxn ang="0">
                  <a:pos x="1820" y="1657"/>
                </a:cxn>
                <a:cxn ang="0">
                  <a:pos x="1865" y="1828"/>
                </a:cxn>
                <a:cxn ang="0">
                  <a:pos x="1889" y="1930"/>
                </a:cxn>
                <a:cxn ang="0">
                  <a:pos x="1897" y="1964"/>
                </a:cxn>
                <a:cxn ang="0">
                  <a:pos x="1858" y="1953"/>
                </a:cxn>
                <a:cxn ang="0">
                  <a:pos x="1754" y="1916"/>
                </a:cxn>
                <a:cxn ang="0">
                  <a:pos x="1681" y="1888"/>
                </a:cxn>
                <a:cxn ang="0">
                  <a:pos x="1599" y="1853"/>
                </a:cxn>
                <a:cxn ang="0">
                  <a:pos x="1507" y="1813"/>
                </a:cxn>
                <a:cxn ang="0">
                  <a:pos x="1409" y="1765"/>
                </a:cxn>
                <a:cxn ang="0">
                  <a:pos x="1305" y="1710"/>
                </a:cxn>
                <a:cxn ang="0">
                  <a:pos x="1200" y="1648"/>
                </a:cxn>
                <a:cxn ang="0">
                  <a:pos x="1094" y="1580"/>
                </a:cxn>
                <a:cxn ang="0">
                  <a:pos x="988" y="1504"/>
                </a:cxn>
                <a:cxn ang="0">
                  <a:pos x="887" y="1422"/>
                </a:cxn>
                <a:cxn ang="0">
                  <a:pos x="790" y="1331"/>
                </a:cxn>
                <a:cxn ang="0">
                  <a:pos x="700" y="1233"/>
                </a:cxn>
                <a:cxn ang="0">
                  <a:pos x="620" y="1128"/>
                </a:cxn>
                <a:cxn ang="0">
                  <a:pos x="547" y="1020"/>
                </a:cxn>
                <a:cxn ang="0">
                  <a:pos x="478" y="913"/>
                </a:cxn>
                <a:cxn ang="0">
                  <a:pos x="414" y="808"/>
                </a:cxn>
                <a:cxn ang="0">
                  <a:pos x="354" y="707"/>
                </a:cxn>
                <a:cxn ang="0">
                  <a:pos x="248" y="515"/>
                </a:cxn>
                <a:cxn ang="0">
                  <a:pos x="159" y="346"/>
                </a:cxn>
                <a:cxn ang="0">
                  <a:pos x="90" y="204"/>
                </a:cxn>
                <a:cxn ang="0">
                  <a:pos x="40" y="95"/>
                </a:cxn>
                <a:cxn ang="0">
                  <a:pos x="10" y="25"/>
                </a:cxn>
                <a:cxn ang="0">
                  <a:pos x="0" y="0"/>
                </a:cxn>
              </a:cxnLst>
              <a:rect l="0" t="0" r="r" b="b"/>
              <a:pathLst>
                <a:path w="1897" h="1964">
                  <a:moveTo>
                    <a:pt x="0" y="0"/>
                  </a:moveTo>
                  <a:lnTo>
                    <a:pt x="255" y="36"/>
                  </a:lnTo>
                  <a:lnTo>
                    <a:pt x="265" y="49"/>
                  </a:lnTo>
                  <a:lnTo>
                    <a:pt x="296" y="84"/>
                  </a:lnTo>
                  <a:lnTo>
                    <a:pt x="319" y="109"/>
                  </a:lnTo>
                  <a:lnTo>
                    <a:pt x="347" y="137"/>
                  </a:lnTo>
                  <a:lnTo>
                    <a:pt x="381" y="167"/>
                  </a:lnTo>
                  <a:lnTo>
                    <a:pt x="419" y="200"/>
                  </a:lnTo>
                  <a:lnTo>
                    <a:pt x="440" y="217"/>
                  </a:lnTo>
                  <a:lnTo>
                    <a:pt x="463" y="236"/>
                  </a:lnTo>
                  <a:lnTo>
                    <a:pt x="486" y="253"/>
                  </a:lnTo>
                  <a:lnTo>
                    <a:pt x="511" y="271"/>
                  </a:lnTo>
                  <a:lnTo>
                    <a:pt x="538" y="289"/>
                  </a:lnTo>
                  <a:lnTo>
                    <a:pt x="565" y="308"/>
                  </a:lnTo>
                  <a:lnTo>
                    <a:pt x="594" y="326"/>
                  </a:lnTo>
                  <a:lnTo>
                    <a:pt x="625" y="344"/>
                  </a:lnTo>
                  <a:lnTo>
                    <a:pt x="656" y="362"/>
                  </a:lnTo>
                  <a:lnTo>
                    <a:pt x="689" y="379"/>
                  </a:lnTo>
                  <a:lnTo>
                    <a:pt x="722" y="397"/>
                  </a:lnTo>
                  <a:lnTo>
                    <a:pt x="758" y="413"/>
                  </a:lnTo>
                  <a:lnTo>
                    <a:pt x="794" y="430"/>
                  </a:lnTo>
                  <a:lnTo>
                    <a:pt x="832" y="444"/>
                  </a:lnTo>
                  <a:lnTo>
                    <a:pt x="872" y="459"/>
                  </a:lnTo>
                  <a:lnTo>
                    <a:pt x="912" y="473"/>
                  </a:lnTo>
                  <a:lnTo>
                    <a:pt x="952" y="486"/>
                  </a:lnTo>
                  <a:lnTo>
                    <a:pt x="992" y="499"/>
                  </a:lnTo>
                  <a:lnTo>
                    <a:pt x="1033" y="511"/>
                  </a:lnTo>
                  <a:lnTo>
                    <a:pt x="1072" y="521"/>
                  </a:lnTo>
                  <a:lnTo>
                    <a:pt x="1110" y="532"/>
                  </a:lnTo>
                  <a:lnTo>
                    <a:pt x="1148" y="541"/>
                  </a:lnTo>
                  <a:lnTo>
                    <a:pt x="1186" y="549"/>
                  </a:lnTo>
                  <a:lnTo>
                    <a:pt x="1222" y="557"/>
                  </a:lnTo>
                  <a:lnTo>
                    <a:pt x="1292" y="572"/>
                  </a:lnTo>
                  <a:lnTo>
                    <a:pt x="1358" y="583"/>
                  </a:lnTo>
                  <a:lnTo>
                    <a:pt x="1420" y="593"/>
                  </a:lnTo>
                  <a:lnTo>
                    <a:pt x="1477" y="601"/>
                  </a:lnTo>
                  <a:lnTo>
                    <a:pt x="1530" y="607"/>
                  </a:lnTo>
                  <a:lnTo>
                    <a:pt x="1576" y="611"/>
                  </a:lnTo>
                  <a:lnTo>
                    <a:pt x="1616" y="614"/>
                  </a:lnTo>
                  <a:lnTo>
                    <a:pt x="1650" y="616"/>
                  </a:lnTo>
                  <a:lnTo>
                    <a:pt x="1677" y="618"/>
                  </a:lnTo>
                  <a:lnTo>
                    <a:pt x="1698" y="618"/>
                  </a:lnTo>
                  <a:lnTo>
                    <a:pt x="1710" y="619"/>
                  </a:lnTo>
                  <a:lnTo>
                    <a:pt x="1714" y="619"/>
                  </a:lnTo>
                  <a:lnTo>
                    <a:pt x="1713" y="624"/>
                  </a:lnTo>
                  <a:lnTo>
                    <a:pt x="1711" y="639"/>
                  </a:lnTo>
                  <a:lnTo>
                    <a:pt x="1708" y="661"/>
                  </a:lnTo>
                  <a:lnTo>
                    <a:pt x="1705" y="692"/>
                  </a:lnTo>
                  <a:lnTo>
                    <a:pt x="1701" y="731"/>
                  </a:lnTo>
                  <a:lnTo>
                    <a:pt x="1697" y="776"/>
                  </a:lnTo>
                  <a:lnTo>
                    <a:pt x="1694" y="827"/>
                  </a:lnTo>
                  <a:lnTo>
                    <a:pt x="1692" y="883"/>
                  </a:lnTo>
                  <a:lnTo>
                    <a:pt x="1691" y="943"/>
                  </a:lnTo>
                  <a:lnTo>
                    <a:pt x="1692" y="1006"/>
                  </a:lnTo>
                  <a:lnTo>
                    <a:pt x="1692" y="1039"/>
                  </a:lnTo>
                  <a:lnTo>
                    <a:pt x="1694" y="1072"/>
                  </a:lnTo>
                  <a:lnTo>
                    <a:pt x="1696" y="1106"/>
                  </a:lnTo>
                  <a:lnTo>
                    <a:pt x="1699" y="1140"/>
                  </a:lnTo>
                  <a:lnTo>
                    <a:pt x="1702" y="1175"/>
                  </a:lnTo>
                  <a:lnTo>
                    <a:pt x="1706" y="1210"/>
                  </a:lnTo>
                  <a:lnTo>
                    <a:pt x="1711" y="1245"/>
                  </a:lnTo>
                  <a:lnTo>
                    <a:pt x="1717" y="1280"/>
                  </a:lnTo>
                  <a:lnTo>
                    <a:pt x="1725" y="1315"/>
                  </a:lnTo>
                  <a:lnTo>
                    <a:pt x="1732" y="1351"/>
                  </a:lnTo>
                  <a:lnTo>
                    <a:pt x="1741" y="1385"/>
                  </a:lnTo>
                  <a:lnTo>
                    <a:pt x="1751" y="1420"/>
                  </a:lnTo>
                  <a:lnTo>
                    <a:pt x="1789" y="1547"/>
                  </a:lnTo>
                  <a:lnTo>
                    <a:pt x="1820" y="1657"/>
                  </a:lnTo>
                  <a:lnTo>
                    <a:pt x="1844" y="1752"/>
                  </a:lnTo>
                  <a:lnTo>
                    <a:pt x="1865" y="1828"/>
                  </a:lnTo>
                  <a:lnTo>
                    <a:pt x="1880" y="1888"/>
                  </a:lnTo>
                  <a:lnTo>
                    <a:pt x="1889" y="1930"/>
                  </a:lnTo>
                  <a:lnTo>
                    <a:pt x="1895" y="1956"/>
                  </a:lnTo>
                  <a:lnTo>
                    <a:pt x="1897" y="1964"/>
                  </a:lnTo>
                  <a:lnTo>
                    <a:pt x="1887" y="1961"/>
                  </a:lnTo>
                  <a:lnTo>
                    <a:pt x="1858" y="1953"/>
                  </a:lnTo>
                  <a:lnTo>
                    <a:pt x="1814" y="1938"/>
                  </a:lnTo>
                  <a:lnTo>
                    <a:pt x="1754" y="1916"/>
                  </a:lnTo>
                  <a:lnTo>
                    <a:pt x="1718" y="1904"/>
                  </a:lnTo>
                  <a:lnTo>
                    <a:pt x="1681" y="1888"/>
                  </a:lnTo>
                  <a:lnTo>
                    <a:pt x="1641" y="1872"/>
                  </a:lnTo>
                  <a:lnTo>
                    <a:pt x="1599" y="1853"/>
                  </a:lnTo>
                  <a:lnTo>
                    <a:pt x="1553" y="1834"/>
                  </a:lnTo>
                  <a:lnTo>
                    <a:pt x="1507" y="1813"/>
                  </a:lnTo>
                  <a:lnTo>
                    <a:pt x="1458" y="1789"/>
                  </a:lnTo>
                  <a:lnTo>
                    <a:pt x="1409" y="1765"/>
                  </a:lnTo>
                  <a:lnTo>
                    <a:pt x="1358" y="1739"/>
                  </a:lnTo>
                  <a:lnTo>
                    <a:pt x="1305" y="1710"/>
                  </a:lnTo>
                  <a:lnTo>
                    <a:pt x="1253" y="1680"/>
                  </a:lnTo>
                  <a:lnTo>
                    <a:pt x="1200" y="1648"/>
                  </a:lnTo>
                  <a:lnTo>
                    <a:pt x="1146" y="1615"/>
                  </a:lnTo>
                  <a:lnTo>
                    <a:pt x="1094" y="1580"/>
                  </a:lnTo>
                  <a:lnTo>
                    <a:pt x="1041" y="1543"/>
                  </a:lnTo>
                  <a:lnTo>
                    <a:pt x="988" y="1504"/>
                  </a:lnTo>
                  <a:lnTo>
                    <a:pt x="937" y="1464"/>
                  </a:lnTo>
                  <a:lnTo>
                    <a:pt x="887" y="1422"/>
                  </a:lnTo>
                  <a:lnTo>
                    <a:pt x="838" y="1377"/>
                  </a:lnTo>
                  <a:lnTo>
                    <a:pt x="790" y="1331"/>
                  </a:lnTo>
                  <a:lnTo>
                    <a:pt x="744" y="1284"/>
                  </a:lnTo>
                  <a:lnTo>
                    <a:pt x="700" y="1233"/>
                  </a:lnTo>
                  <a:lnTo>
                    <a:pt x="659" y="1182"/>
                  </a:lnTo>
                  <a:lnTo>
                    <a:pt x="620" y="1128"/>
                  </a:lnTo>
                  <a:lnTo>
                    <a:pt x="582" y="1073"/>
                  </a:lnTo>
                  <a:lnTo>
                    <a:pt x="547" y="1020"/>
                  </a:lnTo>
                  <a:lnTo>
                    <a:pt x="512" y="966"/>
                  </a:lnTo>
                  <a:lnTo>
                    <a:pt x="478" y="913"/>
                  </a:lnTo>
                  <a:lnTo>
                    <a:pt x="445" y="860"/>
                  </a:lnTo>
                  <a:lnTo>
                    <a:pt x="414" y="808"/>
                  </a:lnTo>
                  <a:lnTo>
                    <a:pt x="383" y="757"/>
                  </a:lnTo>
                  <a:lnTo>
                    <a:pt x="354" y="707"/>
                  </a:lnTo>
                  <a:lnTo>
                    <a:pt x="298" y="609"/>
                  </a:lnTo>
                  <a:lnTo>
                    <a:pt x="248" y="515"/>
                  </a:lnTo>
                  <a:lnTo>
                    <a:pt x="201" y="428"/>
                  </a:lnTo>
                  <a:lnTo>
                    <a:pt x="159" y="346"/>
                  </a:lnTo>
                  <a:lnTo>
                    <a:pt x="122" y="271"/>
                  </a:lnTo>
                  <a:lnTo>
                    <a:pt x="90" y="204"/>
                  </a:lnTo>
                  <a:lnTo>
                    <a:pt x="63" y="144"/>
                  </a:lnTo>
                  <a:lnTo>
                    <a:pt x="40" y="95"/>
                  </a:lnTo>
                  <a:lnTo>
                    <a:pt x="23" y="55"/>
                  </a:lnTo>
                  <a:lnTo>
                    <a:pt x="10" y="25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7" name="Rectangle 14"/>
            <p:cNvSpPr>
              <a:spLocks noChangeArrowheads="1"/>
            </p:cNvSpPr>
            <p:nvPr/>
          </p:nvSpPr>
          <p:spPr bwMode="auto">
            <a:xfrm>
              <a:off x="-322263" y="3673475"/>
              <a:ext cx="71438" cy="266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8" name="Freeform 15"/>
            <p:cNvSpPr>
              <a:spLocks noEditPoints="1"/>
            </p:cNvSpPr>
            <p:nvPr/>
          </p:nvSpPr>
          <p:spPr bwMode="auto">
            <a:xfrm>
              <a:off x="-1085850" y="3427413"/>
              <a:ext cx="722313" cy="474663"/>
            </a:xfrm>
            <a:custGeom>
              <a:avLst/>
              <a:gdLst/>
              <a:ahLst/>
              <a:cxnLst>
                <a:cxn ang="0">
                  <a:pos x="3075" y="1468"/>
                </a:cxn>
                <a:cxn ang="0">
                  <a:pos x="2973" y="1747"/>
                </a:cxn>
                <a:cxn ang="0">
                  <a:pos x="2863" y="1952"/>
                </a:cxn>
                <a:cxn ang="0">
                  <a:pos x="2710" y="2160"/>
                </a:cxn>
                <a:cxn ang="0">
                  <a:pos x="2511" y="2339"/>
                </a:cxn>
                <a:cxn ang="0">
                  <a:pos x="2320" y="2462"/>
                </a:cxn>
                <a:cxn ang="0">
                  <a:pos x="2154" y="2534"/>
                </a:cxn>
                <a:cxn ang="0">
                  <a:pos x="2007" y="2573"/>
                </a:cxn>
                <a:cxn ang="0">
                  <a:pos x="1958" y="2695"/>
                </a:cxn>
                <a:cxn ang="0">
                  <a:pos x="2096" y="3022"/>
                </a:cxn>
                <a:cxn ang="0">
                  <a:pos x="2290" y="3365"/>
                </a:cxn>
                <a:cxn ang="0">
                  <a:pos x="2554" y="3671"/>
                </a:cxn>
                <a:cxn ang="0">
                  <a:pos x="2881" y="3846"/>
                </a:cxn>
                <a:cxn ang="0">
                  <a:pos x="3448" y="3881"/>
                </a:cxn>
                <a:cxn ang="0">
                  <a:pos x="4430" y="3888"/>
                </a:cxn>
                <a:cxn ang="0">
                  <a:pos x="6438" y="3871"/>
                </a:cxn>
                <a:cxn ang="0">
                  <a:pos x="7321" y="3383"/>
                </a:cxn>
                <a:cxn ang="0">
                  <a:pos x="3362" y="4776"/>
                </a:cxn>
                <a:cxn ang="0">
                  <a:pos x="3091" y="4729"/>
                </a:cxn>
                <a:cxn ang="0">
                  <a:pos x="2684" y="4621"/>
                </a:cxn>
                <a:cxn ang="0">
                  <a:pos x="2225" y="4427"/>
                </a:cxn>
                <a:cxn ang="0">
                  <a:pos x="1818" y="4129"/>
                </a:cxn>
                <a:cxn ang="0">
                  <a:pos x="1562" y="3707"/>
                </a:cxn>
                <a:cxn ang="0">
                  <a:pos x="1416" y="3301"/>
                </a:cxn>
                <a:cxn ang="0">
                  <a:pos x="1307" y="2948"/>
                </a:cxn>
                <a:cxn ang="0">
                  <a:pos x="1233" y="2622"/>
                </a:cxn>
                <a:cxn ang="0">
                  <a:pos x="1128" y="2549"/>
                </a:cxn>
                <a:cxn ang="0">
                  <a:pos x="837" y="2426"/>
                </a:cxn>
                <a:cxn ang="0">
                  <a:pos x="528" y="2253"/>
                </a:cxn>
                <a:cxn ang="0">
                  <a:pos x="246" y="2019"/>
                </a:cxn>
                <a:cxn ang="0">
                  <a:pos x="73" y="1727"/>
                </a:cxn>
                <a:cxn ang="0">
                  <a:pos x="20" y="1406"/>
                </a:cxn>
                <a:cxn ang="0">
                  <a:pos x="2" y="1107"/>
                </a:cxn>
                <a:cxn ang="0">
                  <a:pos x="10" y="690"/>
                </a:cxn>
                <a:cxn ang="0">
                  <a:pos x="1647" y="909"/>
                </a:cxn>
                <a:cxn ang="0">
                  <a:pos x="1814" y="935"/>
                </a:cxn>
                <a:cxn ang="0">
                  <a:pos x="1962" y="1006"/>
                </a:cxn>
                <a:cxn ang="0">
                  <a:pos x="2083" y="1115"/>
                </a:cxn>
                <a:cxn ang="0">
                  <a:pos x="2167" y="1254"/>
                </a:cxn>
                <a:cxn ang="0">
                  <a:pos x="2209" y="1416"/>
                </a:cxn>
                <a:cxn ang="0">
                  <a:pos x="2200" y="1587"/>
                </a:cxn>
                <a:cxn ang="0">
                  <a:pos x="2144" y="1742"/>
                </a:cxn>
                <a:cxn ang="0">
                  <a:pos x="2047" y="1872"/>
                </a:cxn>
                <a:cxn ang="0">
                  <a:pos x="1915" y="1969"/>
                </a:cxn>
                <a:cxn ang="0">
                  <a:pos x="1760" y="2026"/>
                </a:cxn>
                <a:cxn ang="0">
                  <a:pos x="1589" y="2034"/>
                </a:cxn>
                <a:cxn ang="0">
                  <a:pos x="1427" y="1993"/>
                </a:cxn>
                <a:cxn ang="0">
                  <a:pos x="1287" y="1909"/>
                </a:cxn>
                <a:cxn ang="0">
                  <a:pos x="1178" y="1788"/>
                </a:cxn>
                <a:cxn ang="0">
                  <a:pos x="1107" y="1641"/>
                </a:cxn>
                <a:cxn ang="0">
                  <a:pos x="1081" y="1473"/>
                </a:cxn>
                <a:cxn ang="0">
                  <a:pos x="1107" y="1306"/>
                </a:cxn>
                <a:cxn ang="0">
                  <a:pos x="1178" y="1159"/>
                </a:cxn>
                <a:cxn ang="0">
                  <a:pos x="1287" y="1039"/>
                </a:cxn>
                <a:cxn ang="0">
                  <a:pos x="1427" y="954"/>
                </a:cxn>
                <a:cxn ang="0">
                  <a:pos x="1589" y="912"/>
                </a:cxn>
              </a:cxnLst>
              <a:rect l="0" t="0" r="r" b="b"/>
              <a:pathLst>
                <a:path w="8195" h="5385">
                  <a:moveTo>
                    <a:pt x="23" y="546"/>
                  </a:moveTo>
                  <a:lnTo>
                    <a:pt x="3088" y="0"/>
                  </a:lnTo>
                  <a:lnTo>
                    <a:pt x="3088" y="1418"/>
                  </a:lnTo>
                  <a:lnTo>
                    <a:pt x="3086" y="1424"/>
                  </a:lnTo>
                  <a:lnTo>
                    <a:pt x="3081" y="1441"/>
                  </a:lnTo>
                  <a:lnTo>
                    <a:pt x="3075" y="1468"/>
                  </a:lnTo>
                  <a:lnTo>
                    <a:pt x="3065" y="1504"/>
                  </a:lnTo>
                  <a:lnTo>
                    <a:pt x="3050" y="1547"/>
                  </a:lnTo>
                  <a:lnTo>
                    <a:pt x="3034" y="1598"/>
                  </a:lnTo>
                  <a:lnTo>
                    <a:pt x="3012" y="1653"/>
                  </a:lnTo>
                  <a:lnTo>
                    <a:pt x="2987" y="1714"/>
                  </a:lnTo>
                  <a:lnTo>
                    <a:pt x="2973" y="1747"/>
                  </a:lnTo>
                  <a:lnTo>
                    <a:pt x="2957" y="1780"/>
                  </a:lnTo>
                  <a:lnTo>
                    <a:pt x="2941" y="1813"/>
                  </a:lnTo>
                  <a:lnTo>
                    <a:pt x="2923" y="1847"/>
                  </a:lnTo>
                  <a:lnTo>
                    <a:pt x="2905" y="1882"/>
                  </a:lnTo>
                  <a:lnTo>
                    <a:pt x="2885" y="1917"/>
                  </a:lnTo>
                  <a:lnTo>
                    <a:pt x="2863" y="1952"/>
                  </a:lnTo>
                  <a:lnTo>
                    <a:pt x="2841" y="1987"/>
                  </a:lnTo>
                  <a:lnTo>
                    <a:pt x="2817" y="2022"/>
                  </a:lnTo>
                  <a:lnTo>
                    <a:pt x="2792" y="2057"/>
                  </a:lnTo>
                  <a:lnTo>
                    <a:pt x="2765" y="2092"/>
                  </a:lnTo>
                  <a:lnTo>
                    <a:pt x="2739" y="2126"/>
                  </a:lnTo>
                  <a:lnTo>
                    <a:pt x="2710" y="2160"/>
                  </a:lnTo>
                  <a:lnTo>
                    <a:pt x="2679" y="2192"/>
                  </a:lnTo>
                  <a:lnTo>
                    <a:pt x="2647" y="2225"/>
                  </a:lnTo>
                  <a:lnTo>
                    <a:pt x="2614" y="2256"/>
                  </a:lnTo>
                  <a:lnTo>
                    <a:pt x="2579" y="2286"/>
                  </a:lnTo>
                  <a:lnTo>
                    <a:pt x="2545" y="2313"/>
                  </a:lnTo>
                  <a:lnTo>
                    <a:pt x="2511" y="2339"/>
                  </a:lnTo>
                  <a:lnTo>
                    <a:pt x="2478" y="2364"/>
                  </a:lnTo>
                  <a:lnTo>
                    <a:pt x="2446" y="2387"/>
                  </a:lnTo>
                  <a:lnTo>
                    <a:pt x="2413" y="2407"/>
                  </a:lnTo>
                  <a:lnTo>
                    <a:pt x="2382" y="2427"/>
                  </a:lnTo>
                  <a:lnTo>
                    <a:pt x="2351" y="2445"/>
                  </a:lnTo>
                  <a:lnTo>
                    <a:pt x="2320" y="2462"/>
                  </a:lnTo>
                  <a:lnTo>
                    <a:pt x="2290" y="2477"/>
                  </a:lnTo>
                  <a:lnTo>
                    <a:pt x="2261" y="2491"/>
                  </a:lnTo>
                  <a:lnTo>
                    <a:pt x="2233" y="2503"/>
                  </a:lnTo>
                  <a:lnTo>
                    <a:pt x="2207" y="2514"/>
                  </a:lnTo>
                  <a:lnTo>
                    <a:pt x="2180" y="2525"/>
                  </a:lnTo>
                  <a:lnTo>
                    <a:pt x="2154" y="2534"/>
                  </a:lnTo>
                  <a:lnTo>
                    <a:pt x="2130" y="2542"/>
                  </a:lnTo>
                  <a:lnTo>
                    <a:pt x="2106" y="2549"/>
                  </a:lnTo>
                  <a:lnTo>
                    <a:pt x="2084" y="2556"/>
                  </a:lnTo>
                  <a:lnTo>
                    <a:pt x="2063" y="2562"/>
                  </a:lnTo>
                  <a:lnTo>
                    <a:pt x="2043" y="2566"/>
                  </a:lnTo>
                  <a:lnTo>
                    <a:pt x="2007" y="2573"/>
                  </a:lnTo>
                  <a:lnTo>
                    <a:pt x="1977" y="2578"/>
                  </a:lnTo>
                  <a:lnTo>
                    <a:pt x="1935" y="2582"/>
                  </a:lnTo>
                  <a:lnTo>
                    <a:pt x="1921" y="2583"/>
                  </a:lnTo>
                  <a:lnTo>
                    <a:pt x="1925" y="2597"/>
                  </a:lnTo>
                  <a:lnTo>
                    <a:pt x="1937" y="2635"/>
                  </a:lnTo>
                  <a:lnTo>
                    <a:pt x="1958" y="2695"/>
                  </a:lnTo>
                  <a:lnTo>
                    <a:pt x="1988" y="2772"/>
                  </a:lnTo>
                  <a:lnTo>
                    <a:pt x="2005" y="2816"/>
                  </a:lnTo>
                  <a:lnTo>
                    <a:pt x="2025" y="2864"/>
                  </a:lnTo>
                  <a:lnTo>
                    <a:pt x="2047" y="2914"/>
                  </a:lnTo>
                  <a:lnTo>
                    <a:pt x="2070" y="2967"/>
                  </a:lnTo>
                  <a:lnTo>
                    <a:pt x="2096" y="3022"/>
                  </a:lnTo>
                  <a:lnTo>
                    <a:pt x="2123" y="3078"/>
                  </a:lnTo>
                  <a:lnTo>
                    <a:pt x="2153" y="3134"/>
                  </a:lnTo>
                  <a:lnTo>
                    <a:pt x="2185" y="3192"/>
                  </a:lnTo>
                  <a:lnTo>
                    <a:pt x="2218" y="3251"/>
                  </a:lnTo>
                  <a:lnTo>
                    <a:pt x="2253" y="3309"/>
                  </a:lnTo>
                  <a:lnTo>
                    <a:pt x="2290" y="3365"/>
                  </a:lnTo>
                  <a:lnTo>
                    <a:pt x="2330" y="3422"/>
                  </a:lnTo>
                  <a:lnTo>
                    <a:pt x="2371" y="3476"/>
                  </a:lnTo>
                  <a:lnTo>
                    <a:pt x="2413" y="3529"/>
                  </a:lnTo>
                  <a:lnTo>
                    <a:pt x="2459" y="3579"/>
                  </a:lnTo>
                  <a:lnTo>
                    <a:pt x="2505" y="3627"/>
                  </a:lnTo>
                  <a:lnTo>
                    <a:pt x="2554" y="3671"/>
                  </a:lnTo>
                  <a:lnTo>
                    <a:pt x="2603" y="3712"/>
                  </a:lnTo>
                  <a:lnTo>
                    <a:pt x="2656" y="3748"/>
                  </a:lnTo>
                  <a:lnTo>
                    <a:pt x="2710" y="3781"/>
                  </a:lnTo>
                  <a:lnTo>
                    <a:pt x="2764" y="3808"/>
                  </a:lnTo>
                  <a:lnTo>
                    <a:pt x="2822" y="3830"/>
                  </a:lnTo>
                  <a:lnTo>
                    <a:pt x="2881" y="3846"/>
                  </a:lnTo>
                  <a:lnTo>
                    <a:pt x="2942" y="3857"/>
                  </a:lnTo>
                  <a:lnTo>
                    <a:pt x="3012" y="3863"/>
                  </a:lnTo>
                  <a:lnTo>
                    <a:pt x="3099" y="3869"/>
                  </a:lnTo>
                  <a:lnTo>
                    <a:pt x="3201" y="3873"/>
                  </a:lnTo>
                  <a:lnTo>
                    <a:pt x="3318" y="3877"/>
                  </a:lnTo>
                  <a:lnTo>
                    <a:pt x="3448" y="3881"/>
                  </a:lnTo>
                  <a:lnTo>
                    <a:pt x="3589" y="3883"/>
                  </a:lnTo>
                  <a:lnTo>
                    <a:pt x="3741" y="3885"/>
                  </a:lnTo>
                  <a:lnTo>
                    <a:pt x="3902" y="3887"/>
                  </a:lnTo>
                  <a:lnTo>
                    <a:pt x="4072" y="3888"/>
                  </a:lnTo>
                  <a:lnTo>
                    <a:pt x="4248" y="3888"/>
                  </a:lnTo>
                  <a:lnTo>
                    <a:pt x="4430" y="3888"/>
                  </a:lnTo>
                  <a:lnTo>
                    <a:pt x="4616" y="3888"/>
                  </a:lnTo>
                  <a:lnTo>
                    <a:pt x="4995" y="3886"/>
                  </a:lnTo>
                  <a:lnTo>
                    <a:pt x="5377" y="3883"/>
                  </a:lnTo>
                  <a:lnTo>
                    <a:pt x="5752" y="3880"/>
                  </a:lnTo>
                  <a:lnTo>
                    <a:pt x="6108" y="3875"/>
                  </a:lnTo>
                  <a:lnTo>
                    <a:pt x="6438" y="3871"/>
                  </a:lnTo>
                  <a:lnTo>
                    <a:pt x="6729" y="3867"/>
                  </a:lnTo>
                  <a:lnTo>
                    <a:pt x="6973" y="3863"/>
                  </a:lnTo>
                  <a:lnTo>
                    <a:pt x="7160" y="3860"/>
                  </a:lnTo>
                  <a:lnTo>
                    <a:pt x="7280" y="3858"/>
                  </a:lnTo>
                  <a:lnTo>
                    <a:pt x="7321" y="3857"/>
                  </a:lnTo>
                  <a:lnTo>
                    <a:pt x="7321" y="3383"/>
                  </a:lnTo>
                  <a:lnTo>
                    <a:pt x="8195" y="3383"/>
                  </a:lnTo>
                  <a:lnTo>
                    <a:pt x="8195" y="5385"/>
                  </a:lnTo>
                  <a:lnTo>
                    <a:pt x="7501" y="5385"/>
                  </a:lnTo>
                  <a:lnTo>
                    <a:pt x="7337" y="4779"/>
                  </a:lnTo>
                  <a:lnTo>
                    <a:pt x="3379" y="4779"/>
                  </a:lnTo>
                  <a:lnTo>
                    <a:pt x="3362" y="4776"/>
                  </a:lnTo>
                  <a:lnTo>
                    <a:pt x="3316" y="4770"/>
                  </a:lnTo>
                  <a:lnTo>
                    <a:pt x="3282" y="4765"/>
                  </a:lnTo>
                  <a:lnTo>
                    <a:pt x="3242" y="4758"/>
                  </a:lnTo>
                  <a:lnTo>
                    <a:pt x="3197" y="4751"/>
                  </a:lnTo>
                  <a:lnTo>
                    <a:pt x="3145" y="4740"/>
                  </a:lnTo>
                  <a:lnTo>
                    <a:pt x="3091" y="4729"/>
                  </a:lnTo>
                  <a:lnTo>
                    <a:pt x="3031" y="4717"/>
                  </a:lnTo>
                  <a:lnTo>
                    <a:pt x="2967" y="4701"/>
                  </a:lnTo>
                  <a:lnTo>
                    <a:pt x="2900" y="4685"/>
                  </a:lnTo>
                  <a:lnTo>
                    <a:pt x="2830" y="4665"/>
                  </a:lnTo>
                  <a:lnTo>
                    <a:pt x="2758" y="4645"/>
                  </a:lnTo>
                  <a:lnTo>
                    <a:pt x="2684" y="4621"/>
                  </a:lnTo>
                  <a:lnTo>
                    <a:pt x="2608" y="4595"/>
                  </a:lnTo>
                  <a:lnTo>
                    <a:pt x="2532" y="4566"/>
                  </a:lnTo>
                  <a:lnTo>
                    <a:pt x="2454" y="4535"/>
                  </a:lnTo>
                  <a:lnTo>
                    <a:pt x="2378" y="4502"/>
                  </a:lnTo>
                  <a:lnTo>
                    <a:pt x="2302" y="4466"/>
                  </a:lnTo>
                  <a:lnTo>
                    <a:pt x="2225" y="4427"/>
                  </a:lnTo>
                  <a:lnTo>
                    <a:pt x="2152" y="4385"/>
                  </a:lnTo>
                  <a:lnTo>
                    <a:pt x="2080" y="4341"/>
                  </a:lnTo>
                  <a:lnTo>
                    <a:pt x="2009" y="4292"/>
                  </a:lnTo>
                  <a:lnTo>
                    <a:pt x="1942" y="4241"/>
                  </a:lnTo>
                  <a:lnTo>
                    <a:pt x="1878" y="4186"/>
                  </a:lnTo>
                  <a:lnTo>
                    <a:pt x="1818" y="4129"/>
                  </a:lnTo>
                  <a:lnTo>
                    <a:pt x="1763" y="4067"/>
                  </a:lnTo>
                  <a:lnTo>
                    <a:pt x="1712" y="4002"/>
                  </a:lnTo>
                  <a:lnTo>
                    <a:pt x="1665" y="3933"/>
                  </a:lnTo>
                  <a:lnTo>
                    <a:pt x="1626" y="3861"/>
                  </a:lnTo>
                  <a:lnTo>
                    <a:pt x="1592" y="3783"/>
                  </a:lnTo>
                  <a:lnTo>
                    <a:pt x="1562" y="3707"/>
                  </a:lnTo>
                  <a:lnTo>
                    <a:pt x="1533" y="3632"/>
                  </a:lnTo>
                  <a:lnTo>
                    <a:pt x="1506" y="3561"/>
                  </a:lnTo>
                  <a:lnTo>
                    <a:pt x="1482" y="3492"/>
                  </a:lnTo>
                  <a:lnTo>
                    <a:pt x="1458" y="3426"/>
                  </a:lnTo>
                  <a:lnTo>
                    <a:pt x="1436" y="3362"/>
                  </a:lnTo>
                  <a:lnTo>
                    <a:pt x="1416" y="3301"/>
                  </a:lnTo>
                  <a:lnTo>
                    <a:pt x="1396" y="3243"/>
                  </a:lnTo>
                  <a:lnTo>
                    <a:pt x="1378" y="3188"/>
                  </a:lnTo>
                  <a:lnTo>
                    <a:pt x="1362" y="3134"/>
                  </a:lnTo>
                  <a:lnTo>
                    <a:pt x="1346" y="3084"/>
                  </a:lnTo>
                  <a:lnTo>
                    <a:pt x="1332" y="3037"/>
                  </a:lnTo>
                  <a:lnTo>
                    <a:pt x="1307" y="2948"/>
                  </a:lnTo>
                  <a:lnTo>
                    <a:pt x="1286" y="2870"/>
                  </a:lnTo>
                  <a:lnTo>
                    <a:pt x="1269" y="2802"/>
                  </a:lnTo>
                  <a:lnTo>
                    <a:pt x="1255" y="2742"/>
                  </a:lnTo>
                  <a:lnTo>
                    <a:pt x="1245" y="2694"/>
                  </a:lnTo>
                  <a:lnTo>
                    <a:pt x="1238" y="2653"/>
                  </a:lnTo>
                  <a:lnTo>
                    <a:pt x="1233" y="2622"/>
                  </a:lnTo>
                  <a:lnTo>
                    <a:pt x="1230" y="2600"/>
                  </a:lnTo>
                  <a:lnTo>
                    <a:pt x="1228" y="2587"/>
                  </a:lnTo>
                  <a:lnTo>
                    <a:pt x="1228" y="2583"/>
                  </a:lnTo>
                  <a:lnTo>
                    <a:pt x="1215" y="2579"/>
                  </a:lnTo>
                  <a:lnTo>
                    <a:pt x="1181" y="2568"/>
                  </a:lnTo>
                  <a:lnTo>
                    <a:pt x="1128" y="2549"/>
                  </a:lnTo>
                  <a:lnTo>
                    <a:pt x="1060" y="2523"/>
                  </a:lnTo>
                  <a:lnTo>
                    <a:pt x="1021" y="2507"/>
                  </a:lnTo>
                  <a:lnTo>
                    <a:pt x="979" y="2490"/>
                  </a:lnTo>
                  <a:lnTo>
                    <a:pt x="933" y="2470"/>
                  </a:lnTo>
                  <a:lnTo>
                    <a:pt x="887" y="2448"/>
                  </a:lnTo>
                  <a:lnTo>
                    <a:pt x="837" y="2426"/>
                  </a:lnTo>
                  <a:lnTo>
                    <a:pt x="788" y="2401"/>
                  </a:lnTo>
                  <a:lnTo>
                    <a:pt x="736" y="2375"/>
                  </a:lnTo>
                  <a:lnTo>
                    <a:pt x="684" y="2346"/>
                  </a:lnTo>
                  <a:lnTo>
                    <a:pt x="632" y="2317"/>
                  </a:lnTo>
                  <a:lnTo>
                    <a:pt x="580" y="2286"/>
                  </a:lnTo>
                  <a:lnTo>
                    <a:pt x="528" y="2253"/>
                  </a:lnTo>
                  <a:lnTo>
                    <a:pt x="477" y="2217"/>
                  </a:lnTo>
                  <a:lnTo>
                    <a:pt x="427" y="2181"/>
                  </a:lnTo>
                  <a:lnTo>
                    <a:pt x="379" y="2142"/>
                  </a:lnTo>
                  <a:lnTo>
                    <a:pt x="332" y="2103"/>
                  </a:lnTo>
                  <a:lnTo>
                    <a:pt x="289" y="2061"/>
                  </a:lnTo>
                  <a:lnTo>
                    <a:pt x="246" y="2019"/>
                  </a:lnTo>
                  <a:lnTo>
                    <a:pt x="208" y="1974"/>
                  </a:lnTo>
                  <a:lnTo>
                    <a:pt x="173" y="1927"/>
                  </a:lnTo>
                  <a:lnTo>
                    <a:pt x="141" y="1880"/>
                  </a:lnTo>
                  <a:lnTo>
                    <a:pt x="114" y="1830"/>
                  </a:lnTo>
                  <a:lnTo>
                    <a:pt x="91" y="1780"/>
                  </a:lnTo>
                  <a:lnTo>
                    <a:pt x="73" y="1727"/>
                  </a:lnTo>
                  <a:lnTo>
                    <a:pt x="60" y="1674"/>
                  </a:lnTo>
                  <a:lnTo>
                    <a:pt x="50" y="1619"/>
                  </a:lnTo>
                  <a:lnTo>
                    <a:pt x="41" y="1565"/>
                  </a:lnTo>
                  <a:lnTo>
                    <a:pt x="34" y="1511"/>
                  </a:lnTo>
                  <a:lnTo>
                    <a:pt x="27" y="1458"/>
                  </a:lnTo>
                  <a:lnTo>
                    <a:pt x="20" y="1406"/>
                  </a:lnTo>
                  <a:lnTo>
                    <a:pt x="16" y="1353"/>
                  </a:lnTo>
                  <a:lnTo>
                    <a:pt x="11" y="1302"/>
                  </a:lnTo>
                  <a:lnTo>
                    <a:pt x="8" y="1251"/>
                  </a:lnTo>
                  <a:lnTo>
                    <a:pt x="5" y="1203"/>
                  </a:lnTo>
                  <a:lnTo>
                    <a:pt x="3" y="1155"/>
                  </a:lnTo>
                  <a:lnTo>
                    <a:pt x="2" y="1107"/>
                  </a:lnTo>
                  <a:lnTo>
                    <a:pt x="1" y="1061"/>
                  </a:lnTo>
                  <a:lnTo>
                    <a:pt x="0" y="973"/>
                  </a:lnTo>
                  <a:lnTo>
                    <a:pt x="1" y="891"/>
                  </a:lnTo>
                  <a:lnTo>
                    <a:pt x="3" y="817"/>
                  </a:lnTo>
                  <a:lnTo>
                    <a:pt x="6" y="749"/>
                  </a:lnTo>
                  <a:lnTo>
                    <a:pt x="10" y="690"/>
                  </a:lnTo>
                  <a:lnTo>
                    <a:pt x="14" y="639"/>
                  </a:lnTo>
                  <a:lnTo>
                    <a:pt x="17" y="599"/>
                  </a:lnTo>
                  <a:lnTo>
                    <a:pt x="20" y="570"/>
                  </a:lnTo>
                  <a:lnTo>
                    <a:pt x="22" y="552"/>
                  </a:lnTo>
                  <a:lnTo>
                    <a:pt x="23" y="546"/>
                  </a:lnTo>
                  <a:close/>
                  <a:moveTo>
                    <a:pt x="1647" y="909"/>
                  </a:moveTo>
                  <a:lnTo>
                    <a:pt x="1676" y="910"/>
                  </a:lnTo>
                  <a:lnTo>
                    <a:pt x="1705" y="912"/>
                  </a:lnTo>
                  <a:lnTo>
                    <a:pt x="1733" y="916"/>
                  </a:lnTo>
                  <a:lnTo>
                    <a:pt x="1760" y="921"/>
                  </a:lnTo>
                  <a:lnTo>
                    <a:pt x="1787" y="928"/>
                  </a:lnTo>
                  <a:lnTo>
                    <a:pt x="1814" y="935"/>
                  </a:lnTo>
                  <a:lnTo>
                    <a:pt x="1841" y="944"/>
                  </a:lnTo>
                  <a:lnTo>
                    <a:pt x="1867" y="954"/>
                  </a:lnTo>
                  <a:lnTo>
                    <a:pt x="1892" y="965"/>
                  </a:lnTo>
                  <a:lnTo>
                    <a:pt x="1915" y="977"/>
                  </a:lnTo>
                  <a:lnTo>
                    <a:pt x="1939" y="992"/>
                  </a:lnTo>
                  <a:lnTo>
                    <a:pt x="1962" y="1006"/>
                  </a:lnTo>
                  <a:lnTo>
                    <a:pt x="1985" y="1022"/>
                  </a:lnTo>
                  <a:lnTo>
                    <a:pt x="2005" y="1039"/>
                  </a:lnTo>
                  <a:lnTo>
                    <a:pt x="2026" y="1057"/>
                  </a:lnTo>
                  <a:lnTo>
                    <a:pt x="2047" y="1075"/>
                  </a:lnTo>
                  <a:lnTo>
                    <a:pt x="2064" y="1095"/>
                  </a:lnTo>
                  <a:lnTo>
                    <a:pt x="2083" y="1115"/>
                  </a:lnTo>
                  <a:lnTo>
                    <a:pt x="2099" y="1136"/>
                  </a:lnTo>
                  <a:lnTo>
                    <a:pt x="2115" y="1159"/>
                  </a:lnTo>
                  <a:lnTo>
                    <a:pt x="2129" y="1181"/>
                  </a:lnTo>
                  <a:lnTo>
                    <a:pt x="2144" y="1205"/>
                  </a:lnTo>
                  <a:lnTo>
                    <a:pt x="2156" y="1230"/>
                  </a:lnTo>
                  <a:lnTo>
                    <a:pt x="2167" y="1254"/>
                  </a:lnTo>
                  <a:lnTo>
                    <a:pt x="2178" y="1280"/>
                  </a:lnTo>
                  <a:lnTo>
                    <a:pt x="2186" y="1306"/>
                  </a:lnTo>
                  <a:lnTo>
                    <a:pt x="2194" y="1333"/>
                  </a:lnTo>
                  <a:lnTo>
                    <a:pt x="2200" y="1360"/>
                  </a:lnTo>
                  <a:lnTo>
                    <a:pt x="2206" y="1388"/>
                  </a:lnTo>
                  <a:lnTo>
                    <a:pt x="2209" y="1416"/>
                  </a:lnTo>
                  <a:lnTo>
                    <a:pt x="2211" y="1445"/>
                  </a:lnTo>
                  <a:lnTo>
                    <a:pt x="2212" y="1473"/>
                  </a:lnTo>
                  <a:lnTo>
                    <a:pt x="2211" y="1503"/>
                  </a:lnTo>
                  <a:lnTo>
                    <a:pt x="2209" y="1532"/>
                  </a:lnTo>
                  <a:lnTo>
                    <a:pt x="2206" y="1559"/>
                  </a:lnTo>
                  <a:lnTo>
                    <a:pt x="2200" y="1587"/>
                  </a:lnTo>
                  <a:lnTo>
                    <a:pt x="2194" y="1614"/>
                  </a:lnTo>
                  <a:lnTo>
                    <a:pt x="2186" y="1641"/>
                  </a:lnTo>
                  <a:lnTo>
                    <a:pt x="2178" y="1668"/>
                  </a:lnTo>
                  <a:lnTo>
                    <a:pt x="2167" y="1692"/>
                  </a:lnTo>
                  <a:lnTo>
                    <a:pt x="2156" y="1718"/>
                  </a:lnTo>
                  <a:lnTo>
                    <a:pt x="2144" y="1742"/>
                  </a:lnTo>
                  <a:lnTo>
                    <a:pt x="2129" y="1765"/>
                  </a:lnTo>
                  <a:lnTo>
                    <a:pt x="2115" y="1788"/>
                  </a:lnTo>
                  <a:lnTo>
                    <a:pt x="2099" y="1811"/>
                  </a:lnTo>
                  <a:lnTo>
                    <a:pt x="2083" y="1832"/>
                  </a:lnTo>
                  <a:lnTo>
                    <a:pt x="2064" y="1852"/>
                  </a:lnTo>
                  <a:lnTo>
                    <a:pt x="2047" y="1872"/>
                  </a:lnTo>
                  <a:lnTo>
                    <a:pt x="2026" y="1891"/>
                  </a:lnTo>
                  <a:lnTo>
                    <a:pt x="2005" y="1909"/>
                  </a:lnTo>
                  <a:lnTo>
                    <a:pt x="1985" y="1925"/>
                  </a:lnTo>
                  <a:lnTo>
                    <a:pt x="1962" y="1941"/>
                  </a:lnTo>
                  <a:lnTo>
                    <a:pt x="1939" y="1956"/>
                  </a:lnTo>
                  <a:lnTo>
                    <a:pt x="1915" y="1969"/>
                  </a:lnTo>
                  <a:lnTo>
                    <a:pt x="1892" y="1982"/>
                  </a:lnTo>
                  <a:lnTo>
                    <a:pt x="1867" y="1993"/>
                  </a:lnTo>
                  <a:lnTo>
                    <a:pt x="1841" y="2003"/>
                  </a:lnTo>
                  <a:lnTo>
                    <a:pt x="1814" y="2012"/>
                  </a:lnTo>
                  <a:lnTo>
                    <a:pt x="1787" y="2020"/>
                  </a:lnTo>
                  <a:lnTo>
                    <a:pt x="1760" y="2026"/>
                  </a:lnTo>
                  <a:lnTo>
                    <a:pt x="1733" y="2031"/>
                  </a:lnTo>
                  <a:lnTo>
                    <a:pt x="1705" y="2034"/>
                  </a:lnTo>
                  <a:lnTo>
                    <a:pt x="1676" y="2036"/>
                  </a:lnTo>
                  <a:lnTo>
                    <a:pt x="1647" y="2037"/>
                  </a:lnTo>
                  <a:lnTo>
                    <a:pt x="1618" y="2036"/>
                  </a:lnTo>
                  <a:lnTo>
                    <a:pt x="1589" y="2034"/>
                  </a:lnTo>
                  <a:lnTo>
                    <a:pt x="1560" y="2031"/>
                  </a:lnTo>
                  <a:lnTo>
                    <a:pt x="1533" y="2026"/>
                  </a:lnTo>
                  <a:lnTo>
                    <a:pt x="1505" y="2020"/>
                  </a:lnTo>
                  <a:lnTo>
                    <a:pt x="1479" y="2012"/>
                  </a:lnTo>
                  <a:lnTo>
                    <a:pt x="1453" y="2003"/>
                  </a:lnTo>
                  <a:lnTo>
                    <a:pt x="1427" y="1993"/>
                  </a:lnTo>
                  <a:lnTo>
                    <a:pt x="1401" y="1982"/>
                  </a:lnTo>
                  <a:lnTo>
                    <a:pt x="1377" y="1969"/>
                  </a:lnTo>
                  <a:lnTo>
                    <a:pt x="1354" y="1956"/>
                  </a:lnTo>
                  <a:lnTo>
                    <a:pt x="1331" y="1941"/>
                  </a:lnTo>
                  <a:lnTo>
                    <a:pt x="1308" y="1925"/>
                  </a:lnTo>
                  <a:lnTo>
                    <a:pt x="1287" y="1909"/>
                  </a:lnTo>
                  <a:lnTo>
                    <a:pt x="1267" y="1891"/>
                  </a:lnTo>
                  <a:lnTo>
                    <a:pt x="1247" y="1872"/>
                  </a:lnTo>
                  <a:lnTo>
                    <a:pt x="1229" y="1852"/>
                  </a:lnTo>
                  <a:lnTo>
                    <a:pt x="1210" y="1832"/>
                  </a:lnTo>
                  <a:lnTo>
                    <a:pt x="1194" y="1811"/>
                  </a:lnTo>
                  <a:lnTo>
                    <a:pt x="1178" y="1788"/>
                  </a:lnTo>
                  <a:lnTo>
                    <a:pt x="1163" y="1765"/>
                  </a:lnTo>
                  <a:lnTo>
                    <a:pt x="1149" y="1742"/>
                  </a:lnTo>
                  <a:lnTo>
                    <a:pt x="1137" y="1718"/>
                  </a:lnTo>
                  <a:lnTo>
                    <a:pt x="1125" y="1692"/>
                  </a:lnTo>
                  <a:lnTo>
                    <a:pt x="1115" y="1668"/>
                  </a:lnTo>
                  <a:lnTo>
                    <a:pt x="1107" y="1641"/>
                  </a:lnTo>
                  <a:lnTo>
                    <a:pt x="1098" y="1614"/>
                  </a:lnTo>
                  <a:lnTo>
                    <a:pt x="1092" y="1587"/>
                  </a:lnTo>
                  <a:lnTo>
                    <a:pt x="1087" y="1559"/>
                  </a:lnTo>
                  <a:lnTo>
                    <a:pt x="1084" y="1532"/>
                  </a:lnTo>
                  <a:lnTo>
                    <a:pt x="1082" y="1503"/>
                  </a:lnTo>
                  <a:lnTo>
                    <a:pt x="1081" y="1473"/>
                  </a:lnTo>
                  <a:lnTo>
                    <a:pt x="1082" y="1445"/>
                  </a:lnTo>
                  <a:lnTo>
                    <a:pt x="1084" y="1416"/>
                  </a:lnTo>
                  <a:lnTo>
                    <a:pt x="1087" y="1388"/>
                  </a:lnTo>
                  <a:lnTo>
                    <a:pt x="1092" y="1360"/>
                  </a:lnTo>
                  <a:lnTo>
                    <a:pt x="1098" y="1333"/>
                  </a:lnTo>
                  <a:lnTo>
                    <a:pt x="1107" y="1306"/>
                  </a:lnTo>
                  <a:lnTo>
                    <a:pt x="1115" y="1280"/>
                  </a:lnTo>
                  <a:lnTo>
                    <a:pt x="1125" y="1254"/>
                  </a:lnTo>
                  <a:lnTo>
                    <a:pt x="1137" y="1230"/>
                  </a:lnTo>
                  <a:lnTo>
                    <a:pt x="1149" y="1205"/>
                  </a:lnTo>
                  <a:lnTo>
                    <a:pt x="1163" y="1181"/>
                  </a:lnTo>
                  <a:lnTo>
                    <a:pt x="1178" y="1159"/>
                  </a:lnTo>
                  <a:lnTo>
                    <a:pt x="1194" y="1136"/>
                  </a:lnTo>
                  <a:lnTo>
                    <a:pt x="1210" y="1115"/>
                  </a:lnTo>
                  <a:lnTo>
                    <a:pt x="1229" y="1095"/>
                  </a:lnTo>
                  <a:lnTo>
                    <a:pt x="1247" y="1075"/>
                  </a:lnTo>
                  <a:lnTo>
                    <a:pt x="1267" y="1057"/>
                  </a:lnTo>
                  <a:lnTo>
                    <a:pt x="1287" y="1039"/>
                  </a:lnTo>
                  <a:lnTo>
                    <a:pt x="1308" y="1022"/>
                  </a:lnTo>
                  <a:lnTo>
                    <a:pt x="1331" y="1006"/>
                  </a:lnTo>
                  <a:lnTo>
                    <a:pt x="1354" y="992"/>
                  </a:lnTo>
                  <a:lnTo>
                    <a:pt x="1377" y="977"/>
                  </a:lnTo>
                  <a:lnTo>
                    <a:pt x="1401" y="965"/>
                  </a:lnTo>
                  <a:lnTo>
                    <a:pt x="1427" y="954"/>
                  </a:lnTo>
                  <a:lnTo>
                    <a:pt x="1453" y="944"/>
                  </a:lnTo>
                  <a:lnTo>
                    <a:pt x="1479" y="935"/>
                  </a:lnTo>
                  <a:lnTo>
                    <a:pt x="1505" y="928"/>
                  </a:lnTo>
                  <a:lnTo>
                    <a:pt x="1533" y="921"/>
                  </a:lnTo>
                  <a:lnTo>
                    <a:pt x="1560" y="916"/>
                  </a:lnTo>
                  <a:lnTo>
                    <a:pt x="1589" y="912"/>
                  </a:lnTo>
                  <a:lnTo>
                    <a:pt x="1618" y="910"/>
                  </a:lnTo>
                  <a:lnTo>
                    <a:pt x="1647" y="90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381" name="Picture 3"/>
          <p:cNvPicPr>
            <a:picLocks/>
          </p:cNvPicPr>
          <p:nvPr/>
        </p:nvPicPr>
        <p:blipFill>
          <a:blip r:embed="rId25" cstate="email"/>
          <a:stretch>
            <a:fillRect/>
          </a:stretch>
        </p:blipFill>
        <p:spPr bwMode="auto">
          <a:xfrm>
            <a:off x="4990571" y="3854694"/>
            <a:ext cx="616714" cy="31368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382" name="矩形 92"/>
          <p:cNvSpPr/>
          <p:nvPr/>
        </p:nvSpPr>
        <p:spPr>
          <a:xfrm>
            <a:off x="3787711" y="4589949"/>
            <a:ext cx="1743041" cy="261610"/>
          </a:xfrm>
          <a:prstGeom prst="rect">
            <a:avLst/>
          </a:prstGeom>
          <a:solidFill>
            <a:srgbClr val="C00000"/>
          </a:solidFill>
        </p:spPr>
        <p:txBody>
          <a:bodyPr wrap="square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/>
                <a:cs typeface="Arial" pitchFamily="34" charset="0"/>
              </a:rPr>
              <a:t>③</a:t>
            </a:r>
            <a:r>
              <a:rPr kumimoji="0" lang="en-US" altLang="zh-CN" sz="11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微软雅黑" pitchFamily="34" charset="-122"/>
                <a:cs typeface="Arial" pitchFamily="34" charset="0"/>
              </a:rPr>
              <a:t> Smart RoadSafety</a:t>
            </a:r>
            <a:endParaRPr kumimoji="0" lang="zh-CN" altLang="en-US" sz="11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68" name="组合 357"/>
          <p:cNvGrpSpPr/>
          <p:nvPr/>
        </p:nvGrpSpPr>
        <p:grpSpPr>
          <a:xfrm>
            <a:off x="7564839" y="3942807"/>
            <a:ext cx="971714" cy="570217"/>
            <a:chOff x="7601802" y="3643667"/>
            <a:chExt cx="1205836" cy="786889"/>
          </a:xfrm>
        </p:grpSpPr>
        <p:grpSp>
          <p:nvGrpSpPr>
            <p:cNvPr id="69" name="组合 758"/>
            <p:cNvGrpSpPr/>
            <p:nvPr/>
          </p:nvGrpSpPr>
          <p:grpSpPr>
            <a:xfrm rot="19627854">
              <a:off x="8459481" y="4012155"/>
              <a:ext cx="348157" cy="288829"/>
              <a:chOff x="7440613" y="4868863"/>
              <a:chExt cx="1019175" cy="828675"/>
            </a:xfrm>
          </p:grpSpPr>
          <p:sp>
            <p:nvSpPr>
              <p:cNvPr id="389" name="Freeform 15"/>
              <p:cNvSpPr>
                <a:spLocks/>
              </p:cNvSpPr>
              <p:nvPr/>
            </p:nvSpPr>
            <p:spPr bwMode="auto">
              <a:xfrm>
                <a:off x="7832726" y="5462588"/>
                <a:ext cx="234950" cy="234950"/>
              </a:xfrm>
              <a:custGeom>
                <a:avLst/>
                <a:gdLst/>
                <a:ahLst/>
                <a:cxnLst>
                  <a:cxn ang="0">
                    <a:pos x="3281" y="680"/>
                  </a:cxn>
                  <a:cxn ang="0">
                    <a:pos x="3439" y="907"/>
                  </a:cxn>
                  <a:cxn ang="0">
                    <a:pos x="3559" y="1151"/>
                  </a:cxn>
                  <a:cxn ang="0">
                    <a:pos x="3642" y="1406"/>
                  </a:cxn>
                  <a:cxn ang="0">
                    <a:pos x="3686" y="1670"/>
                  </a:cxn>
                  <a:cxn ang="0">
                    <a:pos x="3693" y="1936"/>
                  </a:cxn>
                  <a:cxn ang="0">
                    <a:pos x="3661" y="2201"/>
                  </a:cxn>
                  <a:cxn ang="0">
                    <a:pos x="3591" y="2460"/>
                  </a:cxn>
                  <a:cxn ang="0">
                    <a:pos x="3484" y="2708"/>
                  </a:cxn>
                  <a:cxn ang="0">
                    <a:pos x="3339" y="2941"/>
                  </a:cxn>
                  <a:cxn ang="0">
                    <a:pos x="3155" y="3155"/>
                  </a:cxn>
                  <a:cxn ang="0">
                    <a:pos x="2941" y="3339"/>
                  </a:cxn>
                  <a:cxn ang="0">
                    <a:pos x="2708" y="3484"/>
                  </a:cxn>
                  <a:cxn ang="0">
                    <a:pos x="2460" y="3592"/>
                  </a:cxn>
                  <a:cxn ang="0">
                    <a:pos x="2201" y="3661"/>
                  </a:cxn>
                  <a:cxn ang="0">
                    <a:pos x="1936" y="3693"/>
                  </a:cxn>
                  <a:cxn ang="0">
                    <a:pos x="1670" y="3687"/>
                  </a:cxn>
                  <a:cxn ang="0">
                    <a:pos x="1408" y="3643"/>
                  </a:cxn>
                  <a:cxn ang="0">
                    <a:pos x="1152" y="3561"/>
                  </a:cxn>
                  <a:cxn ang="0">
                    <a:pos x="908" y="3440"/>
                  </a:cxn>
                  <a:cxn ang="0">
                    <a:pos x="680" y="3282"/>
                  </a:cxn>
                  <a:cxn ang="0">
                    <a:pos x="475" y="3086"/>
                  </a:cxn>
                  <a:cxn ang="0">
                    <a:pos x="304" y="2866"/>
                  </a:cxn>
                  <a:cxn ang="0">
                    <a:pos x="172" y="2627"/>
                  </a:cxn>
                  <a:cxn ang="0">
                    <a:pos x="76" y="2374"/>
                  </a:cxn>
                  <a:cxn ang="0">
                    <a:pos x="19" y="2114"/>
                  </a:cxn>
                  <a:cxn ang="0">
                    <a:pos x="0" y="1848"/>
                  </a:cxn>
                  <a:cxn ang="0">
                    <a:pos x="19" y="1582"/>
                  </a:cxn>
                  <a:cxn ang="0">
                    <a:pos x="76" y="1321"/>
                  </a:cxn>
                  <a:cxn ang="0">
                    <a:pos x="171" y="1069"/>
                  </a:cxn>
                  <a:cxn ang="0">
                    <a:pos x="304" y="830"/>
                  </a:cxn>
                  <a:cxn ang="0">
                    <a:pos x="475" y="609"/>
                  </a:cxn>
                  <a:cxn ang="0">
                    <a:pos x="680" y="414"/>
                  </a:cxn>
                  <a:cxn ang="0">
                    <a:pos x="907" y="255"/>
                  </a:cxn>
                  <a:cxn ang="0">
                    <a:pos x="1151" y="135"/>
                  </a:cxn>
                  <a:cxn ang="0">
                    <a:pos x="1407" y="52"/>
                  </a:cxn>
                  <a:cxn ang="0">
                    <a:pos x="1669" y="8"/>
                  </a:cxn>
                  <a:cxn ang="0">
                    <a:pos x="1936" y="2"/>
                  </a:cxn>
                  <a:cxn ang="0">
                    <a:pos x="2201" y="33"/>
                  </a:cxn>
                  <a:cxn ang="0">
                    <a:pos x="2459" y="104"/>
                  </a:cxn>
                  <a:cxn ang="0">
                    <a:pos x="2708" y="211"/>
                  </a:cxn>
                  <a:cxn ang="0">
                    <a:pos x="2940" y="356"/>
                  </a:cxn>
                  <a:cxn ang="0">
                    <a:pos x="3154" y="539"/>
                  </a:cxn>
                </a:cxnLst>
                <a:rect l="0" t="0" r="r" b="b"/>
                <a:pathLst>
                  <a:path w="3695" h="3695">
                    <a:moveTo>
                      <a:pt x="3154" y="539"/>
                    </a:moveTo>
                    <a:lnTo>
                      <a:pt x="3220" y="608"/>
                    </a:lnTo>
                    <a:lnTo>
                      <a:pt x="3281" y="680"/>
                    </a:lnTo>
                    <a:lnTo>
                      <a:pt x="3338" y="754"/>
                    </a:lnTo>
                    <a:lnTo>
                      <a:pt x="3391" y="829"/>
                    </a:lnTo>
                    <a:lnTo>
                      <a:pt x="3439" y="907"/>
                    </a:lnTo>
                    <a:lnTo>
                      <a:pt x="3483" y="987"/>
                    </a:lnTo>
                    <a:lnTo>
                      <a:pt x="3523" y="1068"/>
                    </a:lnTo>
                    <a:lnTo>
                      <a:pt x="3559" y="1151"/>
                    </a:lnTo>
                    <a:lnTo>
                      <a:pt x="3591" y="1235"/>
                    </a:lnTo>
                    <a:lnTo>
                      <a:pt x="3619" y="1320"/>
                    </a:lnTo>
                    <a:lnTo>
                      <a:pt x="3642" y="1406"/>
                    </a:lnTo>
                    <a:lnTo>
                      <a:pt x="3661" y="1493"/>
                    </a:lnTo>
                    <a:lnTo>
                      <a:pt x="3676" y="1582"/>
                    </a:lnTo>
                    <a:lnTo>
                      <a:pt x="3686" y="1670"/>
                    </a:lnTo>
                    <a:lnTo>
                      <a:pt x="3693" y="1758"/>
                    </a:lnTo>
                    <a:lnTo>
                      <a:pt x="3695" y="1847"/>
                    </a:lnTo>
                    <a:lnTo>
                      <a:pt x="3693" y="1936"/>
                    </a:lnTo>
                    <a:lnTo>
                      <a:pt x="3686" y="2024"/>
                    </a:lnTo>
                    <a:lnTo>
                      <a:pt x="3676" y="2113"/>
                    </a:lnTo>
                    <a:lnTo>
                      <a:pt x="3661" y="2201"/>
                    </a:lnTo>
                    <a:lnTo>
                      <a:pt x="3642" y="2288"/>
                    </a:lnTo>
                    <a:lnTo>
                      <a:pt x="3619" y="2374"/>
                    </a:lnTo>
                    <a:lnTo>
                      <a:pt x="3591" y="2460"/>
                    </a:lnTo>
                    <a:lnTo>
                      <a:pt x="3559" y="2544"/>
                    </a:lnTo>
                    <a:lnTo>
                      <a:pt x="3524" y="2626"/>
                    </a:lnTo>
                    <a:lnTo>
                      <a:pt x="3484" y="2708"/>
                    </a:lnTo>
                    <a:lnTo>
                      <a:pt x="3439" y="2788"/>
                    </a:lnTo>
                    <a:lnTo>
                      <a:pt x="3391" y="2865"/>
                    </a:lnTo>
                    <a:lnTo>
                      <a:pt x="3339" y="2941"/>
                    </a:lnTo>
                    <a:lnTo>
                      <a:pt x="3281" y="3015"/>
                    </a:lnTo>
                    <a:lnTo>
                      <a:pt x="3220" y="3086"/>
                    </a:lnTo>
                    <a:lnTo>
                      <a:pt x="3155" y="3155"/>
                    </a:lnTo>
                    <a:lnTo>
                      <a:pt x="3086" y="3220"/>
                    </a:lnTo>
                    <a:lnTo>
                      <a:pt x="3015" y="3282"/>
                    </a:lnTo>
                    <a:lnTo>
                      <a:pt x="2941" y="3339"/>
                    </a:lnTo>
                    <a:lnTo>
                      <a:pt x="2865" y="3391"/>
                    </a:lnTo>
                    <a:lnTo>
                      <a:pt x="2788" y="3440"/>
                    </a:lnTo>
                    <a:lnTo>
                      <a:pt x="2708" y="3484"/>
                    </a:lnTo>
                    <a:lnTo>
                      <a:pt x="2626" y="3524"/>
                    </a:lnTo>
                    <a:lnTo>
                      <a:pt x="2544" y="3560"/>
                    </a:lnTo>
                    <a:lnTo>
                      <a:pt x="2460" y="3592"/>
                    </a:lnTo>
                    <a:lnTo>
                      <a:pt x="2375" y="3619"/>
                    </a:lnTo>
                    <a:lnTo>
                      <a:pt x="2288" y="3643"/>
                    </a:lnTo>
                    <a:lnTo>
                      <a:pt x="2201" y="3661"/>
                    </a:lnTo>
                    <a:lnTo>
                      <a:pt x="2114" y="3676"/>
                    </a:lnTo>
                    <a:lnTo>
                      <a:pt x="2026" y="3687"/>
                    </a:lnTo>
                    <a:lnTo>
                      <a:pt x="1936" y="3693"/>
                    </a:lnTo>
                    <a:lnTo>
                      <a:pt x="1848" y="3695"/>
                    </a:lnTo>
                    <a:lnTo>
                      <a:pt x="1759" y="3693"/>
                    </a:lnTo>
                    <a:lnTo>
                      <a:pt x="1670" y="3687"/>
                    </a:lnTo>
                    <a:lnTo>
                      <a:pt x="1582" y="3676"/>
                    </a:lnTo>
                    <a:lnTo>
                      <a:pt x="1495" y="3662"/>
                    </a:lnTo>
                    <a:lnTo>
                      <a:pt x="1408" y="3643"/>
                    </a:lnTo>
                    <a:lnTo>
                      <a:pt x="1321" y="3620"/>
                    </a:lnTo>
                    <a:lnTo>
                      <a:pt x="1236" y="3592"/>
                    </a:lnTo>
                    <a:lnTo>
                      <a:pt x="1152" y="3561"/>
                    </a:lnTo>
                    <a:lnTo>
                      <a:pt x="1069" y="3524"/>
                    </a:lnTo>
                    <a:lnTo>
                      <a:pt x="987" y="3484"/>
                    </a:lnTo>
                    <a:lnTo>
                      <a:pt x="908" y="3440"/>
                    </a:lnTo>
                    <a:lnTo>
                      <a:pt x="830" y="3391"/>
                    </a:lnTo>
                    <a:lnTo>
                      <a:pt x="755" y="3339"/>
                    </a:lnTo>
                    <a:lnTo>
                      <a:pt x="680" y="3282"/>
                    </a:lnTo>
                    <a:lnTo>
                      <a:pt x="609" y="3220"/>
                    </a:lnTo>
                    <a:lnTo>
                      <a:pt x="541" y="3155"/>
                    </a:lnTo>
                    <a:lnTo>
                      <a:pt x="475" y="3086"/>
                    </a:lnTo>
                    <a:lnTo>
                      <a:pt x="414" y="3015"/>
                    </a:lnTo>
                    <a:lnTo>
                      <a:pt x="357" y="2941"/>
                    </a:lnTo>
                    <a:lnTo>
                      <a:pt x="304" y="2866"/>
                    </a:lnTo>
                    <a:lnTo>
                      <a:pt x="256" y="2788"/>
                    </a:lnTo>
                    <a:lnTo>
                      <a:pt x="212" y="2709"/>
                    </a:lnTo>
                    <a:lnTo>
                      <a:pt x="172" y="2627"/>
                    </a:lnTo>
                    <a:lnTo>
                      <a:pt x="136" y="2544"/>
                    </a:lnTo>
                    <a:lnTo>
                      <a:pt x="104" y="2460"/>
                    </a:lnTo>
                    <a:lnTo>
                      <a:pt x="76" y="2374"/>
                    </a:lnTo>
                    <a:lnTo>
                      <a:pt x="53" y="2288"/>
                    </a:lnTo>
                    <a:lnTo>
                      <a:pt x="34" y="2201"/>
                    </a:lnTo>
                    <a:lnTo>
                      <a:pt x="19" y="2114"/>
                    </a:lnTo>
                    <a:lnTo>
                      <a:pt x="9" y="2025"/>
                    </a:lnTo>
                    <a:lnTo>
                      <a:pt x="2" y="1937"/>
                    </a:lnTo>
                    <a:lnTo>
                      <a:pt x="0" y="1848"/>
                    </a:lnTo>
                    <a:lnTo>
                      <a:pt x="2" y="1759"/>
                    </a:lnTo>
                    <a:lnTo>
                      <a:pt x="9" y="1670"/>
                    </a:lnTo>
                    <a:lnTo>
                      <a:pt x="19" y="1582"/>
                    </a:lnTo>
                    <a:lnTo>
                      <a:pt x="34" y="1494"/>
                    </a:lnTo>
                    <a:lnTo>
                      <a:pt x="53" y="1407"/>
                    </a:lnTo>
                    <a:lnTo>
                      <a:pt x="76" y="1321"/>
                    </a:lnTo>
                    <a:lnTo>
                      <a:pt x="104" y="1236"/>
                    </a:lnTo>
                    <a:lnTo>
                      <a:pt x="136" y="1151"/>
                    </a:lnTo>
                    <a:lnTo>
                      <a:pt x="171" y="1069"/>
                    </a:lnTo>
                    <a:lnTo>
                      <a:pt x="211" y="988"/>
                    </a:lnTo>
                    <a:lnTo>
                      <a:pt x="255" y="907"/>
                    </a:lnTo>
                    <a:lnTo>
                      <a:pt x="304" y="830"/>
                    </a:lnTo>
                    <a:lnTo>
                      <a:pt x="356" y="754"/>
                    </a:lnTo>
                    <a:lnTo>
                      <a:pt x="414" y="681"/>
                    </a:lnTo>
                    <a:lnTo>
                      <a:pt x="475" y="609"/>
                    </a:lnTo>
                    <a:lnTo>
                      <a:pt x="540" y="540"/>
                    </a:lnTo>
                    <a:lnTo>
                      <a:pt x="609" y="475"/>
                    </a:lnTo>
                    <a:lnTo>
                      <a:pt x="680" y="414"/>
                    </a:lnTo>
                    <a:lnTo>
                      <a:pt x="754" y="356"/>
                    </a:lnTo>
                    <a:lnTo>
                      <a:pt x="830" y="303"/>
                    </a:lnTo>
                    <a:lnTo>
                      <a:pt x="907" y="255"/>
                    </a:lnTo>
                    <a:lnTo>
                      <a:pt x="987" y="211"/>
                    </a:lnTo>
                    <a:lnTo>
                      <a:pt x="1069" y="171"/>
                    </a:lnTo>
                    <a:lnTo>
                      <a:pt x="1151" y="135"/>
                    </a:lnTo>
                    <a:lnTo>
                      <a:pt x="1235" y="104"/>
                    </a:lnTo>
                    <a:lnTo>
                      <a:pt x="1320" y="76"/>
                    </a:lnTo>
                    <a:lnTo>
                      <a:pt x="1407" y="52"/>
                    </a:lnTo>
                    <a:lnTo>
                      <a:pt x="1494" y="33"/>
                    </a:lnTo>
                    <a:lnTo>
                      <a:pt x="1581" y="19"/>
                    </a:lnTo>
                    <a:lnTo>
                      <a:pt x="1669" y="8"/>
                    </a:lnTo>
                    <a:lnTo>
                      <a:pt x="1759" y="2"/>
                    </a:lnTo>
                    <a:lnTo>
                      <a:pt x="1847" y="0"/>
                    </a:lnTo>
                    <a:lnTo>
                      <a:pt x="1936" y="2"/>
                    </a:lnTo>
                    <a:lnTo>
                      <a:pt x="2025" y="8"/>
                    </a:lnTo>
                    <a:lnTo>
                      <a:pt x="2113" y="19"/>
                    </a:lnTo>
                    <a:lnTo>
                      <a:pt x="2201" y="33"/>
                    </a:lnTo>
                    <a:lnTo>
                      <a:pt x="2287" y="52"/>
                    </a:lnTo>
                    <a:lnTo>
                      <a:pt x="2374" y="76"/>
                    </a:lnTo>
                    <a:lnTo>
                      <a:pt x="2459" y="104"/>
                    </a:lnTo>
                    <a:lnTo>
                      <a:pt x="2543" y="135"/>
                    </a:lnTo>
                    <a:lnTo>
                      <a:pt x="2626" y="171"/>
                    </a:lnTo>
                    <a:lnTo>
                      <a:pt x="2708" y="211"/>
                    </a:lnTo>
                    <a:lnTo>
                      <a:pt x="2787" y="255"/>
                    </a:lnTo>
                    <a:lnTo>
                      <a:pt x="2865" y="303"/>
                    </a:lnTo>
                    <a:lnTo>
                      <a:pt x="2940" y="356"/>
                    </a:lnTo>
                    <a:lnTo>
                      <a:pt x="3015" y="413"/>
                    </a:lnTo>
                    <a:lnTo>
                      <a:pt x="3086" y="474"/>
                    </a:lnTo>
                    <a:lnTo>
                      <a:pt x="3154" y="539"/>
                    </a:lnTo>
                    <a:close/>
                  </a:path>
                </a:pathLst>
              </a:custGeom>
              <a:solidFill>
                <a:srgbClr val="96959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90" name="Freeform 16"/>
              <p:cNvSpPr>
                <a:spLocks noEditPoints="1"/>
              </p:cNvSpPr>
              <p:nvPr/>
            </p:nvSpPr>
            <p:spPr bwMode="auto">
              <a:xfrm>
                <a:off x="7440613" y="4868863"/>
                <a:ext cx="1019175" cy="544513"/>
              </a:xfrm>
              <a:custGeom>
                <a:avLst/>
                <a:gdLst/>
                <a:ahLst/>
                <a:cxnLst>
                  <a:cxn ang="0">
                    <a:pos x="16025" y="3351"/>
                  </a:cxn>
                  <a:cxn ang="0">
                    <a:pos x="14975" y="4351"/>
                  </a:cxn>
                  <a:cxn ang="0">
                    <a:pos x="14184" y="3632"/>
                  </a:cxn>
                  <a:cxn ang="0">
                    <a:pos x="12564" y="2563"/>
                  </a:cxn>
                  <a:cxn ang="0">
                    <a:pos x="10805" y="1850"/>
                  </a:cxn>
                  <a:cxn ang="0">
                    <a:pos x="8960" y="1494"/>
                  </a:cxn>
                  <a:cxn ang="0">
                    <a:pos x="7087" y="1494"/>
                  </a:cxn>
                  <a:cxn ang="0">
                    <a:pos x="5243" y="1851"/>
                  </a:cxn>
                  <a:cxn ang="0">
                    <a:pos x="3483" y="2564"/>
                  </a:cxn>
                  <a:cxn ang="0">
                    <a:pos x="1864" y="3634"/>
                  </a:cxn>
                  <a:cxn ang="0">
                    <a:pos x="1075" y="4353"/>
                  </a:cxn>
                  <a:cxn ang="0">
                    <a:pos x="24" y="3353"/>
                  </a:cxn>
                  <a:cxn ang="0">
                    <a:pos x="516" y="2880"/>
                  </a:cxn>
                  <a:cxn ang="0">
                    <a:pos x="2325" y="1549"/>
                  </a:cxn>
                  <a:cxn ang="0">
                    <a:pos x="4312" y="627"/>
                  </a:cxn>
                  <a:cxn ang="0">
                    <a:pos x="6413" y="115"/>
                  </a:cxn>
                  <a:cxn ang="0">
                    <a:pos x="8562" y="13"/>
                  </a:cxn>
                  <a:cxn ang="0">
                    <a:pos x="10694" y="319"/>
                  </a:cxn>
                  <a:cxn ang="0">
                    <a:pos x="12747" y="1036"/>
                  </a:cxn>
                  <a:cxn ang="0">
                    <a:pos x="14654" y="2160"/>
                  </a:cxn>
                  <a:cxn ang="0">
                    <a:pos x="14055" y="5373"/>
                  </a:cxn>
                  <a:cxn ang="0">
                    <a:pos x="12871" y="6404"/>
                  </a:cxn>
                  <a:cxn ang="0">
                    <a:pos x="12058" y="5702"/>
                  </a:cxn>
                  <a:cxn ang="0">
                    <a:pos x="10898" y="5017"/>
                  </a:cxn>
                  <a:cxn ang="0">
                    <a:pos x="9649" y="4582"/>
                  </a:cxn>
                  <a:cxn ang="0">
                    <a:pos x="8352" y="4395"/>
                  </a:cxn>
                  <a:cxn ang="0">
                    <a:pos x="7044" y="4457"/>
                  </a:cxn>
                  <a:cxn ang="0">
                    <a:pos x="5767" y="4769"/>
                  </a:cxn>
                  <a:cxn ang="0">
                    <a:pos x="4558" y="5329"/>
                  </a:cxn>
                  <a:cxn ang="0">
                    <a:pos x="3457" y="6139"/>
                  </a:cxn>
                  <a:cxn ang="0">
                    <a:pos x="3129" y="6456"/>
                  </a:cxn>
                  <a:cxn ang="0">
                    <a:pos x="2045" y="5322"/>
                  </a:cxn>
                  <a:cxn ang="0">
                    <a:pos x="2731" y="4697"/>
                  </a:cxn>
                  <a:cxn ang="0">
                    <a:pos x="4122" y="3779"/>
                  </a:cxn>
                  <a:cxn ang="0">
                    <a:pos x="5635" y="3166"/>
                  </a:cxn>
                  <a:cxn ang="0">
                    <a:pos x="7219" y="2859"/>
                  </a:cxn>
                  <a:cxn ang="0">
                    <a:pos x="8829" y="2859"/>
                  </a:cxn>
                  <a:cxn ang="0">
                    <a:pos x="10413" y="3165"/>
                  </a:cxn>
                  <a:cxn ang="0">
                    <a:pos x="11926" y="3777"/>
                  </a:cxn>
                  <a:cxn ang="0">
                    <a:pos x="13318" y="4696"/>
                  </a:cxn>
                  <a:cxn ang="0">
                    <a:pos x="14005" y="5321"/>
                  </a:cxn>
                  <a:cxn ang="0">
                    <a:pos x="10854" y="8576"/>
                  </a:cxn>
                  <a:cxn ang="0">
                    <a:pos x="10754" y="8472"/>
                  </a:cxn>
                  <a:cxn ang="0">
                    <a:pos x="10150" y="7980"/>
                  </a:cxn>
                  <a:cxn ang="0">
                    <a:pos x="9479" y="7627"/>
                  </a:cxn>
                  <a:cxn ang="0">
                    <a:pos x="8762" y="7416"/>
                  </a:cxn>
                  <a:cxn ang="0">
                    <a:pos x="8025" y="7345"/>
                  </a:cxn>
                  <a:cxn ang="0">
                    <a:pos x="7287" y="7416"/>
                  </a:cxn>
                  <a:cxn ang="0">
                    <a:pos x="6571" y="7627"/>
                  </a:cxn>
                  <a:cxn ang="0">
                    <a:pos x="5900" y="7980"/>
                  </a:cxn>
                  <a:cxn ang="0">
                    <a:pos x="5297" y="8473"/>
                  </a:cxn>
                  <a:cxn ang="0">
                    <a:pos x="5198" y="8576"/>
                  </a:cxn>
                  <a:cxn ang="0">
                    <a:pos x="4197" y="7425"/>
                  </a:cxn>
                  <a:cxn ang="0">
                    <a:pos x="4843" y="6865"/>
                  </a:cxn>
                  <a:cxn ang="0">
                    <a:pos x="5758" y="6325"/>
                  </a:cxn>
                  <a:cxn ang="0">
                    <a:pos x="6743" y="5981"/>
                  </a:cxn>
                  <a:cxn ang="0">
                    <a:pos x="7766" y="5833"/>
                  </a:cxn>
                  <a:cxn ang="0">
                    <a:pos x="8797" y="5882"/>
                  </a:cxn>
                  <a:cxn ang="0">
                    <a:pos x="9806" y="6127"/>
                  </a:cxn>
                  <a:cxn ang="0">
                    <a:pos x="10760" y="6570"/>
                  </a:cxn>
                  <a:cxn ang="0">
                    <a:pos x="11627" y="7208"/>
                  </a:cxn>
                  <a:cxn ang="0">
                    <a:pos x="11903" y="7475"/>
                  </a:cxn>
                </a:cxnLst>
                <a:rect l="0" t="0" r="r" b="b"/>
                <a:pathLst>
                  <a:path w="16050" h="8576">
                    <a:moveTo>
                      <a:pt x="15950" y="3273"/>
                    </a:moveTo>
                    <a:lnTo>
                      <a:pt x="15975" y="3299"/>
                    </a:lnTo>
                    <a:lnTo>
                      <a:pt x="16000" y="3324"/>
                    </a:lnTo>
                    <a:lnTo>
                      <a:pt x="16025" y="3351"/>
                    </a:lnTo>
                    <a:lnTo>
                      <a:pt x="16050" y="3377"/>
                    </a:lnTo>
                    <a:lnTo>
                      <a:pt x="15025" y="4402"/>
                    </a:lnTo>
                    <a:lnTo>
                      <a:pt x="15000" y="4377"/>
                    </a:lnTo>
                    <a:lnTo>
                      <a:pt x="14975" y="4351"/>
                    </a:lnTo>
                    <a:lnTo>
                      <a:pt x="14950" y="4325"/>
                    </a:lnTo>
                    <a:lnTo>
                      <a:pt x="14923" y="4300"/>
                    </a:lnTo>
                    <a:lnTo>
                      <a:pt x="14560" y="3955"/>
                    </a:lnTo>
                    <a:lnTo>
                      <a:pt x="14184" y="3632"/>
                    </a:lnTo>
                    <a:lnTo>
                      <a:pt x="13796" y="3330"/>
                    </a:lnTo>
                    <a:lnTo>
                      <a:pt x="13396" y="3053"/>
                    </a:lnTo>
                    <a:lnTo>
                      <a:pt x="12984" y="2797"/>
                    </a:lnTo>
                    <a:lnTo>
                      <a:pt x="12564" y="2563"/>
                    </a:lnTo>
                    <a:lnTo>
                      <a:pt x="12136" y="2351"/>
                    </a:lnTo>
                    <a:lnTo>
                      <a:pt x="11698" y="2161"/>
                    </a:lnTo>
                    <a:lnTo>
                      <a:pt x="11254" y="1995"/>
                    </a:lnTo>
                    <a:lnTo>
                      <a:pt x="10805" y="1850"/>
                    </a:lnTo>
                    <a:lnTo>
                      <a:pt x="10349" y="1728"/>
                    </a:lnTo>
                    <a:lnTo>
                      <a:pt x="9889" y="1628"/>
                    </a:lnTo>
                    <a:lnTo>
                      <a:pt x="9426" y="1549"/>
                    </a:lnTo>
                    <a:lnTo>
                      <a:pt x="8960" y="1494"/>
                    </a:lnTo>
                    <a:lnTo>
                      <a:pt x="8492" y="1461"/>
                    </a:lnTo>
                    <a:lnTo>
                      <a:pt x="8024" y="1450"/>
                    </a:lnTo>
                    <a:lnTo>
                      <a:pt x="7556" y="1461"/>
                    </a:lnTo>
                    <a:lnTo>
                      <a:pt x="7087" y="1494"/>
                    </a:lnTo>
                    <a:lnTo>
                      <a:pt x="6622" y="1550"/>
                    </a:lnTo>
                    <a:lnTo>
                      <a:pt x="6158" y="1629"/>
                    </a:lnTo>
                    <a:lnTo>
                      <a:pt x="5699" y="1729"/>
                    </a:lnTo>
                    <a:lnTo>
                      <a:pt x="5243" y="1851"/>
                    </a:lnTo>
                    <a:lnTo>
                      <a:pt x="4793" y="1996"/>
                    </a:lnTo>
                    <a:lnTo>
                      <a:pt x="4350" y="2163"/>
                    </a:lnTo>
                    <a:lnTo>
                      <a:pt x="3912" y="2352"/>
                    </a:lnTo>
                    <a:lnTo>
                      <a:pt x="3483" y="2564"/>
                    </a:lnTo>
                    <a:lnTo>
                      <a:pt x="3064" y="2799"/>
                    </a:lnTo>
                    <a:lnTo>
                      <a:pt x="2652" y="3055"/>
                    </a:lnTo>
                    <a:lnTo>
                      <a:pt x="2253" y="3332"/>
                    </a:lnTo>
                    <a:lnTo>
                      <a:pt x="1864" y="3634"/>
                    </a:lnTo>
                    <a:lnTo>
                      <a:pt x="1488" y="3957"/>
                    </a:lnTo>
                    <a:lnTo>
                      <a:pt x="1125" y="4302"/>
                    </a:lnTo>
                    <a:lnTo>
                      <a:pt x="1099" y="4327"/>
                    </a:lnTo>
                    <a:lnTo>
                      <a:pt x="1075" y="4353"/>
                    </a:lnTo>
                    <a:lnTo>
                      <a:pt x="1050" y="4378"/>
                    </a:lnTo>
                    <a:lnTo>
                      <a:pt x="1025" y="4404"/>
                    </a:lnTo>
                    <a:lnTo>
                      <a:pt x="0" y="3378"/>
                    </a:lnTo>
                    <a:lnTo>
                      <a:pt x="24" y="3353"/>
                    </a:lnTo>
                    <a:lnTo>
                      <a:pt x="49" y="3326"/>
                    </a:lnTo>
                    <a:lnTo>
                      <a:pt x="74" y="3301"/>
                    </a:lnTo>
                    <a:lnTo>
                      <a:pt x="99" y="3276"/>
                    </a:lnTo>
                    <a:lnTo>
                      <a:pt x="516" y="2880"/>
                    </a:lnTo>
                    <a:lnTo>
                      <a:pt x="948" y="2509"/>
                    </a:lnTo>
                    <a:lnTo>
                      <a:pt x="1394" y="2162"/>
                    </a:lnTo>
                    <a:lnTo>
                      <a:pt x="1854" y="1843"/>
                    </a:lnTo>
                    <a:lnTo>
                      <a:pt x="2325" y="1549"/>
                    </a:lnTo>
                    <a:lnTo>
                      <a:pt x="2808" y="1280"/>
                    </a:lnTo>
                    <a:lnTo>
                      <a:pt x="3301" y="1037"/>
                    </a:lnTo>
                    <a:lnTo>
                      <a:pt x="3803" y="820"/>
                    </a:lnTo>
                    <a:lnTo>
                      <a:pt x="4312" y="627"/>
                    </a:lnTo>
                    <a:lnTo>
                      <a:pt x="4830" y="461"/>
                    </a:lnTo>
                    <a:lnTo>
                      <a:pt x="5353" y="320"/>
                    </a:lnTo>
                    <a:lnTo>
                      <a:pt x="5881" y="205"/>
                    </a:lnTo>
                    <a:lnTo>
                      <a:pt x="6413" y="115"/>
                    </a:lnTo>
                    <a:lnTo>
                      <a:pt x="6949" y="51"/>
                    </a:lnTo>
                    <a:lnTo>
                      <a:pt x="7485" y="13"/>
                    </a:lnTo>
                    <a:lnTo>
                      <a:pt x="8024" y="0"/>
                    </a:lnTo>
                    <a:lnTo>
                      <a:pt x="8562" y="13"/>
                    </a:lnTo>
                    <a:lnTo>
                      <a:pt x="9099" y="51"/>
                    </a:lnTo>
                    <a:lnTo>
                      <a:pt x="9634" y="115"/>
                    </a:lnTo>
                    <a:lnTo>
                      <a:pt x="10167" y="205"/>
                    </a:lnTo>
                    <a:lnTo>
                      <a:pt x="10694" y="319"/>
                    </a:lnTo>
                    <a:lnTo>
                      <a:pt x="11218" y="460"/>
                    </a:lnTo>
                    <a:lnTo>
                      <a:pt x="11735" y="626"/>
                    </a:lnTo>
                    <a:lnTo>
                      <a:pt x="12245" y="818"/>
                    </a:lnTo>
                    <a:lnTo>
                      <a:pt x="12747" y="1036"/>
                    </a:lnTo>
                    <a:lnTo>
                      <a:pt x="13239" y="1278"/>
                    </a:lnTo>
                    <a:lnTo>
                      <a:pt x="13722" y="1547"/>
                    </a:lnTo>
                    <a:lnTo>
                      <a:pt x="14194" y="1841"/>
                    </a:lnTo>
                    <a:lnTo>
                      <a:pt x="14654" y="2160"/>
                    </a:lnTo>
                    <a:lnTo>
                      <a:pt x="15100" y="2506"/>
                    </a:lnTo>
                    <a:lnTo>
                      <a:pt x="15532" y="2877"/>
                    </a:lnTo>
                    <a:lnTo>
                      <a:pt x="15950" y="3273"/>
                    </a:lnTo>
                    <a:close/>
                    <a:moveTo>
                      <a:pt x="14055" y="5373"/>
                    </a:moveTo>
                    <a:lnTo>
                      <a:pt x="12946" y="6481"/>
                    </a:lnTo>
                    <a:lnTo>
                      <a:pt x="12921" y="6456"/>
                    </a:lnTo>
                    <a:lnTo>
                      <a:pt x="12897" y="6430"/>
                    </a:lnTo>
                    <a:lnTo>
                      <a:pt x="12871" y="6404"/>
                    </a:lnTo>
                    <a:lnTo>
                      <a:pt x="12846" y="6379"/>
                    </a:lnTo>
                    <a:lnTo>
                      <a:pt x="12592" y="6137"/>
                    </a:lnTo>
                    <a:lnTo>
                      <a:pt x="12329" y="5912"/>
                    </a:lnTo>
                    <a:lnTo>
                      <a:pt x="12058" y="5702"/>
                    </a:lnTo>
                    <a:lnTo>
                      <a:pt x="11778" y="5507"/>
                    </a:lnTo>
                    <a:lnTo>
                      <a:pt x="11491" y="5328"/>
                    </a:lnTo>
                    <a:lnTo>
                      <a:pt x="11198" y="5165"/>
                    </a:lnTo>
                    <a:lnTo>
                      <a:pt x="10898" y="5017"/>
                    </a:lnTo>
                    <a:lnTo>
                      <a:pt x="10592" y="4885"/>
                    </a:lnTo>
                    <a:lnTo>
                      <a:pt x="10282" y="4768"/>
                    </a:lnTo>
                    <a:lnTo>
                      <a:pt x="9967" y="4667"/>
                    </a:lnTo>
                    <a:lnTo>
                      <a:pt x="9649" y="4582"/>
                    </a:lnTo>
                    <a:lnTo>
                      <a:pt x="9328" y="4512"/>
                    </a:lnTo>
                    <a:lnTo>
                      <a:pt x="9004" y="4457"/>
                    </a:lnTo>
                    <a:lnTo>
                      <a:pt x="8679" y="4418"/>
                    </a:lnTo>
                    <a:lnTo>
                      <a:pt x="8352" y="4395"/>
                    </a:lnTo>
                    <a:lnTo>
                      <a:pt x="8024" y="4387"/>
                    </a:lnTo>
                    <a:lnTo>
                      <a:pt x="7697" y="4395"/>
                    </a:lnTo>
                    <a:lnTo>
                      <a:pt x="7370" y="4418"/>
                    </a:lnTo>
                    <a:lnTo>
                      <a:pt x="7044" y="4457"/>
                    </a:lnTo>
                    <a:lnTo>
                      <a:pt x="6721" y="4512"/>
                    </a:lnTo>
                    <a:lnTo>
                      <a:pt x="6399" y="4582"/>
                    </a:lnTo>
                    <a:lnTo>
                      <a:pt x="6081" y="4668"/>
                    </a:lnTo>
                    <a:lnTo>
                      <a:pt x="5767" y="4769"/>
                    </a:lnTo>
                    <a:lnTo>
                      <a:pt x="5457" y="4886"/>
                    </a:lnTo>
                    <a:lnTo>
                      <a:pt x="5151" y="5018"/>
                    </a:lnTo>
                    <a:lnTo>
                      <a:pt x="4851" y="5166"/>
                    </a:lnTo>
                    <a:lnTo>
                      <a:pt x="4558" y="5329"/>
                    </a:lnTo>
                    <a:lnTo>
                      <a:pt x="4271" y="5509"/>
                    </a:lnTo>
                    <a:lnTo>
                      <a:pt x="3991" y="5703"/>
                    </a:lnTo>
                    <a:lnTo>
                      <a:pt x="3720" y="5913"/>
                    </a:lnTo>
                    <a:lnTo>
                      <a:pt x="3457" y="6139"/>
                    </a:lnTo>
                    <a:lnTo>
                      <a:pt x="3203" y="6380"/>
                    </a:lnTo>
                    <a:lnTo>
                      <a:pt x="3178" y="6406"/>
                    </a:lnTo>
                    <a:lnTo>
                      <a:pt x="3154" y="6431"/>
                    </a:lnTo>
                    <a:lnTo>
                      <a:pt x="3129" y="6456"/>
                    </a:lnTo>
                    <a:lnTo>
                      <a:pt x="3104" y="6482"/>
                    </a:lnTo>
                    <a:lnTo>
                      <a:pt x="1996" y="5374"/>
                    </a:lnTo>
                    <a:lnTo>
                      <a:pt x="2020" y="5348"/>
                    </a:lnTo>
                    <a:lnTo>
                      <a:pt x="2045" y="5322"/>
                    </a:lnTo>
                    <a:lnTo>
                      <a:pt x="2069" y="5297"/>
                    </a:lnTo>
                    <a:lnTo>
                      <a:pt x="2095" y="5272"/>
                    </a:lnTo>
                    <a:lnTo>
                      <a:pt x="2406" y="4975"/>
                    </a:lnTo>
                    <a:lnTo>
                      <a:pt x="2731" y="4697"/>
                    </a:lnTo>
                    <a:lnTo>
                      <a:pt x="3065" y="4439"/>
                    </a:lnTo>
                    <a:lnTo>
                      <a:pt x="3408" y="4199"/>
                    </a:lnTo>
                    <a:lnTo>
                      <a:pt x="3761" y="3980"/>
                    </a:lnTo>
                    <a:lnTo>
                      <a:pt x="4122" y="3779"/>
                    </a:lnTo>
                    <a:lnTo>
                      <a:pt x="4491" y="3596"/>
                    </a:lnTo>
                    <a:lnTo>
                      <a:pt x="4866" y="3434"/>
                    </a:lnTo>
                    <a:lnTo>
                      <a:pt x="5247" y="3290"/>
                    </a:lnTo>
                    <a:lnTo>
                      <a:pt x="5635" y="3166"/>
                    </a:lnTo>
                    <a:lnTo>
                      <a:pt x="6026" y="3061"/>
                    </a:lnTo>
                    <a:lnTo>
                      <a:pt x="6421" y="2974"/>
                    </a:lnTo>
                    <a:lnTo>
                      <a:pt x="6819" y="2907"/>
                    </a:lnTo>
                    <a:lnTo>
                      <a:pt x="7219" y="2859"/>
                    </a:lnTo>
                    <a:lnTo>
                      <a:pt x="7622" y="2831"/>
                    </a:lnTo>
                    <a:lnTo>
                      <a:pt x="8024" y="2821"/>
                    </a:lnTo>
                    <a:lnTo>
                      <a:pt x="8427" y="2831"/>
                    </a:lnTo>
                    <a:lnTo>
                      <a:pt x="8829" y="2859"/>
                    </a:lnTo>
                    <a:lnTo>
                      <a:pt x="9229" y="2907"/>
                    </a:lnTo>
                    <a:lnTo>
                      <a:pt x="9627" y="2973"/>
                    </a:lnTo>
                    <a:lnTo>
                      <a:pt x="10022" y="3060"/>
                    </a:lnTo>
                    <a:lnTo>
                      <a:pt x="10413" y="3165"/>
                    </a:lnTo>
                    <a:lnTo>
                      <a:pt x="10801" y="3289"/>
                    </a:lnTo>
                    <a:lnTo>
                      <a:pt x="11182" y="3433"/>
                    </a:lnTo>
                    <a:lnTo>
                      <a:pt x="11558" y="3595"/>
                    </a:lnTo>
                    <a:lnTo>
                      <a:pt x="11926" y="3777"/>
                    </a:lnTo>
                    <a:lnTo>
                      <a:pt x="12287" y="3978"/>
                    </a:lnTo>
                    <a:lnTo>
                      <a:pt x="12640" y="4198"/>
                    </a:lnTo>
                    <a:lnTo>
                      <a:pt x="12984" y="4437"/>
                    </a:lnTo>
                    <a:lnTo>
                      <a:pt x="13318" y="4696"/>
                    </a:lnTo>
                    <a:lnTo>
                      <a:pt x="13641" y="4973"/>
                    </a:lnTo>
                    <a:lnTo>
                      <a:pt x="13954" y="5270"/>
                    </a:lnTo>
                    <a:lnTo>
                      <a:pt x="13980" y="5295"/>
                    </a:lnTo>
                    <a:lnTo>
                      <a:pt x="14005" y="5321"/>
                    </a:lnTo>
                    <a:lnTo>
                      <a:pt x="14030" y="5347"/>
                    </a:lnTo>
                    <a:lnTo>
                      <a:pt x="14055" y="5373"/>
                    </a:lnTo>
                    <a:close/>
                    <a:moveTo>
                      <a:pt x="11928" y="7501"/>
                    </a:moveTo>
                    <a:lnTo>
                      <a:pt x="10854" y="8576"/>
                    </a:lnTo>
                    <a:lnTo>
                      <a:pt x="10829" y="8549"/>
                    </a:lnTo>
                    <a:lnTo>
                      <a:pt x="10805" y="8523"/>
                    </a:lnTo>
                    <a:lnTo>
                      <a:pt x="10780" y="8498"/>
                    </a:lnTo>
                    <a:lnTo>
                      <a:pt x="10754" y="8472"/>
                    </a:lnTo>
                    <a:lnTo>
                      <a:pt x="10610" y="8336"/>
                    </a:lnTo>
                    <a:lnTo>
                      <a:pt x="10462" y="8208"/>
                    </a:lnTo>
                    <a:lnTo>
                      <a:pt x="10307" y="8089"/>
                    </a:lnTo>
                    <a:lnTo>
                      <a:pt x="10150" y="7980"/>
                    </a:lnTo>
                    <a:lnTo>
                      <a:pt x="9987" y="7878"/>
                    </a:lnTo>
                    <a:lnTo>
                      <a:pt x="9821" y="7785"/>
                    </a:lnTo>
                    <a:lnTo>
                      <a:pt x="9651" y="7702"/>
                    </a:lnTo>
                    <a:lnTo>
                      <a:pt x="9479" y="7627"/>
                    </a:lnTo>
                    <a:lnTo>
                      <a:pt x="9303" y="7561"/>
                    </a:lnTo>
                    <a:lnTo>
                      <a:pt x="9124" y="7504"/>
                    </a:lnTo>
                    <a:lnTo>
                      <a:pt x="8945" y="7456"/>
                    </a:lnTo>
                    <a:lnTo>
                      <a:pt x="8762" y="7416"/>
                    </a:lnTo>
                    <a:lnTo>
                      <a:pt x="8580" y="7384"/>
                    </a:lnTo>
                    <a:lnTo>
                      <a:pt x="8395" y="7362"/>
                    </a:lnTo>
                    <a:lnTo>
                      <a:pt x="8210" y="7349"/>
                    </a:lnTo>
                    <a:lnTo>
                      <a:pt x="8025" y="7345"/>
                    </a:lnTo>
                    <a:lnTo>
                      <a:pt x="7839" y="7349"/>
                    </a:lnTo>
                    <a:lnTo>
                      <a:pt x="7655" y="7363"/>
                    </a:lnTo>
                    <a:lnTo>
                      <a:pt x="7470" y="7385"/>
                    </a:lnTo>
                    <a:lnTo>
                      <a:pt x="7287" y="7416"/>
                    </a:lnTo>
                    <a:lnTo>
                      <a:pt x="7105" y="7456"/>
                    </a:lnTo>
                    <a:lnTo>
                      <a:pt x="6926" y="7504"/>
                    </a:lnTo>
                    <a:lnTo>
                      <a:pt x="6747" y="7561"/>
                    </a:lnTo>
                    <a:lnTo>
                      <a:pt x="6571" y="7627"/>
                    </a:lnTo>
                    <a:lnTo>
                      <a:pt x="6399" y="7703"/>
                    </a:lnTo>
                    <a:lnTo>
                      <a:pt x="6229" y="7786"/>
                    </a:lnTo>
                    <a:lnTo>
                      <a:pt x="6063" y="7878"/>
                    </a:lnTo>
                    <a:lnTo>
                      <a:pt x="5900" y="7980"/>
                    </a:lnTo>
                    <a:lnTo>
                      <a:pt x="5742" y="8090"/>
                    </a:lnTo>
                    <a:lnTo>
                      <a:pt x="5588" y="8209"/>
                    </a:lnTo>
                    <a:lnTo>
                      <a:pt x="5440" y="8337"/>
                    </a:lnTo>
                    <a:lnTo>
                      <a:pt x="5297" y="8473"/>
                    </a:lnTo>
                    <a:lnTo>
                      <a:pt x="5271" y="8498"/>
                    </a:lnTo>
                    <a:lnTo>
                      <a:pt x="5246" y="8524"/>
                    </a:lnTo>
                    <a:lnTo>
                      <a:pt x="5222" y="8550"/>
                    </a:lnTo>
                    <a:lnTo>
                      <a:pt x="5198" y="8576"/>
                    </a:lnTo>
                    <a:lnTo>
                      <a:pt x="4123" y="7501"/>
                    </a:lnTo>
                    <a:lnTo>
                      <a:pt x="4147" y="7476"/>
                    </a:lnTo>
                    <a:lnTo>
                      <a:pt x="4172" y="7450"/>
                    </a:lnTo>
                    <a:lnTo>
                      <a:pt x="4197" y="7425"/>
                    </a:lnTo>
                    <a:lnTo>
                      <a:pt x="4222" y="7399"/>
                    </a:lnTo>
                    <a:lnTo>
                      <a:pt x="4422" y="7209"/>
                    </a:lnTo>
                    <a:lnTo>
                      <a:pt x="4629" y="7030"/>
                    </a:lnTo>
                    <a:lnTo>
                      <a:pt x="4843" y="6865"/>
                    </a:lnTo>
                    <a:lnTo>
                      <a:pt x="5064" y="6711"/>
                    </a:lnTo>
                    <a:lnTo>
                      <a:pt x="5290" y="6571"/>
                    </a:lnTo>
                    <a:lnTo>
                      <a:pt x="5522" y="6441"/>
                    </a:lnTo>
                    <a:lnTo>
                      <a:pt x="5758" y="6325"/>
                    </a:lnTo>
                    <a:lnTo>
                      <a:pt x="6000" y="6220"/>
                    </a:lnTo>
                    <a:lnTo>
                      <a:pt x="6243" y="6128"/>
                    </a:lnTo>
                    <a:lnTo>
                      <a:pt x="6492" y="6048"/>
                    </a:lnTo>
                    <a:lnTo>
                      <a:pt x="6743" y="5981"/>
                    </a:lnTo>
                    <a:lnTo>
                      <a:pt x="6997" y="5925"/>
                    </a:lnTo>
                    <a:lnTo>
                      <a:pt x="7252" y="5882"/>
                    </a:lnTo>
                    <a:lnTo>
                      <a:pt x="7508" y="5851"/>
                    </a:lnTo>
                    <a:lnTo>
                      <a:pt x="7766" y="5833"/>
                    </a:lnTo>
                    <a:lnTo>
                      <a:pt x="8025" y="5827"/>
                    </a:lnTo>
                    <a:lnTo>
                      <a:pt x="8283" y="5833"/>
                    </a:lnTo>
                    <a:lnTo>
                      <a:pt x="8541" y="5851"/>
                    </a:lnTo>
                    <a:lnTo>
                      <a:pt x="8797" y="5882"/>
                    </a:lnTo>
                    <a:lnTo>
                      <a:pt x="9053" y="5925"/>
                    </a:lnTo>
                    <a:lnTo>
                      <a:pt x="9306" y="5981"/>
                    </a:lnTo>
                    <a:lnTo>
                      <a:pt x="9557" y="6048"/>
                    </a:lnTo>
                    <a:lnTo>
                      <a:pt x="9806" y="6127"/>
                    </a:lnTo>
                    <a:lnTo>
                      <a:pt x="10050" y="6219"/>
                    </a:lnTo>
                    <a:lnTo>
                      <a:pt x="10291" y="6324"/>
                    </a:lnTo>
                    <a:lnTo>
                      <a:pt x="10528" y="6440"/>
                    </a:lnTo>
                    <a:lnTo>
                      <a:pt x="10760" y="6570"/>
                    </a:lnTo>
                    <a:lnTo>
                      <a:pt x="10985" y="6710"/>
                    </a:lnTo>
                    <a:lnTo>
                      <a:pt x="11206" y="6864"/>
                    </a:lnTo>
                    <a:lnTo>
                      <a:pt x="11421" y="7029"/>
                    </a:lnTo>
                    <a:lnTo>
                      <a:pt x="11627" y="7208"/>
                    </a:lnTo>
                    <a:lnTo>
                      <a:pt x="11828" y="7398"/>
                    </a:lnTo>
                    <a:lnTo>
                      <a:pt x="11853" y="7424"/>
                    </a:lnTo>
                    <a:lnTo>
                      <a:pt x="11878" y="7449"/>
                    </a:lnTo>
                    <a:lnTo>
                      <a:pt x="11903" y="7475"/>
                    </a:lnTo>
                    <a:lnTo>
                      <a:pt x="11928" y="7501"/>
                    </a:lnTo>
                    <a:close/>
                  </a:path>
                </a:pathLst>
              </a:custGeom>
              <a:solidFill>
                <a:srgbClr val="96959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pic>
          <p:nvPicPr>
            <p:cNvPr id="385" name="图片 196" descr="警用应急指挥车.png"/>
            <p:cNvPicPr>
              <a:picLocks noChangeAspect="1"/>
            </p:cNvPicPr>
            <p:nvPr/>
          </p:nvPicPr>
          <p:blipFill>
            <a:blip r:embed="rId26" cstate="email"/>
            <a:srcRect/>
            <a:stretch>
              <a:fillRect/>
            </a:stretch>
          </p:blipFill>
          <p:spPr bwMode="auto">
            <a:xfrm>
              <a:off x="7601802" y="3783948"/>
              <a:ext cx="1173710" cy="6466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1" name="组合 758"/>
            <p:cNvGrpSpPr/>
            <p:nvPr/>
          </p:nvGrpSpPr>
          <p:grpSpPr>
            <a:xfrm rot="19344284">
              <a:off x="7899919" y="3643667"/>
              <a:ext cx="348157" cy="288829"/>
              <a:chOff x="7440613" y="4868863"/>
              <a:chExt cx="1019175" cy="828675"/>
            </a:xfrm>
          </p:grpSpPr>
          <p:sp>
            <p:nvSpPr>
              <p:cNvPr id="387" name="Freeform 15"/>
              <p:cNvSpPr>
                <a:spLocks/>
              </p:cNvSpPr>
              <p:nvPr/>
            </p:nvSpPr>
            <p:spPr bwMode="auto">
              <a:xfrm>
                <a:off x="7832726" y="5462588"/>
                <a:ext cx="234950" cy="234950"/>
              </a:xfrm>
              <a:custGeom>
                <a:avLst/>
                <a:gdLst/>
                <a:ahLst/>
                <a:cxnLst>
                  <a:cxn ang="0">
                    <a:pos x="3281" y="680"/>
                  </a:cxn>
                  <a:cxn ang="0">
                    <a:pos x="3439" y="907"/>
                  </a:cxn>
                  <a:cxn ang="0">
                    <a:pos x="3559" y="1151"/>
                  </a:cxn>
                  <a:cxn ang="0">
                    <a:pos x="3642" y="1406"/>
                  </a:cxn>
                  <a:cxn ang="0">
                    <a:pos x="3686" y="1670"/>
                  </a:cxn>
                  <a:cxn ang="0">
                    <a:pos x="3693" y="1936"/>
                  </a:cxn>
                  <a:cxn ang="0">
                    <a:pos x="3661" y="2201"/>
                  </a:cxn>
                  <a:cxn ang="0">
                    <a:pos x="3591" y="2460"/>
                  </a:cxn>
                  <a:cxn ang="0">
                    <a:pos x="3484" y="2708"/>
                  </a:cxn>
                  <a:cxn ang="0">
                    <a:pos x="3339" y="2941"/>
                  </a:cxn>
                  <a:cxn ang="0">
                    <a:pos x="3155" y="3155"/>
                  </a:cxn>
                  <a:cxn ang="0">
                    <a:pos x="2941" y="3339"/>
                  </a:cxn>
                  <a:cxn ang="0">
                    <a:pos x="2708" y="3484"/>
                  </a:cxn>
                  <a:cxn ang="0">
                    <a:pos x="2460" y="3592"/>
                  </a:cxn>
                  <a:cxn ang="0">
                    <a:pos x="2201" y="3661"/>
                  </a:cxn>
                  <a:cxn ang="0">
                    <a:pos x="1936" y="3693"/>
                  </a:cxn>
                  <a:cxn ang="0">
                    <a:pos x="1670" y="3687"/>
                  </a:cxn>
                  <a:cxn ang="0">
                    <a:pos x="1408" y="3643"/>
                  </a:cxn>
                  <a:cxn ang="0">
                    <a:pos x="1152" y="3561"/>
                  </a:cxn>
                  <a:cxn ang="0">
                    <a:pos x="908" y="3440"/>
                  </a:cxn>
                  <a:cxn ang="0">
                    <a:pos x="680" y="3282"/>
                  </a:cxn>
                  <a:cxn ang="0">
                    <a:pos x="475" y="3086"/>
                  </a:cxn>
                  <a:cxn ang="0">
                    <a:pos x="304" y="2866"/>
                  </a:cxn>
                  <a:cxn ang="0">
                    <a:pos x="172" y="2627"/>
                  </a:cxn>
                  <a:cxn ang="0">
                    <a:pos x="76" y="2374"/>
                  </a:cxn>
                  <a:cxn ang="0">
                    <a:pos x="19" y="2114"/>
                  </a:cxn>
                  <a:cxn ang="0">
                    <a:pos x="0" y="1848"/>
                  </a:cxn>
                  <a:cxn ang="0">
                    <a:pos x="19" y="1582"/>
                  </a:cxn>
                  <a:cxn ang="0">
                    <a:pos x="76" y="1321"/>
                  </a:cxn>
                  <a:cxn ang="0">
                    <a:pos x="171" y="1069"/>
                  </a:cxn>
                  <a:cxn ang="0">
                    <a:pos x="304" y="830"/>
                  </a:cxn>
                  <a:cxn ang="0">
                    <a:pos x="475" y="609"/>
                  </a:cxn>
                  <a:cxn ang="0">
                    <a:pos x="680" y="414"/>
                  </a:cxn>
                  <a:cxn ang="0">
                    <a:pos x="907" y="255"/>
                  </a:cxn>
                  <a:cxn ang="0">
                    <a:pos x="1151" y="135"/>
                  </a:cxn>
                  <a:cxn ang="0">
                    <a:pos x="1407" y="52"/>
                  </a:cxn>
                  <a:cxn ang="0">
                    <a:pos x="1669" y="8"/>
                  </a:cxn>
                  <a:cxn ang="0">
                    <a:pos x="1936" y="2"/>
                  </a:cxn>
                  <a:cxn ang="0">
                    <a:pos x="2201" y="33"/>
                  </a:cxn>
                  <a:cxn ang="0">
                    <a:pos x="2459" y="104"/>
                  </a:cxn>
                  <a:cxn ang="0">
                    <a:pos x="2708" y="211"/>
                  </a:cxn>
                  <a:cxn ang="0">
                    <a:pos x="2940" y="356"/>
                  </a:cxn>
                  <a:cxn ang="0">
                    <a:pos x="3154" y="539"/>
                  </a:cxn>
                </a:cxnLst>
                <a:rect l="0" t="0" r="r" b="b"/>
                <a:pathLst>
                  <a:path w="3695" h="3695">
                    <a:moveTo>
                      <a:pt x="3154" y="539"/>
                    </a:moveTo>
                    <a:lnTo>
                      <a:pt x="3220" y="608"/>
                    </a:lnTo>
                    <a:lnTo>
                      <a:pt x="3281" y="680"/>
                    </a:lnTo>
                    <a:lnTo>
                      <a:pt x="3338" y="754"/>
                    </a:lnTo>
                    <a:lnTo>
                      <a:pt x="3391" y="829"/>
                    </a:lnTo>
                    <a:lnTo>
                      <a:pt x="3439" y="907"/>
                    </a:lnTo>
                    <a:lnTo>
                      <a:pt x="3483" y="987"/>
                    </a:lnTo>
                    <a:lnTo>
                      <a:pt x="3523" y="1068"/>
                    </a:lnTo>
                    <a:lnTo>
                      <a:pt x="3559" y="1151"/>
                    </a:lnTo>
                    <a:lnTo>
                      <a:pt x="3591" y="1235"/>
                    </a:lnTo>
                    <a:lnTo>
                      <a:pt x="3619" y="1320"/>
                    </a:lnTo>
                    <a:lnTo>
                      <a:pt x="3642" y="1406"/>
                    </a:lnTo>
                    <a:lnTo>
                      <a:pt x="3661" y="1493"/>
                    </a:lnTo>
                    <a:lnTo>
                      <a:pt x="3676" y="1582"/>
                    </a:lnTo>
                    <a:lnTo>
                      <a:pt x="3686" y="1670"/>
                    </a:lnTo>
                    <a:lnTo>
                      <a:pt x="3693" y="1758"/>
                    </a:lnTo>
                    <a:lnTo>
                      <a:pt x="3695" y="1847"/>
                    </a:lnTo>
                    <a:lnTo>
                      <a:pt x="3693" y="1936"/>
                    </a:lnTo>
                    <a:lnTo>
                      <a:pt x="3686" y="2024"/>
                    </a:lnTo>
                    <a:lnTo>
                      <a:pt x="3676" y="2113"/>
                    </a:lnTo>
                    <a:lnTo>
                      <a:pt x="3661" y="2201"/>
                    </a:lnTo>
                    <a:lnTo>
                      <a:pt x="3642" y="2288"/>
                    </a:lnTo>
                    <a:lnTo>
                      <a:pt x="3619" y="2374"/>
                    </a:lnTo>
                    <a:lnTo>
                      <a:pt x="3591" y="2460"/>
                    </a:lnTo>
                    <a:lnTo>
                      <a:pt x="3559" y="2544"/>
                    </a:lnTo>
                    <a:lnTo>
                      <a:pt x="3524" y="2626"/>
                    </a:lnTo>
                    <a:lnTo>
                      <a:pt x="3484" y="2708"/>
                    </a:lnTo>
                    <a:lnTo>
                      <a:pt x="3439" y="2788"/>
                    </a:lnTo>
                    <a:lnTo>
                      <a:pt x="3391" y="2865"/>
                    </a:lnTo>
                    <a:lnTo>
                      <a:pt x="3339" y="2941"/>
                    </a:lnTo>
                    <a:lnTo>
                      <a:pt x="3281" y="3015"/>
                    </a:lnTo>
                    <a:lnTo>
                      <a:pt x="3220" y="3086"/>
                    </a:lnTo>
                    <a:lnTo>
                      <a:pt x="3155" y="3155"/>
                    </a:lnTo>
                    <a:lnTo>
                      <a:pt x="3086" y="3220"/>
                    </a:lnTo>
                    <a:lnTo>
                      <a:pt x="3015" y="3282"/>
                    </a:lnTo>
                    <a:lnTo>
                      <a:pt x="2941" y="3339"/>
                    </a:lnTo>
                    <a:lnTo>
                      <a:pt x="2865" y="3391"/>
                    </a:lnTo>
                    <a:lnTo>
                      <a:pt x="2788" y="3440"/>
                    </a:lnTo>
                    <a:lnTo>
                      <a:pt x="2708" y="3484"/>
                    </a:lnTo>
                    <a:lnTo>
                      <a:pt x="2626" y="3524"/>
                    </a:lnTo>
                    <a:lnTo>
                      <a:pt x="2544" y="3560"/>
                    </a:lnTo>
                    <a:lnTo>
                      <a:pt x="2460" y="3592"/>
                    </a:lnTo>
                    <a:lnTo>
                      <a:pt x="2375" y="3619"/>
                    </a:lnTo>
                    <a:lnTo>
                      <a:pt x="2288" y="3643"/>
                    </a:lnTo>
                    <a:lnTo>
                      <a:pt x="2201" y="3661"/>
                    </a:lnTo>
                    <a:lnTo>
                      <a:pt x="2114" y="3676"/>
                    </a:lnTo>
                    <a:lnTo>
                      <a:pt x="2026" y="3687"/>
                    </a:lnTo>
                    <a:lnTo>
                      <a:pt x="1936" y="3693"/>
                    </a:lnTo>
                    <a:lnTo>
                      <a:pt x="1848" y="3695"/>
                    </a:lnTo>
                    <a:lnTo>
                      <a:pt x="1759" y="3693"/>
                    </a:lnTo>
                    <a:lnTo>
                      <a:pt x="1670" y="3687"/>
                    </a:lnTo>
                    <a:lnTo>
                      <a:pt x="1582" y="3676"/>
                    </a:lnTo>
                    <a:lnTo>
                      <a:pt x="1495" y="3662"/>
                    </a:lnTo>
                    <a:lnTo>
                      <a:pt x="1408" y="3643"/>
                    </a:lnTo>
                    <a:lnTo>
                      <a:pt x="1321" y="3620"/>
                    </a:lnTo>
                    <a:lnTo>
                      <a:pt x="1236" y="3592"/>
                    </a:lnTo>
                    <a:lnTo>
                      <a:pt x="1152" y="3561"/>
                    </a:lnTo>
                    <a:lnTo>
                      <a:pt x="1069" y="3524"/>
                    </a:lnTo>
                    <a:lnTo>
                      <a:pt x="987" y="3484"/>
                    </a:lnTo>
                    <a:lnTo>
                      <a:pt x="908" y="3440"/>
                    </a:lnTo>
                    <a:lnTo>
                      <a:pt x="830" y="3391"/>
                    </a:lnTo>
                    <a:lnTo>
                      <a:pt x="755" y="3339"/>
                    </a:lnTo>
                    <a:lnTo>
                      <a:pt x="680" y="3282"/>
                    </a:lnTo>
                    <a:lnTo>
                      <a:pt x="609" y="3220"/>
                    </a:lnTo>
                    <a:lnTo>
                      <a:pt x="541" y="3155"/>
                    </a:lnTo>
                    <a:lnTo>
                      <a:pt x="475" y="3086"/>
                    </a:lnTo>
                    <a:lnTo>
                      <a:pt x="414" y="3015"/>
                    </a:lnTo>
                    <a:lnTo>
                      <a:pt x="357" y="2941"/>
                    </a:lnTo>
                    <a:lnTo>
                      <a:pt x="304" y="2866"/>
                    </a:lnTo>
                    <a:lnTo>
                      <a:pt x="256" y="2788"/>
                    </a:lnTo>
                    <a:lnTo>
                      <a:pt x="212" y="2709"/>
                    </a:lnTo>
                    <a:lnTo>
                      <a:pt x="172" y="2627"/>
                    </a:lnTo>
                    <a:lnTo>
                      <a:pt x="136" y="2544"/>
                    </a:lnTo>
                    <a:lnTo>
                      <a:pt x="104" y="2460"/>
                    </a:lnTo>
                    <a:lnTo>
                      <a:pt x="76" y="2374"/>
                    </a:lnTo>
                    <a:lnTo>
                      <a:pt x="53" y="2288"/>
                    </a:lnTo>
                    <a:lnTo>
                      <a:pt x="34" y="2201"/>
                    </a:lnTo>
                    <a:lnTo>
                      <a:pt x="19" y="2114"/>
                    </a:lnTo>
                    <a:lnTo>
                      <a:pt x="9" y="2025"/>
                    </a:lnTo>
                    <a:lnTo>
                      <a:pt x="2" y="1937"/>
                    </a:lnTo>
                    <a:lnTo>
                      <a:pt x="0" y="1848"/>
                    </a:lnTo>
                    <a:lnTo>
                      <a:pt x="2" y="1759"/>
                    </a:lnTo>
                    <a:lnTo>
                      <a:pt x="9" y="1670"/>
                    </a:lnTo>
                    <a:lnTo>
                      <a:pt x="19" y="1582"/>
                    </a:lnTo>
                    <a:lnTo>
                      <a:pt x="34" y="1494"/>
                    </a:lnTo>
                    <a:lnTo>
                      <a:pt x="53" y="1407"/>
                    </a:lnTo>
                    <a:lnTo>
                      <a:pt x="76" y="1321"/>
                    </a:lnTo>
                    <a:lnTo>
                      <a:pt x="104" y="1236"/>
                    </a:lnTo>
                    <a:lnTo>
                      <a:pt x="136" y="1151"/>
                    </a:lnTo>
                    <a:lnTo>
                      <a:pt x="171" y="1069"/>
                    </a:lnTo>
                    <a:lnTo>
                      <a:pt x="211" y="988"/>
                    </a:lnTo>
                    <a:lnTo>
                      <a:pt x="255" y="907"/>
                    </a:lnTo>
                    <a:lnTo>
                      <a:pt x="304" y="830"/>
                    </a:lnTo>
                    <a:lnTo>
                      <a:pt x="356" y="754"/>
                    </a:lnTo>
                    <a:lnTo>
                      <a:pt x="414" y="681"/>
                    </a:lnTo>
                    <a:lnTo>
                      <a:pt x="475" y="609"/>
                    </a:lnTo>
                    <a:lnTo>
                      <a:pt x="540" y="540"/>
                    </a:lnTo>
                    <a:lnTo>
                      <a:pt x="609" y="475"/>
                    </a:lnTo>
                    <a:lnTo>
                      <a:pt x="680" y="414"/>
                    </a:lnTo>
                    <a:lnTo>
                      <a:pt x="754" y="356"/>
                    </a:lnTo>
                    <a:lnTo>
                      <a:pt x="830" y="303"/>
                    </a:lnTo>
                    <a:lnTo>
                      <a:pt x="907" y="255"/>
                    </a:lnTo>
                    <a:lnTo>
                      <a:pt x="987" y="211"/>
                    </a:lnTo>
                    <a:lnTo>
                      <a:pt x="1069" y="171"/>
                    </a:lnTo>
                    <a:lnTo>
                      <a:pt x="1151" y="135"/>
                    </a:lnTo>
                    <a:lnTo>
                      <a:pt x="1235" y="104"/>
                    </a:lnTo>
                    <a:lnTo>
                      <a:pt x="1320" y="76"/>
                    </a:lnTo>
                    <a:lnTo>
                      <a:pt x="1407" y="52"/>
                    </a:lnTo>
                    <a:lnTo>
                      <a:pt x="1494" y="33"/>
                    </a:lnTo>
                    <a:lnTo>
                      <a:pt x="1581" y="19"/>
                    </a:lnTo>
                    <a:lnTo>
                      <a:pt x="1669" y="8"/>
                    </a:lnTo>
                    <a:lnTo>
                      <a:pt x="1759" y="2"/>
                    </a:lnTo>
                    <a:lnTo>
                      <a:pt x="1847" y="0"/>
                    </a:lnTo>
                    <a:lnTo>
                      <a:pt x="1936" y="2"/>
                    </a:lnTo>
                    <a:lnTo>
                      <a:pt x="2025" y="8"/>
                    </a:lnTo>
                    <a:lnTo>
                      <a:pt x="2113" y="19"/>
                    </a:lnTo>
                    <a:lnTo>
                      <a:pt x="2201" y="33"/>
                    </a:lnTo>
                    <a:lnTo>
                      <a:pt x="2287" y="52"/>
                    </a:lnTo>
                    <a:lnTo>
                      <a:pt x="2374" y="76"/>
                    </a:lnTo>
                    <a:lnTo>
                      <a:pt x="2459" y="104"/>
                    </a:lnTo>
                    <a:lnTo>
                      <a:pt x="2543" y="135"/>
                    </a:lnTo>
                    <a:lnTo>
                      <a:pt x="2626" y="171"/>
                    </a:lnTo>
                    <a:lnTo>
                      <a:pt x="2708" y="211"/>
                    </a:lnTo>
                    <a:lnTo>
                      <a:pt x="2787" y="255"/>
                    </a:lnTo>
                    <a:lnTo>
                      <a:pt x="2865" y="303"/>
                    </a:lnTo>
                    <a:lnTo>
                      <a:pt x="2940" y="356"/>
                    </a:lnTo>
                    <a:lnTo>
                      <a:pt x="3015" y="413"/>
                    </a:lnTo>
                    <a:lnTo>
                      <a:pt x="3086" y="474"/>
                    </a:lnTo>
                    <a:lnTo>
                      <a:pt x="3154" y="539"/>
                    </a:lnTo>
                    <a:close/>
                  </a:path>
                </a:pathLst>
              </a:custGeom>
              <a:solidFill>
                <a:srgbClr val="96959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388" name="Freeform 16"/>
              <p:cNvSpPr>
                <a:spLocks noEditPoints="1"/>
              </p:cNvSpPr>
              <p:nvPr/>
            </p:nvSpPr>
            <p:spPr bwMode="auto">
              <a:xfrm>
                <a:off x="7440613" y="4868863"/>
                <a:ext cx="1019175" cy="544513"/>
              </a:xfrm>
              <a:custGeom>
                <a:avLst/>
                <a:gdLst/>
                <a:ahLst/>
                <a:cxnLst>
                  <a:cxn ang="0">
                    <a:pos x="16025" y="3351"/>
                  </a:cxn>
                  <a:cxn ang="0">
                    <a:pos x="14975" y="4351"/>
                  </a:cxn>
                  <a:cxn ang="0">
                    <a:pos x="14184" y="3632"/>
                  </a:cxn>
                  <a:cxn ang="0">
                    <a:pos x="12564" y="2563"/>
                  </a:cxn>
                  <a:cxn ang="0">
                    <a:pos x="10805" y="1850"/>
                  </a:cxn>
                  <a:cxn ang="0">
                    <a:pos x="8960" y="1494"/>
                  </a:cxn>
                  <a:cxn ang="0">
                    <a:pos x="7087" y="1494"/>
                  </a:cxn>
                  <a:cxn ang="0">
                    <a:pos x="5243" y="1851"/>
                  </a:cxn>
                  <a:cxn ang="0">
                    <a:pos x="3483" y="2564"/>
                  </a:cxn>
                  <a:cxn ang="0">
                    <a:pos x="1864" y="3634"/>
                  </a:cxn>
                  <a:cxn ang="0">
                    <a:pos x="1075" y="4353"/>
                  </a:cxn>
                  <a:cxn ang="0">
                    <a:pos x="24" y="3353"/>
                  </a:cxn>
                  <a:cxn ang="0">
                    <a:pos x="516" y="2880"/>
                  </a:cxn>
                  <a:cxn ang="0">
                    <a:pos x="2325" y="1549"/>
                  </a:cxn>
                  <a:cxn ang="0">
                    <a:pos x="4312" y="627"/>
                  </a:cxn>
                  <a:cxn ang="0">
                    <a:pos x="6413" y="115"/>
                  </a:cxn>
                  <a:cxn ang="0">
                    <a:pos x="8562" y="13"/>
                  </a:cxn>
                  <a:cxn ang="0">
                    <a:pos x="10694" y="319"/>
                  </a:cxn>
                  <a:cxn ang="0">
                    <a:pos x="12747" y="1036"/>
                  </a:cxn>
                  <a:cxn ang="0">
                    <a:pos x="14654" y="2160"/>
                  </a:cxn>
                  <a:cxn ang="0">
                    <a:pos x="14055" y="5373"/>
                  </a:cxn>
                  <a:cxn ang="0">
                    <a:pos x="12871" y="6404"/>
                  </a:cxn>
                  <a:cxn ang="0">
                    <a:pos x="12058" y="5702"/>
                  </a:cxn>
                  <a:cxn ang="0">
                    <a:pos x="10898" y="5017"/>
                  </a:cxn>
                  <a:cxn ang="0">
                    <a:pos x="9649" y="4582"/>
                  </a:cxn>
                  <a:cxn ang="0">
                    <a:pos x="8352" y="4395"/>
                  </a:cxn>
                  <a:cxn ang="0">
                    <a:pos x="7044" y="4457"/>
                  </a:cxn>
                  <a:cxn ang="0">
                    <a:pos x="5767" y="4769"/>
                  </a:cxn>
                  <a:cxn ang="0">
                    <a:pos x="4558" y="5329"/>
                  </a:cxn>
                  <a:cxn ang="0">
                    <a:pos x="3457" y="6139"/>
                  </a:cxn>
                  <a:cxn ang="0">
                    <a:pos x="3129" y="6456"/>
                  </a:cxn>
                  <a:cxn ang="0">
                    <a:pos x="2045" y="5322"/>
                  </a:cxn>
                  <a:cxn ang="0">
                    <a:pos x="2731" y="4697"/>
                  </a:cxn>
                  <a:cxn ang="0">
                    <a:pos x="4122" y="3779"/>
                  </a:cxn>
                  <a:cxn ang="0">
                    <a:pos x="5635" y="3166"/>
                  </a:cxn>
                  <a:cxn ang="0">
                    <a:pos x="7219" y="2859"/>
                  </a:cxn>
                  <a:cxn ang="0">
                    <a:pos x="8829" y="2859"/>
                  </a:cxn>
                  <a:cxn ang="0">
                    <a:pos x="10413" y="3165"/>
                  </a:cxn>
                  <a:cxn ang="0">
                    <a:pos x="11926" y="3777"/>
                  </a:cxn>
                  <a:cxn ang="0">
                    <a:pos x="13318" y="4696"/>
                  </a:cxn>
                  <a:cxn ang="0">
                    <a:pos x="14005" y="5321"/>
                  </a:cxn>
                  <a:cxn ang="0">
                    <a:pos x="10854" y="8576"/>
                  </a:cxn>
                  <a:cxn ang="0">
                    <a:pos x="10754" y="8472"/>
                  </a:cxn>
                  <a:cxn ang="0">
                    <a:pos x="10150" y="7980"/>
                  </a:cxn>
                  <a:cxn ang="0">
                    <a:pos x="9479" y="7627"/>
                  </a:cxn>
                  <a:cxn ang="0">
                    <a:pos x="8762" y="7416"/>
                  </a:cxn>
                  <a:cxn ang="0">
                    <a:pos x="8025" y="7345"/>
                  </a:cxn>
                  <a:cxn ang="0">
                    <a:pos x="7287" y="7416"/>
                  </a:cxn>
                  <a:cxn ang="0">
                    <a:pos x="6571" y="7627"/>
                  </a:cxn>
                  <a:cxn ang="0">
                    <a:pos x="5900" y="7980"/>
                  </a:cxn>
                  <a:cxn ang="0">
                    <a:pos x="5297" y="8473"/>
                  </a:cxn>
                  <a:cxn ang="0">
                    <a:pos x="5198" y="8576"/>
                  </a:cxn>
                  <a:cxn ang="0">
                    <a:pos x="4197" y="7425"/>
                  </a:cxn>
                  <a:cxn ang="0">
                    <a:pos x="4843" y="6865"/>
                  </a:cxn>
                  <a:cxn ang="0">
                    <a:pos x="5758" y="6325"/>
                  </a:cxn>
                  <a:cxn ang="0">
                    <a:pos x="6743" y="5981"/>
                  </a:cxn>
                  <a:cxn ang="0">
                    <a:pos x="7766" y="5833"/>
                  </a:cxn>
                  <a:cxn ang="0">
                    <a:pos x="8797" y="5882"/>
                  </a:cxn>
                  <a:cxn ang="0">
                    <a:pos x="9806" y="6127"/>
                  </a:cxn>
                  <a:cxn ang="0">
                    <a:pos x="10760" y="6570"/>
                  </a:cxn>
                  <a:cxn ang="0">
                    <a:pos x="11627" y="7208"/>
                  </a:cxn>
                  <a:cxn ang="0">
                    <a:pos x="11903" y="7475"/>
                  </a:cxn>
                </a:cxnLst>
                <a:rect l="0" t="0" r="r" b="b"/>
                <a:pathLst>
                  <a:path w="16050" h="8576">
                    <a:moveTo>
                      <a:pt x="15950" y="3273"/>
                    </a:moveTo>
                    <a:lnTo>
                      <a:pt x="15975" y="3299"/>
                    </a:lnTo>
                    <a:lnTo>
                      <a:pt x="16000" y="3324"/>
                    </a:lnTo>
                    <a:lnTo>
                      <a:pt x="16025" y="3351"/>
                    </a:lnTo>
                    <a:lnTo>
                      <a:pt x="16050" y="3377"/>
                    </a:lnTo>
                    <a:lnTo>
                      <a:pt x="15025" y="4402"/>
                    </a:lnTo>
                    <a:lnTo>
                      <a:pt x="15000" y="4377"/>
                    </a:lnTo>
                    <a:lnTo>
                      <a:pt x="14975" y="4351"/>
                    </a:lnTo>
                    <a:lnTo>
                      <a:pt x="14950" y="4325"/>
                    </a:lnTo>
                    <a:lnTo>
                      <a:pt x="14923" y="4300"/>
                    </a:lnTo>
                    <a:lnTo>
                      <a:pt x="14560" y="3955"/>
                    </a:lnTo>
                    <a:lnTo>
                      <a:pt x="14184" y="3632"/>
                    </a:lnTo>
                    <a:lnTo>
                      <a:pt x="13796" y="3330"/>
                    </a:lnTo>
                    <a:lnTo>
                      <a:pt x="13396" y="3053"/>
                    </a:lnTo>
                    <a:lnTo>
                      <a:pt x="12984" y="2797"/>
                    </a:lnTo>
                    <a:lnTo>
                      <a:pt x="12564" y="2563"/>
                    </a:lnTo>
                    <a:lnTo>
                      <a:pt x="12136" y="2351"/>
                    </a:lnTo>
                    <a:lnTo>
                      <a:pt x="11698" y="2161"/>
                    </a:lnTo>
                    <a:lnTo>
                      <a:pt x="11254" y="1995"/>
                    </a:lnTo>
                    <a:lnTo>
                      <a:pt x="10805" y="1850"/>
                    </a:lnTo>
                    <a:lnTo>
                      <a:pt x="10349" y="1728"/>
                    </a:lnTo>
                    <a:lnTo>
                      <a:pt x="9889" y="1628"/>
                    </a:lnTo>
                    <a:lnTo>
                      <a:pt x="9426" y="1549"/>
                    </a:lnTo>
                    <a:lnTo>
                      <a:pt x="8960" y="1494"/>
                    </a:lnTo>
                    <a:lnTo>
                      <a:pt x="8492" y="1461"/>
                    </a:lnTo>
                    <a:lnTo>
                      <a:pt x="8024" y="1450"/>
                    </a:lnTo>
                    <a:lnTo>
                      <a:pt x="7556" y="1461"/>
                    </a:lnTo>
                    <a:lnTo>
                      <a:pt x="7087" y="1494"/>
                    </a:lnTo>
                    <a:lnTo>
                      <a:pt x="6622" y="1550"/>
                    </a:lnTo>
                    <a:lnTo>
                      <a:pt x="6158" y="1629"/>
                    </a:lnTo>
                    <a:lnTo>
                      <a:pt x="5699" y="1729"/>
                    </a:lnTo>
                    <a:lnTo>
                      <a:pt x="5243" y="1851"/>
                    </a:lnTo>
                    <a:lnTo>
                      <a:pt x="4793" y="1996"/>
                    </a:lnTo>
                    <a:lnTo>
                      <a:pt x="4350" y="2163"/>
                    </a:lnTo>
                    <a:lnTo>
                      <a:pt x="3912" y="2352"/>
                    </a:lnTo>
                    <a:lnTo>
                      <a:pt x="3483" y="2564"/>
                    </a:lnTo>
                    <a:lnTo>
                      <a:pt x="3064" y="2799"/>
                    </a:lnTo>
                    <a:lnTo>
                      <a:pt x="2652" y="3055"/>
                    </a:lnTo>
                    <a:lnTo>
                      <a:pt x="2253" y="3332"/>
                    </a:lnTo>
                    <a:lnTo>
                      <a:pt x="1864" y="3634"/>
                    </a:lnTo>
                    <a:lnTo>
                      <a:pt x="1488" y="3957"/>
                    </a:lnTo>
                    <a:lnTo>
                      <a:pt x="1125" y="4302"/>
                    </a:lnTo>
                    <a:lnTo>
                      <a:pt x="1099" y="4327"/>
                    </a:lnTo>
                    <a:lnTo>
                      <a:pt x="1075" y="4353"/>
                    </a:lnTo>
                    <a:lnTo>
                      <a:pt x="1050" y="4378"/>
                    </a:lnTo>
                    <a:lnTo>
                      <a:pt x="1025" y="4404"/>
                    </a:lnTo>
                    <a:lnTo>
                      <a:pt x="0" y="3378"/>
                    </a:lnTo>
                    <a:lnTo>
                      <a:pt x="24" y="3353"/>
                    </a:lnTo>
                    <a:lnTo>
                      <a:pt x="49" y="3326"/>
                    </a:lnTo>
                    <a:lnTo>
                      <a:pt x="74" y="3301"/>
                    </a:lnTo>
                    <a:lnTo>
                      <a:pt x="99" y="3276"/>
                    </a:lnTo>
                    <a:lnTo>
                      <a:pt x="516" y="2880"/>
                    </a:lnTo>
                    <a:lnTo>
                      <a:pt x="948" y="2509"/>
                    </a:lnTo>
                    <a:lnTo>
                      <a:pt x="1394" y="2162"/>
                    </a:lnTo>
                    <a:lnTo>
                      <a:pt x="1854" y="1843"/>
                    </a:lnTo>
                    <a:lnTo>
                      <a:pt x="2325" y="1549"/>
                    </a:lnTo>
                    <a:lnTo>
                      <a:pt x="2808" y="1280"/>
                    </a:lnTo>
                    <a:lnTo>
                      <a:pt x="3301" y="1037"/>
                    </a:lnTo>
                    <a:lnTo>
                      <a:pt x="3803" y="820"/>
                    </a:lnTo>
                    <a:lnTo>
                      <a:pt x="4312" y="627"/>
                    </a:lnTo>
                    <a:lnTo>
                      <a:pt x="4830" y="461"/>
                    </a:lnTo>
                    <a:lnTo>
                      <a:pt x="5353" y="320"/>
                    </a:lnTo>
                    <a:lnTo>
                      <a:pt x="5881" y="205"/>
                    </a:lnTo>
                    <a:lnTo>
                      <a:pt x="6413" y="115"/>
                    </a:lnTo>
                    <a:lnTo>
                      <a:pt x="6949" y="51"/>
                    </a:lnTo>
                    <a:lnTo>
                      <a:pt x="7485" y="13"/>
                    </a:lnTo>
                    <a:lnTo>
                      <a:pt x="8024" y="0"/>
                    </a:lnTo>
                    <a:lnTo>
                      <a:pt x="8562" y="13"/>
                    </a:lnTo>
                    <a:lnTo>
                      <a:pt x="9099" y="51"/>
                    </a:lnTo>
                    <a:lnTo>
                      <a:pt x="9634" y="115"/>
                    </a:lnTo>
                    <a:lnTo>
                      <a:pt x="10167" y="205"/>
                    </a:lnTo>
                    <a:lnTo>
                      <a:pt x="10694" y="319"/>
                    </a:lnTo>
                    <a:lnTo>
                      <a:pt x="11218" y="460"/>
                    </a:lnTo>
                    <a:lnTo>
                      <a:pt x="11735" y="626"/>
                    </a:lnTo>
                    <a:lnTo>
                      <a:pt x="12245" y="818"/>
                    </a:lnTo>
                    <a:lnTo>
                      <a:pt x="12747" y="1036"/>
                    </a:lnTo>
                    <a:lnTo>
                      <a:pt x="13239" y="1278"/>
                    </a:lnTo>
                    <a:lnTo>
                      <a:pt x="13722" y="1547"/>
                    </a:lnTo>
                    <a:lnTo>
                      <a:pt x="14194" y="1841"/>
                    </a:lnTo>
                    <a:lnTo>
                      <a:pt x="14654" y="2160"/>
                    </a:lnTo>
                    <a:lnTo>
                      <a:pt x="15100" y="2506"/>
                    </a:lnTo>
                    <a:lnTo>
                      <a:pt x="15532" y="2877"/>
                    </a:lnTo>
                    <a:lnTo>
                      <a:pt x="15950" y="3273"/>
                    </a:lnTo>
                    <a:close/>
                    <a:moveTo>
                      <a:pt x="14055" y="5373"/>
                    </a:moveTo>
                    <a:lnTo>
                      <a:pt x="12946" y="6481"/>
                    </a:lnTo>
                    <a:lnTo>
                      <a:pt x="12921" y="6456"/>
                    </a:lnTo>
                    <a:lnTo>
                      <a:pt x="12897" y="6430"/>
                    </a:lnTo>
                    <a:lnTo>
                      <a:pt x="12871" y="6404"/>
                    </a:lnTo>
                    <a:lnTo>
                      <a:pt x="12846" y="6379"/>
                    </a:lnTo>
                    <a:lnTo>
                      <a:pt x="12592" y="6137"/>
                    </a:lnTo>
                    <a:lnTo>
                      <a:pt x="12329" y="5912"/>
                    </a:lnTo>
                    <a:lnTo>
                      <a:pt x="12058" y="5702"/>
                    </a:lnTo>
                    <a:lnTo>
                      <a:pt x="11778" y="5507"/>
                    </a:lnTo>
                    <a:lnTo>
                      <a:pt x="11491" y="5328"/>
                    </a:lnTo>
                    <a:lnTo>
                      <a:pt x="11198" y="5165"/>
                    </a:lnTo>
                    <a:lnTo>
                      <a:pt x="10898" y="5017"/>
                    </a:lnTo>
                    <a:lnTo>
                      <a:pt x="10592" y="4885"/>
                    </a:lnTo>
                    <a:lnTo>
                      <a:pt x="10282" y="4768"/>
                    </a:lnTo>
                    <a:lnTo>
                      <a:pt x="9967" y="4667"/>
                    </a:lnTo>
                    <a:lnTo>
                      <a:pt x="9649" y="4582"/>
                    </a:lnTo>
                    <a:lnTo>
                      <a:pt x="9328" y="4512"/>
                    </a:lnTo>
                    <a:lnTo>
                      <a:pt x="9004" y="4457"/>
                    </a:lnTo>
                    <a:lnTo>
                      <a:pt x="8679" y="4418"/>
                    </a:lnTo>
                    <a:lnTo>
                      <a:pt x="8352" y="4395"/>
                    </a:lnTo>
                    <a:lnTo>
                      <a:pt x="8024" y="4387"/>
                    </a:lnTo>
                    <a:lnTo>
                      <a:pt x="7697" y="4395"/>
                    </a:lnTo>
                    <a:lnTo>
                      <a:pt x="7370" y="4418"/>
                    </a:lnTo>
                    <a:lnTo>
                      <a:pt x="7044" y="4457"/>
                    </a:lnTo>
                    <a:lnTo>
                      <a:pt x="6721" y="4512"/>
                    </a:lnTo>
                    <a:lnTo>
                      <a:pt x="6399" y="4582"/>
                    </a:lnTo>
                    <a:lnTo>
                      <a:pt x="6081" y="4668"/>
                    </a:lnTo>
                    <a:lnTo>
                      <a:pt x="5767" y="4769"/>
                    </a:lnTo>
                    <a:lnTo>
                      <a:pt x="5457" y="4886"/>
                    </a:lnTo>
                    <a:lnTo>
                      <a:pt x="5151" y="5018"/>
                    </a:lnTo>
                    <a:lnTo>
                      <a:pt x="4851" y="5166"/>
                    </a:lnTo>
                    <a:lnTo>
                      <a:pt x="4558" y="5329"/>
                    </a:lnTo>
                    <a:lnTo>
                      <a:pt x="4271" y="5509"/>
                    </a:lnTo>
                    <a:lnTo>
                      <a:pt x="3991" y="5703"/>
                    </a:lnTo>
                    <a:lnTo>
                      <a:pt x="3720" y="5913"/>
                    </a:lnTo>
                    <a:lnTo>
                      <a:pt x="3457" y="6139"/>
                    </a:lnTo>
                    <a:lnTo>
                      <a:pt x="3203" y="6380"/>
                    </a:lnTo>
                    <a:lnTo>
                      <a:pt x="3178" y="6406"/>
                    </a:lnTo>
                    <a:lnTo>
                      <a:pt x="3154" y="6431"/>
                    </a:lnTo>
                    <a:lnTo>
                      <a:pt x="3129" y="6456"/>
                    </a:lnTo>
                    <a:lnTo>
                      <a:pt x="3104" y="6482"/>
                    </a:lnTo>
                    <a:lnTo>
                      <a:pt x="1996" y="5374"/>
                    </a:lnTo>
                    <a:lnTo>
                      <a:pt x="2020" y="5348"/>
                    </a:lnTo>
                    <a:lnTo>
                      <a:pt x="2045" y="5322"/>
                    </a:lnTo>
                    <a:lnTo>
                      <a:pt x="2069" y="5297"/>
                    </a:lnTo>
                    <a:lnTo>
                      <a:pt x="2095" y="5272"/>
                    </a:lnTo>
                    <a:lnTo>
                      <a:pt x="2406" y="4975"/>
                    </a:lnTo>
                    <a:lnTo>
                      <a:pt x="2731" y="4697"/>
                    </a:lnTo>
                    <a:lnTo>
                      <a:pt x="3065" y="4439"/>
                    </a:lnTo>
                    <a:lnTo>
                      <a:pt x="3408" y="4199"/>
                    </a:lnTo>
                    <a:lnTo>
                      <a:pt x="3761" y="3980"/>
                    </a:lnTo>
                    <a:lnTo>
                      <a:pt x="4122" y="3779"/>
                    </a:lnTo>
                    <a:lnTo>
                      <a:pt x="4491" y="3596"/>
                    </a:lnTo>
                    <a:lnTo>
                      <a:pt x="4866" y="3434"/>
                    </a:lnTo>
                    <a:lnTo>
                      <a:pt x="5247" y="3290"/>
                    </a:lnTo>
                    <a:lnTo>
                      <a:pt x="5635" y="3166"/>
                    </a:lnTo>
                    <a:lnTo>
                      <a:pt x="6026" y="3061"/>
                    </a:lnTo>
                    <a:lnTo>
                      <a:pt x="6421" y="2974"/>
                    </a:lnTo>
                    <a:lnTo>
                      <a:pt x="6819" y="2907"/>
                    </a:lnTo>
                    <a:lnTo>
                      <a:pt x="7219" y="2859"/>
                    </a:lnTo>
                    <a:lnTo>
                      <a:pt x="7622" y="2831"/>
                    </a:lnTo>
                    <a:lnTo>
                      <a:pt x="8024" y="2821"/>
                    </a:lnTo>
                    <a:lnTo>
                      <a:pt x="8427" y="2831"/>
                    </a:lnTo>
                    <a:lnTo>
                      <a:pt x="8829" y="2859"/>
                    </a:lnTo>
                    <a:lnTo>
                      <a:pt x="9229" y="2907"/>
                    </a:lnTo>
                    <a:lnTo>
                      <a:pt x="9627" y="2973"/>
                    </a:lnTo>
                    <a:lnTo>
                      <a:pt x="10022" y="3060"/>
                    </a:lnTo>
                    <a:lnTo>
                      <a:pt x="10413" y="3165"/>
                    </a:lnTo>
                    <a:lnTo>
                      <a:pt x="10801" y="3289"/>
                    </a:lnTo>
                    <a:lnTo>
                      <a:pt x="11182" y="3433"/>
                    </a:lnTo>
                    <a:lnTo>
                      <a:pt x="11558" y="3595"/>
                    </a:lnTo>
                    <a:lnTo>
                      <a:pt x="11926" y="3777"/>
                    </a:lnTo>
                    <a:lnTo>
                      <a:pt x="12287" y="3978"/>
                    </a:lnTo>
                    <a:lnTo>
                      <a:pt x="12640" y="4198"/>
                    </a:lnTo>
                    <a:lnTo>
                      <a:pt x="12984" y="4437"/>
                    </a:lnTo>
                    <a:lnTo>
                      <a:pt x="13318" y="4696"/>
                    </a:lnTo>
                    <a:lnTo>
                      <a:pt x="13641" y="4973"/>
                    </a:lnTo>
                    <a:lnTo>
                      <a:pt x="13954" y="5270"/>
                    </a:lnTo>
                    <a:lnTo>
                      <a:pt x="13980" y="5295"/>
                    </a:lnTo>
                    <a:lnTo>
                      <a:pt x="14005" y="5321"/>
                    </a:lnTo>
                    <a:lnTo>
                      <a:pt x="14030" y="5347"/>
                    </a:lnTo>
                    <a:lnTo>
                      <a:pt x="14055" y="5373"/>
                    </a:lnTo>
                    <a:close/>
                    <a:moveTo>
                      <a:pt x="11928" y="7501"/>
                    </a:moveTo>
                    <a:lnTo>
                      <a:pt x="10854" y="8576"/>
                    </a:lnTo>
                    <a:lnTo>
                      <a:pt x="10829" y="8549"/>
                    </a:lnTo>
                    <a:lnTo>
                      <a:pt x="10805" y="8523"/>
                    </a:lnTo>
                    <a:lnTo>
                      <a:pt x="10780" y="8498"/>
                    </a:lnTo>
                    <a:lnTo>
                      <a:pt x="10754" y="8472"/>
                    </a:lnTo>
                    <a:lnTo>
                      <a:pt x="10610" y="8336"/>
                    </a:lnTo>
                    <a:lnTo>
                      <a:pt x="10462" y="8208"/>
                    </a:lnTo>
                    <a:lnTo>
                      <a:pt x="10307" y="8089"/>
                    </a:lnTo>
                    <a:lnTo>
                      <a:pt x="10150" y="7980"/>
                    </a:lnTo>
                    <a:lnTo>
                      <a:pt x="9987" y="7878"/>
                    </a:lnTo>
                    <a:lnTo>
                      <a:pt x="9821" y="7785"/>
                    </a:lnTo>
                    <a:lnTo>
                      <a:pt x="9651" y="7702"/>
                    </a:lnTo>
                    <a:lnTo>
                      <a:pt x="9479" y="7627"/>
                    </a:lnTo>
                    <a:lnTo>
                      <a:pt x="9303" y="7561"/>
                    </a:lnTo>
                    <a:lnTo>
                      <a:pt x="9124" y="7504"/>
                    </a:lnTo>
                    <a:lnTo>
                      <a:pt x="8945" y="7456"/>
                    </a:lnTo>
                    <a:lnTo>
                      <a:pt x="8762" y="7416"/>
                    </a:lnTo>
                    <a:lnTo>
                      <a:pt x="8580" y="7384"/>
                    </a:lnTo>
                    <a:lnTo>
                      <a:pt x="8395" y="7362"/>
                    </a:lnTo>
                    <a:lnTo>
                      <a:pt x="8210" y="7349"/>
                    </a:lnTo>
                    <a:lnTo>
                      <a:pt x="8025" y="7345"/>
                    </a:lnTo>
                    <a:lnTo>
                      <a:pt x="7839" y="7349"/>
                    </a:lnTo>
                    <a:lnTo>
                      <a:pt x="7655" y="7363"/>
                    </a:lnTo>
                    <a:lnTo>
                      <a:pt x="7470" y="7385"/>
                    </a:lnTo>
                    <a:lnTo>
                      <a:pt x="7287" y="7416"/>
                    </a:lnTo>
                    <a:lnTo>
                      <a:pt x="7105" y="7456"/>
                    </a:lnTo>
                    <a:lnTo>
                      <a:pt x="6926" y="7504"/>
                    </a:lnTo>
                    <a:lnTo>
                      <a:pt x="6747" y="7561"/>
                    </a:lnTo>
                    <a:lnTo>
                      <a:pt x="6571" y="7627"/>
                    </a:lnTo>
                    <a:lnTo>
                      <a:pt x="6399" y="7703"/>
                    </a:lnTo>
                    <a:lnTo>
                      <a:pt x="6229" y="7786"/>
                    </a:lnTo>
                    <a:lnTo>
                      <a:pt x="6063" y="7878"/>
                    </a:lnTo>
                    <a:lnTo>
                      <a:pt x="5900" y="7980"/>
                    </a:lnTo>
                    <a:lnTo>
                      <a:pt x="5742" y="8090"/>
                    </a:lnTo>
                    <a:lnTo>
                      <a:pt x="5588" y="8209"/>
                    </a:lnTo>
                    <a:lnTo>
                      <a:pt x="5440" y="8337"/>
                    </a:lnTo>
                    <a:lnTo>
                      <a:pt x="5297" y="8473"/>
                    </a:lnTo>
                    <a:lnTo>
                      <a:pt x="5271" y="8498"/>
                    </a:lnTo>
                    <a:lnTo>
                      <a:pt x="5246" y="8524"/>
                    </a:lnTo>
                    <a:lnTo>
                      <a:pt x="5222" y="8550"/>
                    </a:lnTo>
                    <a:lnTo>
                      <a:pt x="5198" y="8576"/>
                    </a:lnTo>
                    <a:lnTo>
                      <a:pt x="4123" y="7501"/>
                    </a:lnTo>
                    <a:lnTo>
                      <a:pt x="4147" y="7476"/>
                    </a:lnTo>
                    <a:lnTo>
                      <a:pt x="4172" y="7450"/>
                    </a:lnTo>
                    <a:lnTo>
                      <a:pt x="4197" y="7425"/>
                    </a:lnTo>
                    <a:lnTo>
                      <a:pt x="4222" y="7399"/>
                    </a:lnTo>
                    <a:lnTo>
                      <a:pt x="4422" y="7209"/>
                    </a:lnTo>
                    <a:lnTo>
                      <a:pt x="4629" y="7030"/>
                    </a:lnTo>
                    <a:lnTo>
                      <a:pt x="4843" y="6865"/>
                    </a:lnTo>
                    <a:lnTo>
                      <a:pt x="5064" y="6711"/>
                    </a:lnTo>
                    <a:lnTo>
                      <a:pt x="5290" y="6571"/>
                    </a:lnTo>
                    <a:lnTo>
                      <a:pt x="5522" y="6441"/>
                    </a:lnTo>
                    <a:lnTo>
                      <a:pt x="5758" y="6325"/>
                    </a:lnTo>
                    <a:lnTo>
                      <a:pt x="6000" y="6220"/>
                    </a:lnTo>
                    <a:lnTo>
                      <a:pt x="6243" y="6128"/>
                    </a:lnTo>
                    <a:lnTo>
                      <a:pt x="6492" y="6048"/>
                    </a:lnTo>
                    <a:lnTo>
                      <a:pt x="6743" y="5981"/>
                    </a:lnTo>
                    <a:lnTo>
                      <a:pt x="6997" y="5925"/>
                    </a:lnTo>
                    <a:lnTo>
                      <a:pt x="7252" y="5882"/>
                    </a:lnTo>
                    <a:lnTo>
                      <a:pt x="7508" y="5851"/>
                    </a:lnTo>
                    <a:lnTo>
                      <a:pt x="7766" y="5833"/>
                    </a:lnTo>
                    <a:lnTo>
                      <a:pt x="8025" y="5827"/>
                    </a:lnTo>
                    <a:lnTo>
                      <a:pt x="8283" y="5833"/>
                    </a:lnTo>
                    <a:lnTo>
                      <a:pt x="8541" y="5851"/>
                    </a:lnTo>
                    <a:lnTo>
                      <a:pt x="8797" y="5882"/>
                    </a:lnTo>
                    <a:lnTo>
                      <a:pt x="9053" y="5925"/>
                    </a:lnTo>
                    <a:lnTo>
                      <a:pt x="9306" y="5981"/>
                    </a:lnTo>
                    <a:lnTo>
                      <a:pt x="9557" y="6048"/>
                    </a:lnTo>
                    <a:lnTo>
                      <a:pt x="9806" y="6127"/>
                    </a:lnTo>
                    <a:lnTo>
                      <a:pt x="10050" y="6219"/>
                    </a:lnTo>
                    <a:lnTo>
                      <a:pt x="10291" y="6324"/>
                    </a:lnTo>
                    <a:lnTo>
                      <a:pt x="10528" y="6440"/>
                    </a:lnTo>
                    <a:lnTo>
                      <a:pt x="10760" y="6570"/>
                    </a:lnTo>
                    <a:lnTo>
                      <a:pt x="10985" y="6710"/>
                    </a:lnTo>
                    <a:lnTo>
                      <a:pt x="11206" y="6864"/>
                    </a:lnTo>
                    <a:lnTo>
                      <a:pt x="11421" y="7029"/>
                    </a:lnTo>
                    <a:lnTo>
                      <a:pt x="11627" y="7208"/>
                    </a:lnTo>
                    <a:lnTo>
                      <a:pt x="11828" y="7398"/>
                    </a:lnTo>
                    <a:lnTo>
                      <a:pt x="11853" y="7424"/>
                    </a:lnTo>
                    <a:lnTo>
                      <a:pt x="11878" y="7449"/>
                    </a:lnTo>
                    <a:lnTo>
                      <a:pt x="11903" y="7475"/>
                    </a:lnTo>
                    <a:lnTo>
                      <a:pt x="11928" y="7501"/>
                    </a:lnTo>
                    <a:close/>
                  </a:path>
                </a:pathLst>
              </a:custGeom>
              <a:solidFill>
                <a:srgbClr val="96959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</p:grpSp>
      <p:sp>
        <p:nvSpPr>
          <p:cNvPr id="392" name="矩形 92"/>
          <p:cNvSpPr/>
          <p:nvPr/>
        </p:nvSpPr>
        <p:spPr>
          <a:xfrm>
            <a:off x="6732240" y="4621376"/>
            <a:ext cx="1814927" cy="261610"/>
          </a:xfrm>
          <a:prstGeom prst="rect">
            <a:avLst/>
          </a:prstGeom>
          <a:solidFill>
            <a:srgbClr val="C00000"/>
          </a:solidFill>
        </p:spPr>
        <p:txBody>
          <a:bodyPr wrap="square" anchor="ctr" anchorCtr="0">
            <a:spAutoFit/>
          </a:bodyPr>
          <a:lstStyle/>
          <a:p>
            <a:pPr algn="ctr" eaLnBrk="0" hangingPunct="0">
              <a:buClr>
                <a:srgbClr val="990000"/>
              </a:buClr>
              <a:buSzPct val="60000"/>
              <a:defRPr/>
            </a:pPr>
            <a:r>
              <a:rPr lang="zh-CN" altLang="en-US" sz="1100" b="1" kern="0" dirty="0" smtClean="0">
                <a:solidFill>
                  <a:schemeClr val="bg1"/>
                </a:solidFill>
                <a:latin typeface="Arial" pitchFamily="34" charset="0"/>
                <a:ea typeface="微软雅黑"/>
                <a:cs typeface="Arial" pitchFamily="34" charset="0"/>
              </a:rPr>
              <a:t>④</a:t>
            </a:r>
            <a:r>
              <a:rPr lang="en-US" altLang="zh-CN" sz="1100" b="1" dirty="0" smtClean="0">
                <a:solidFill>
                  <a:schemeClr val="bg1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Mobile MediaShare </a:t>
            </a:r>
            <a:endParaRPr lang="zh-CN" altLang="en-US" sz="1100" b="1" dirty="0" smtClean="0">
              <a:solidFill>
                <a:schemeClr val="bg1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72" name="组合 14"/>
          <p:cNvGrpSpPr>
            <a:grpSpLocks noChangeAspect="1"/>
          </p:cNvGrpSpPr>
          <p:nvPr/>
        </p:nvGrpSpPr>
        <p:grpSpPr>
          <a:xfrm>
            <a:off x="3358891" y="2508505"/>
            <a:ext cx="296938" cy="427278"/>
            <a:chOff x="976453" y="979356"/>
            <a:chExt cx="349516" cy="562900"/>
          </a:xfrm>
        </p:grpSpPr>
        <p:grpSp>
          <p:nvGrpSpPr>
            <p:cNvPr id="73" name="Group 76"/>
            <p:cNvGrpSpPr>
              <a:grpSpLocks noChangeAspect="1"/>
            </p:cNvGrpSpPr>
            <p:nvPr/>
          </p:nvGrpSpPr>
          <p:grpSpPr bwMode="auto">
            <a:xfrm>
              <a:off x="976461" y="1061237"/>
              <a:ext cx="263526" cy="481010"/>
              <a:chOff x="1608" y="1821"/>
              <a:chExt cx="196" cy="515"/>
            </a:xfrm>
          </p:grpSpPr>
          <p:sp>
            <p:nvSpPr>
              <p:cNvPr id="411" name="Freeform 77"/>
              <p:cNvSpPr>
                <a:spLocks noChangeAspect="1"/>
              </p:cNvSpPr>
              <p:nvPr/>
            </p:nvSpPr>
            <p:spPr bwMode="auto">
              <a:xfrm>
                <a:off x="1634" y="2176"/>
                <a:ext cx="143" cy="49"/>
              </a:xfrm>
              <a:custGeom>
                <a:avLst/>
                <a:gdLst>
                  <a:gd name="T0" fmla="*/ 0 w 72"/>
                  <a:gd name="T1" fmla="*/ 16384 h 24"/>
                  <a:gd name="T2" fmla="*/ 294912 w 72"/>
                  <a:gd name="T3" fmla="*/ 196608 h 24"/>
                  <a:gd name="T4" fmla="*/ 589824 w 72"/>
                  <a:gd name="T5" fmla="*/ 16384 h 24"/>
                  <a:gd name="T6" fmla="*/ 581632 w 72"/>
                  <a:gd name="T7" fmla="*/ 0 h 24"/>
                  <a:gd name="T8" fmla="*/ 294912 w 72"/>
                  <a:gd name="T9" fmla="*/ 180224 h 24"/>
                  <a:gd name="T10" fmla="*/ 16384 w 72"/>
                  <a:gd name="T11" fmla="*/ 0 h 24"/>
                  <a:gd name="T12" fmla="*/ 0 w 72"/>
                  <a:gd name="T13" fmla="*/ 1638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2"/>
                  <a:gd name="T22" fmla="*/ 0 h 24"/>
                  <a:gd name="T23" fmla="*/ 72 w 7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2" h="24">
                    <a:moveTo>
                      <a:pt x="0" y="2"/>
                    </a:moveTo>
                    <a:cubicBezTo>
                      <a:pt x="36" y="24"/>
                      <a:pt x="36" y="24"/>
                      <a:pt x="36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1" y="0"/>
                      <a:pt x="37" y="21"/>
                      <a:pt x="36" y="22"/>
                    </a:cubicBezTo>
                    <a:cubicBezTo>
                      <a:pt x="35" y="2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2" name="Freeform 78"/>
              <p:cNvSpPr>
                <a:spLocks noChangeAspect="1"/>
              </p:cNvSpPr>
              <p:nvPr/>
            </p:nvSpPr>
            <p:spPr bwMode="auto">
              <a:xfrm>
                <a:off x="1652" y="2122"/>
                <a:ext cx="111" cy="36"/>
              </a:xfrm>
              <a:custGeom>
                <a:avLst/>
                <a:gdLst>
                  <a:gd name="T0" fmla="*/ 0 w 55"/>
                  <a:gd name="T1" fmla="*/ 21466 h 19"/>
                  <a:gd name="T2" fmla="*/ 221184 w 55"/>
                  <a:gd name="T3" fmla="*/ 218008 h 19"/>
                  <a:gd name="T4" fmla="*/ 450560 w 55"/>
                  <a:gd name="T5" fmla="*/ 21466 h 19"/>
                  <a:gd name="T6" fmla="*/ 434176 w 55"/>
                  <a:gd name="T7" fmla="*/ 0 h 19"/>
                  <a:gd name="T8" fmla="*/ 221184 w 55"/>
                  <a:gd name="T9" fmla="*/ 185646 h 19"/>
                  <a:gd name="T10" fmla="*/ 8192 w 55"/>
                  <a:gd name="T11" fmla="*/ 0 h 19"/>
                  <a:gd name="T12" fmla="*/ 0 w 55"/>
                  <a:gd name="T13" fmla="*/ 21466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5"/>
                  <a:gd name="T22" fmla="*/ 0 h 19"/>
                  <a:gd name="T23" fmla="*/ 55 w 55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5" h="19">
                    <a:moveTo>
                      <a:pt x="0" y="2"/>
                    </a:moveTo>
                    <a:cubicBezTo>
                      <a:pt x="27" y="19"/>
                      <a:pt x="27" y="19"/>
                      <a:pt x="27" y="19"/>
                    </a:cubicBezTo>
                    <a:cubicBezTo>
                      <a:pt x="55" y="2"/>
                      <a:pt x="55" y="2"/>
                      <a:pt x="55" y="2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28" y="15"/>
                      <a:pt x="27" y="16"/>
                    </a:cubicBezTo>
                    <a:cubicBezTo>
                      <a:pt x="26" y="15"/>
                      <a:pt x="1" y="0"/>
                      <a:pt x="1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3" name="Freeform 79"/>
              <p:cNvSpPr>
                <a:spLocks noChangeAspect="1"/>
              </p:cNvSpPr>
              <p:nvPr/>
            </p:nvSpPr>
            <p:spPr bwMode="auto">
              <a:xfrm>
                <a:off x="1612" y="2222"/>
                <a:ext cx="189" cy="53"/>
              </a:xfrm>
              <a:custGeom>
                <a:avLst/>
                <a:gdLst>
                  <a:gd name="T0" fmla="*/ 0 w 94"/>
                  <a:gd name="T1" fmla="*/ 196608 h 27"/>
                  <a:gd name="T2" fmla="*/ 8192 w 94"/>
                  <a:gd name="T3" fmla="*/ 212992 h 27"/>
                  <a:gd name="T4" fmla="*/ 385024 w 94"/>
                  <a:gd name="T5" fmla="*/ 16384 h 27"/>
                  <a:gd name="T6" fmla="*/ 761856 w 94"/>
                  <a:gd name="T7" fmla="*/ 221184 h 27"/>
                  <a:gd name="T8" fmla="*/ 770048 w 94"/>
                  <a:gd name="T9" fmla="*/ 204800 h 27"/>
                  <a:gd name="T10" fmla="*/ 385024 w 94"/>
                  <a:gd name="T11" fmla="*/ 0 h 27"/>
                  <a:gd name="T12" fmla="*/ 0 w 94"/>
                  <a:gd name="T13" fmla="*/ 196608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4"/>
                  <a:gd name="T22" fmla="*/ 0 h 27"/>
                  <a:gd name="T23" fmla="*/ 94 w 94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4" h="27">
                    <a:moveTo>
                      <a:pt x="0" y="24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46" y="3"/>
                      <a:pt x="47" y="2"/>
                    </a:cubicBezTo>
                    <a:cubicBezTo>
                      <a:pt x="48" y="3"/>
                      <a:pt x="93" y="27"/>
                      <a:pt x="93" y="27"/>
                    </a:cubicBezTo>
                    <a:cubicBezTo>
                      <a:pt x="94" y="25"/>
                      <a:pt x="94" y="25"/>
                      <a:pt x="94" y="25"/>
                    </a:cubicBezTo>
                    <a:cubicBezTo>
                      <a:pt x="47" y="0"/>
                      <a:pt x="47" y="0"/>
                      <a:pt x="47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4" name="Freeform 80"/>
              <p:cNvSpPr>
                <a:spLocks noChangeAspect="1" noEditPoints="1"/>
              </p:cNvSpPr>
              <p:nvPr/>
            </p:nvSpPr>
            <p:spPr bwMode="auto">
              <a:xfrm>
                <a:off x="1614" y="1821"/>
                <a:ext cx="182" cy="90"/>
              </a:xfrm>
              <a:custGeom>
                <a:avLst/>
                <a:gdLst>
                  <a:gd name="T0" fmla="*/ 581632 w 92"/>
                  <a:gd name="T1" fmla="*/ 65536 h 45"/>
                  <a:gd name="T2" fmla="*/ 606208 w 92"/>
                  <a:gd name="T3" fmla="*/ 180224 h 45"/>
                  <a:gd name="T4" fmla="*/ 573440 w 92"/>
                  <a:gd name="T5" fmla="*/ 294912 h 45"/>
                  <a:gd name="T6" fmla="*/ 598016 w 92"/>
                  <a:gd name="T7" fmla="*/ 311296 h 45"/>
                  <a:gd name="T8" fmla="*/ 638976 w 92"/>
                  <a:gd name="T9" fmla="*/ 180224 h 45"/>
                  <a:gd name="T10" fmla="*/ 606208 w 92"/>
                  <a:gd name="T11" fmla="*/ 49152 h 45"/>
                  <a:gd name="T12" fmla="*/ 581632 w 92"/>
                  <a:gd name="T13" fmla="*/ 65536 h 45"/>
                  <a:gd name="T14" fmla="*/ 704512 w 92"/>
                  <a:gd name="T15" fmla="*/ 0 h 45"/>
                  <a:gd name="T16" fmla="*/ 679936 w 92"/>
                  <a:gd name="T17" fmla="*/ 8192 h 45"/>
                  <a:gd name="T18" fmla="*/ 720896 w 92"/>
                  <a:gd name="T19" fmla="*/ 180224 h 45"/>
                  <a:gd name="T20" fmla="*/ 671744 w 92"/>
                  <a:gd name="T21" fmla="*/ 352256 h 45"/>
                  <a:gd name="T22" fmla="*/ 696320 w 92"/>
                  <a:gd name="T23" fmla="*/ 368640 h 45"/>
                  <a:gd name="T24" fmla="*/ 753664 w 92"/>
                  <a:gd name="T25" fmla="*/ 180224 h 45"/>
                  <a:gd name="T26" fmla="*/ 704512 w 92"/>
                  <a:gd name="T27" fmla="*/ 0 h 45"/>
                  <a:gd name="T28" fmla="*/ 73728 w 92"/>
                  <a:gd name="T29" fmla="*/ 8192 h 45"/>
                  <a:gd name="T30" fmla="*/ 49152 w 92"/>
                  <a:gd name="T31" fmla="*/ 0 h 45"/>
                  <a:gd name="T32" fmla="*/ 0 w 92"/>
                  <a:gd name="T33" fmla="*/ 180224 h 45"/>
                  <a:gd name="T34" fmla="*/ 49152 w 92"/>
                  <a:gd name="T35" fmla="*/ 368640 h 45"/>
                  <a:gd name="T36" fmla="*/ 81920 w 92"/>
                  <a:gd name="T37" fmla="*/ 352256 h 45"/>
                  <a:gd name="T38" fmla="*/ 32768 w 92"/>
                  <a:gd name="T39" fmla="*/ 180224 h 45"/>
                  <a:gd name="T40" fmla="*/ 73728 w 92"/>
                  <a:gd name="T41" fmla="*/ 8192 h 45"/>
                  <a:gd name="T42" fmla="*/ 172032 w 92"/>
                  <a:gd name="T43" fmla="*/ 65536 h 45"/>
                  <a:gd name="T44" fmla="*/ 147456 w 92"/>
                  <a:gd name="T45" fmla="*/ 49152 h 45"/>
                  <a:gd name="T46" fmla="*/ 114688 w 92"/>
                  <a:gd name="T47" fmla="*/ 180224 h 45"/>
                  <a:gd name="T48" fmla="*/ 147456 w 92"/>
                  <a:gd name="T49" fmla="*/ 311296 h 45"/>
                  <a:gd name="T50" fmla="*/ 180224 w 92"/>
                  <a:gd name="T51" fmla="*/ 294912 h 45"/>
                  <a:gd name="T52" fmla="*/ 147456 w 92"/>
                  <a:gd name="T53" fmla="*/ 180224 h 45"/>
                  <a:gd name="T54" fmla="*/ 172032 w 92"/>
                  <a:gd name="T55" fmla="*/ 65536 h 45"/>
                  <a:gd name="T56" fmla="*/ 483328 w 92"/>
                  <a:gd name="T57" fmla="*/ 122880 h 45"/>
                  <a:gd name="T58" fmla="*/ 499712 w 92"/>
                  <a:gd name="T59" fmla="*/ 180224 h 45"/>
                  <a:gd name="T60" fmla="*/ 483328 w 92"/>
                  <a:gd name="T61" fmla="*/ 245760 h 45"/>
                  <a:gd name="T62" fmla="*/ 507904 w 92"/>
                  <a:gd name="T63" fmla="*/ 262144 h 45"/>
                  <a:gd name="T64" fmla="*/ 532480 w 92"/>
                  <a:gd name="T65" fmla="*/ 180224 h 45"/>
                  <a:gd name="T66" fmla="*/ 516096 w 92"/>
                  <a:gd name="T67" fmla="*/ 98304 h 45"/>
                  <a:gd name="T68" fmla="*/ 483328 w 92"/>
                  <a:gd name="T69" fmla="*/ 122880 h 45"/>
                  <a:gd name="T70" fmla="*/ 262144 w 92"/>
                  <a:gd name="T71" fmla="*/ 122880 h 45"/>
                  <a:gd name="T72" fmla="*/ 237568 w 92"/>
                  <a:gd name="T73" fmla="*/ 98304 h 45"/>
                  <a:gd name="T74" fmla="*/ 212992 w 92"/>
                  <a:gd name="T75" fmla="*/ 180224 h 45"/>
                  <a:gd name="T76" fmla="*/ 237568 w 92"/>
                  <a:gd name="T77" fmla="*/ 262144 h 45"/>
                  <a:gd name="T78" fmla="*/ 270336 w 92"/>
                  <a:gd name="T79" fmla="*/ 245760 h 45"/>
                  <a:gd name="T80" fmla="*/ 245760 w 92"/>
                  <a:gd name="T81" fmla="*/ 180224 h 45"/>
                  <a:gd name="T82" fmla="*/ 262144 w 92"/>
                  <a:gd name="T83" fmla="*/ 122880 h 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2"/>
                  <a:gd name="T127" fmla="*/ 0 h 45"/>
                  <a:gd name="T128" fmla="*/ 92 w 92"/>
                  <a:gd name="T129" fmla="*/ 45 h 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2" h="45">
                    <a:moveTo>
                      <a:pt x="71" y="8"/>
                    </a:moveTo>
                    <a:cubicBezTo>
                      <a:pt x="73" y="12"/>
                      <a:pt x="74" y="17"/>
                      <a:pt x="74" y="22"/>
                    </a:cubicBezTo>
                    <a:cubicBezTo>
                      <a:pt x="74" y="27"/>
                      <a:pt x="73" y="32"/>
                      <a:pt x="70" y="36"/>
                    </a:cubicBezTo>
                    <a:cubicBezTo>
                      <a:pt x="73" y="38"/>
                      <a:pt x="73" y="38"/>
                      <a:pt x="73" y="38"/>
                    </a:cubicBezTo>
                    <a:cubicBezTo>
                      <a:pt x="76" y="33"/>
                      <a:pt x="78" y="28"/>
                      <a:pt x="78" y="22"/>
                    </a:cubicBezTo>
                    <a:cubicBezTo>
                      <a:pt x="78" y="16"/>
                      <a:pt x="77" y="11"/>
                      <a:pt x="74" y="6"/>
                    </a:cubicBezTo>
                    <a:lnTo>
                      <a:pt x="71" y="8"/>
                    </a:lnTo>
                    <a:close/>
                    <a:moveTo>
                      <a:pt x="86" y="0"/>
                    </a:moveTo>
                    <a:cubicBezTo>
                      <a:pt x="83" y="1"/>
                      <a:pt x="83" y="1"/>
                      <a:pt x="83" y="1"/>
                    </a:cubicBezTo>
                    <a:cubicBezTo>
                      <a:pt x="86" y="7"/>
                      <a:pt x="88" y="14"/>
                      <a:pt x="88" y="22"/>
                    </a:cubicBezTo>
                    <a:cubicBezTo>
                      <a:pt x="88" y="29"/>
                      <a:pt x="86" y="37"/>
                      <a:pt x="82" y="43"/>
                    </a:cubicBezTo>
                    <a:cubicBezTo>
                      <a:pt x="85" y="45"/>
                      <a:pt x="85" y="45"/>
                      <a:pt x="85" y="45"/>
                    </a:cubicBezTo>
                    <a:cubicBezTo>
                      <a:pt x="89" y="38"/>
                      <a:pt x="92" y="30"/>
                      <a:pt x="92" y="22"/>
                    </a:cubicBezTo>
                    <a:cubicBezTo>
                      <a:pt x="92" y="14"/>
                      <a:pt x="90" y="6"/>
                      <a:pt x="86" y="0"/>
                    </a:cubicBezTo>
                    <a:close/>
                    <a:moveTo>
                      <a:pt x="9" y="1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6"/>
                      <a:pt x="0" y="14"/>
                      <a:pt x="0" y="22"/>
                    </a:cubicBezTo>
                    <a:cubicBezTo>
                      <a:pt x="0" y="30"/>
                      <a:pt x="2" y="38"/>
                      <a:pt x="6" y="45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6" y="37"/>
                      <a:pt x="4" y="29"/>
                      <a:pt x="4" y="22"/>
                    </a:cubicBezTo>
                    <a:cubicBezTo>
                      <a:pt x="4" y="14"/>
                      <a:pt x="6" y="7"/>
                      <a:pt x="9" y="1"/>
                    </a:cubicBezTo>
                    <a:close/>
                    <a:moveTo>
                      <a:pt x="21" y="8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5" y="11"/>
                      <a:pt x="14" y="16"/>
                      <a:pt x="14" y="22"/>
                    </a:cubicBezTo>
                    <a:cubicBezTo>
                      <a:pt x="14" y="28"/>
                      <a:pt x="15" y="33"/>
                      <a:pt x="18" y="38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2"/>
                      <a:pt x="18" y="27"/>
                      <a:pt x="18" y="22"/>
                    </a:cubicBezTo>
                    <a:cubicBezTo>
                      <a:pt x="18" y="17"/>
                      <a:pt x="19" y="12"/>
                      <a:pt x="21" y="8"/>
                    </a:cubicBezTo>
                    <a:close/>
                    <a:moveTo>
                      <a:pt x="59" y="15"/>
                    </a:moveTo>
                    <a:cubicBezTo>
                      <a:pt x="61" y="17"/>
                      <a:pt x="61" y="19"/>
                      <a:pt x="61" y="22"/>
                    </a:cubicBezTo>
                    <a:cubicBezTo>
                      <a:pt x="61" y="25"/>
                      <a:pt x="60" y="27"/>
                      <a:pt x="59" y="30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4" y="29"/>
                      <a:pt x="65" y="25"/>
                      <a:pt x="65" y="22"/>
                    </a:cubicBezTo>
                    <a:cubicBezTo>
                      <a:pt x="65" y="18"/>
                      <a:pt x="65" y="15"/>
                      <a:pt x="63" y="12"/>
                    </a:cubicBezTo>
                    <a:lnTo>
                      <a:pt x="59" y="15"/>
                    </a:lnTo>
                    <a:close/>
                    <a:moveTo>
                      <a:pt x="32" y="15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27" y="15"/>
                      <a:pt x="26" y="18"/>
                      <a:pt x="26" y="22"/>
                    </a:cubicBezTo>
                    <a:cubicBezTo>
                      <a:pt x="26" y="25"/>
                      <a:pt x="27" y="29"/>
                      <a:pt x="29" y="3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1" y="27"/>
                      <a:pt x="30" y="25"/>
                      <a:pt x="30" y="22"/>
                    </a:cubicBezTo>
                    <a:cubicBezTo>
                      <a:pt x="30" y="19"/>
                      <a:pt x="31" y="17"/>
                      <a:pt x="32" y="15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5" name="Freeform 81"/>
              <p:cNvSpPr>
                <a:spLocks noChangeAspect="1" noEditPoints="1"/>
              </p:cNvSpPr>
              <p:nvPr/>
            </p:nvSpPr>
            <p:spPr bwMode="auto">
              <a:xfrm>
                <a:off x="1608" y="1896"/>
                <a:ext cx="196" cy="440"/>
              </a:xfrm>
              <a:custGeom>
                <a:avLst/>
                <a:gdLst>
                  <a:gd name="T0" fmla="*/ 0 w 98"/>
                  <a:gd name="T1" fmla="*/ 1603765 h 220"/>
                  <a:gd name="T2" fmla="*/ 401408 w 98"/>
                  <a:gd name="T3" fmla="*/ 1856093 h 220"/>
                  <a:gd name="T4" fmla="*/ 802816 w 98"/>
                  <a:gd name="T5" fmla="*/ 1603765 h 220"/>
                  <a:gd name="T6" fmla="*/ 401408 w 98"/>
                  <a:gd name="T7" fmla="*/ 0 h 220"/>
                  <a:gd name="T8" fmla="*/ 0 w 98"/>
                  <a:gd name="T9" fmla="*/ 1603765 h 220"/>
                  <a:gd name="T10" fmla="*/ 401408 w 98"/>
                  <a:gd name="T11" fmla="*/ 142533 h 220"/>
                  <a:gd name="T12" fmla="*/ 761856 w 98"/>
                  <a:gd name="T13" fmla="*/ 1587101 h 220"/>
                  <a:gd name="T14" fmla="*/ 401408 w 98"/>
                  <a:gd name="T15" fmla="*/ 1814436 h 220"/>
                  <a:gd name="T16" fmla="*/ 40960 w 98"/>
                  <a:gd name="T17" fmla="*/ 1587101 h 220"/>
                  <a:gd name="T18" fmla="*/ 401408 w 98"/>
                  <a:gd name="T19" fmla="*/ 142533 h 2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8"/>
                  <a:gd name="T31" fmla="*/ 0 h 220"/>
                  <a:gd name="T32" fmla="*/ 98 w 98"/>
                  <a:gd name="T33" fmla="*/ 220 h 2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8" h="220">
                    <a:moveTo>
                      <a:pt x="0" y="190"/>
                    </a:moveTo>
                    <a:cubicBezTo>
                      <a:pt x="49" y="220"/>
                      <a:pt x="49" y="220"/>
                      <a:pt x="49" y="220"/>
                    </a:cubicBezTo>
                    <a:cubicBezTo>
                      <a:pt x="98" y="190"/>
                      <a:pt x="98" y="190"/>
                      <a:pt x="98" y="190"/>
                    </a:cubicBezTo>
                    <a:cubicBezTo>
                      <a:pt x="49" y="0"/>
                      <a:pt x="49" y="0"/>
                      <a:pt x="49" y="0"/>
                    </a:cubicBezTo>
                    <a:lnTo>
                      <a:pt x="0" y="190"/>
                    </a:lnTo>
                    <a:close/>
                    <a:moveTo>
                      <a:pt x="49" y="17"/>
                    </a:moveTo>
                    <a:cubicBezTo>
                      <a:pt x="53" y="32"/>
                      <a:pt x="92" y="185"/>
                      <a:pt x="93" y="188"/>
                    </a:cubicBezTo>
                    <a:cubicBezTo>
                      <a:pt x="91" y="189"/>
                      <a:pt x="51" y="214"/>
                      <a:pt x="49" y="215"/>
                    </a:cubicBezTo>
                    <a:cubicBezTo>
                      <a:pt x="47" y="214"/>
                      <a:pt x="8" y="189"/>
                      <a:pt x="5" y="188"/>
                    </a:cubicBezTo>
                    <a:cubicBezTo>
                      <a:pt x="6" y="185"/>
                      <a:pt x="45" y="32"/>
                      <a:pt x="49" y="17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6" name="Freeform 82"/>
              <p:cNvSpPr>
                <a:spLocks noChangeAspect="1"/>
              </p:cNvSpPr>
              <p:nvPr/>
            </p:nvSpPr>
            <p:spPr bwMode="auto">
              <a:xfrm>
                <a:off x="1666" y="2062"/>
                <a:ext cx="80" cy="29"/>
              </a:xfrm>
              <a:custGeom>
                <a:avLst/>
                <a:gdLst>
                  <a:gd name="T0" fmla="*/ 0 w 40"/>
                  <a:gd name="T1" fmla="*/ 16384 h 14"/>
                  <a:gd name="T2" fmla="*/ 163840 w 40"/>
                  <a:gd name="T3" fmla="*/ 114688 h 14"/>
                  <a:gd name="T4" fmla="*/ 327680 w 40"/>
                  <a:gd name="T5" fmla="*/ 16384 h 14"/>
                  <a:gd name="T6" fmla="*/ 319488 w 40"/>
                  <a:gd name="T7" fmla="*/ 0 h 14"/>
                  <a:gd name="T8" fmla="*/ 163840 w 40"/>
                  <a:gd name="T9" fmla="*/ 90112 h 14"/>
                  <a:gd name="T10" fmla="*/ 16384 w 40"/>
                  <a:gd name="T11" fmla="*/ 0 h 14"/>
                  <a:gd name="T12" fmla="*/ 0 w 40"/>
                  <a:gd name="T13" fmla="*/ 1638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0"/>
                  <a:gd name="T22" fmla="*/ 0 h 14"/>
                  <a:gd name="T23" fmla="*/ 40 w 4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0" h="14">
                    <a:moveTo>
                      <a:pt x="0" y="2"/>
                    </a:moveTo>
                    <a:cubicBezTo>
                      <a:pt x="20" y="14"/>
                      <a:pt x="20" y="14"/>
                      <a:pt x="20" y="1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21" y="11"/>
                      <a:pt x="20" y="11"/>
                    </a:cubicBezTo>
                    <a:cubicBezTo>
                      <a:pt x="19" y="1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7" name="Freeform 83"/>
              <p:cNvSpPr>
                <a:spLocks noChangeAspect="1"/>
              </p:cNvSpPr>
              <p:nvPr/>
            </p:nvSpPr>
            <p:spPr bwMode="auto">
              <a:xfrm>
                <a:off x="1680" y="2003"/>
                <a:ext cx="53" cy="24"/>
              </a:xfrm>
              <a:custGeom>
                <a:avLst/>
                <a:gdLst>
                  <a:gd name="T0" fmla="*/ 0 w 26"/>
                  <a:gd name="T1" fmla="*/ 24576 h 11"/>
                  <a:gd name="T2" fmla="*/ 106496 w 26"/>
                  <a:gd name="T3" fmla="*/ 90112 h 11"/>
                  <a:gd name="T4" fmla="*/ 212992 w 26"/>
                  <a:gd name="T5" fmla="*/ 24576 h 11"/>
                  <a:gd name="T6" fmla="*/ 204800 w 26"/>
                  <a:gd name="T7" fmla="*/ 0 h 11"/>
                  <a:gd name="T8" fmla="*/ 106496 w 26"/>
                  <a:gd name="T9" fmla="*/ 65536 h 11"/>
                  <a:gd name="T10" fmla="*/ 16384 w 26"/>
                  <a:gd name="T11" fmla="*/ 0 h 11"/>
                  <a:gd name="T12" fmla="*/ 0 w 26"/>
                  <a:gd name="T13" fmla="*/ 24576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11"/>
                  <a:gd name="T23" fmla="*/ 26 w 2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11">
                    <a:moveTo>
                      <a:pt x="0" y="3"/>
                    </a:moveTo>
                    <a:cubicBezTo>
                      <a:pt x="13" y="11"/>
                      <a:pt x="13" y="11"/>
                      <a:pt x="13" y="1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14" y="7"/>
                      <a:pt x="13" y="8"/>
                    </a:cubicBezTo>
                    <a:cubicBezTo>
                      <a:pt x="12" y="7"/>
                      <a:pt x="2" y="0"/>
                      <a:pt x="2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8" name="Rectangle 84"/>
              <p:cNvSpPr>
                <a:spLocks noChangeAspect="1" noChangeArrowheads="1"/>
              </p:cNvSpPr>
              <p:nvPr/>
            </p:nvSpPr>
            <p:spPr bwMode="auto">
              <a:xfrm>
                <a:off x="1702" y="1916"/>
                <a:ext cx="7" cy="416"/>
              </a:xfrm>
              <a:prstGeom prst="rect">
                <a:avLst/>
              </a:prstGeom>
              <a:solidFill>
                <a:srgbClr val="61799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19" name="Freeform 85"/>
              <p:cNvSpPr>
                <a:spLocks noChangeAspect="1" noEditPoints="1"/>
              </p:cNvSpPr>
              <p:nvPr/>
            </p:nvSpPr>
            <p:spPr bwMode="auto">
              <a:xfrm>
                <a:off x="1636" y="2016"/>
                <a:ext cx="142" cy="316"/>
              </a:xfrm>
              <a:custGeom>
                <a:avLst/>
                <a:gdLst>
                  <a:gd name="T0" fmla="*/ 131072 w 70"/>
                  <a:gd name="T1" fmla="*/ 195346 h 158"/>
                  <a:gd name="T2" fmla="*/ 270336 w 70"/>
                  <a:gd name="T3" fmla="*/ 570574 h 158"/>
                  <a:gd name="T4" fmla="*/ 0 w 70"/>
                  <a:gd name="T5" fmla="*/ 693203 h 158"/>
                  <a:gd name="T6" fmla="*/ 294912 w 70"/>
                  <a:gd name="T7" fmla="*/ 1348538 h 158"/>
                  <a:gd name="T8" fmla="*/ 573440 w 70"/>
                  <a:gd name="T9" fmla="*/ 701563 h 158"/>
                  <a:gd name="T10" fmla="*/ 303104 w 70"/>
                  <a:gd name="T11" fmla="*/ 587802 h 158"/>
                  <a:gd name="T12" fmla="*/ 450560 w 70"/>
                  <a:gd name="T13" fmla="*/ 203779 h 158"/>
                  <a:gd name="T14" fmla="*/ 286720 w 70"/>
                  <a:gd name="T15" fmla="*/ 0 h 158"/>
                  <a:gd name="T16" fmla="*/ 131072 w 70"/>
                  <a:gd name="T17" fmla="*/ 195346 h 158"/>
                  <a:gd name="T18" fmla="*/ 286720 w 70"/>
                  <a:gd name="T19" fmla="*/ 33652 h 158"/>
                  <a:gd name="T20" fmla="*/ 425984 w 70"/>
                  <a:gd name="T21" fmla="*/ 203779 h 158"/>
                  <a:gd name="T22" fmla="*/ 286720 w 70"/>
                  <a:gd name="T23" fmla="*/ 570574 h 158"/>
                  <a:gd name="T24" fmla="*/ 147456 w 70"/>
                  <a:gd name="T25" fmla="*/ 203779 h 158"/>
                  <a:gd name="T26" fmla="*/ 286720 w 70"/>
                  <a:gd name="T27" fmla="*/ 33652 h 158"/>
                  <a:gd name="T28" fmla="*/ 278528 w 70"/>
                  <a:gd name="T29" fmla="*/ 587802 h 158"/>
                  <a:gd name="T30" fmla="*/ 278528 w 70"/>
                  <a:gd name="T31" fmla="*/ 596223 h 158"/>
                  <a:gd name="T32" fmla="*/ 548864 w 70"/>
                  <a:gd name="T33" fmla="*/ 710166 h 158"/>
                  <a:gd name="T34" fmla="*/ 294912 w 70"/>
                  <a:gd name="T35" fmla="*/ 1306389 h 158"/>
                  <a:gd name="T36" fmla="*/ 24576 w 70"/>
                  <a:gd name="T37" fmla="*/ 701563 h 158"/>
                  <a:gd name="T38" fmla="*/ 278528 w 70"/>
                  <a:gd name="T39" fmla="*/ 587802 h 1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0"/>
                  <a:gd name="T61" fmla="*/ 0 h 158"/>
                  <a:gd name="T62" fmla="*/ 70 w 70"/>
                  <a:gd name="T63" fmla="*/ 158 h 15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0" h="158">
                    <a:moveTo>
                      <a:pt x="16" y="23"/>
                    </a:moveTo>
                    <a:cubicBezTo>
                      <a:pt x="16" y="23"/>
                      <a:pt x="32" y="65"/>
                      <a:pt x="33" y="67"/>
                    </a:cubicBezTo>
                    <a:cubicBezTo>
                      <a:pt x="31" y="68"/>
                      <a:pt x="0" y="81"/>
                      <a:pt x="0" y="81"/>
                    </a:cubicBezTo>
                    <a:cubicBezTo>
                      <a:pt x="36" y="158"/>
                      <a:pt x="36" y="158"/>
                      <a:pt x="36" y="158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70" y="82"/>
                      <a:pt x="39" y="69"/>
                      <a:pt x="37" y="69"/>
                    </a:cubicBezTo>
                    <a:cubicBezTo>
                      <a:pt x="37" y="67"/>
                      <a:pt x="55" y="24"/>
                      <a:pt x="55" y="24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16" y="23"/>
                    </a:lnTo>
                    <a:close/>
                    <a:moveTo>
                      <a:pt x="35" y="4"/>
                    </a:moveTo>
                    <a:cubicBezTo>
                      <a:pt x="37" y="6"/>
                      <a:pt x="52" y="23"/>
                      <a:pt x="52" y="24"/>
                    </a:cubicBezTo>
                    <a:cubicBezTo>
                      <a:pt x="52" y="25"/>
                      <a:pt x="37" y="63"/>
                      <a:pt x="35" y="67"/>
                    </a:cubicBezTo>
                    <a:cubicBezTo>
                      <a:pt x="35" y="65"/>
                      <a:pt x="19" y="25"/>
                      <a:pt x="18" y="24"/>
                    </a:cubicBezTo>
                    <a:cubicBezTo>
                      <a:pt x="19" y="23"/>
                      <a:pt x="34" y="6"/>
                      <a:pt x="35" y="4"/>
                    </a:cubicBezTo>
                    <a:close/>
                    <a:moveTo>
                      <a:pt x="34" y="69"/>
                    </a:moveTo>
                    <a:cubicBezTo>
                      <a:pt x="34" y="69"/>
                      <a:pt x="34" y="70"/>
                      <a:pt x="34" y="70"/>
                    </a:cubicBezTo>
                    <a:cubicBezTo>
                      <a:pt x="34" y="70"/>
                      <a:pt x="65" y="82"/>
                      <a:pt x="67" y="83"/>
                    </a:cubicBezTo>
                    <a:cubicBezTo>
                      <a:pt x="66" y="85"/>
                      <a:pt x="37" y="149"/>
                      <a:pt x="36" y="153"/>
                    </a:cubicBezTo>
                    <a:cubicBezTo>
                      <a:pt x="34" y="149"/>
                      <a:pt x="4" y="84"/>
                      <a:pt x="3" y="82"/>
                    </a:cubicBezTo>
                    <a:cubicBezTo>
                      <a:pt x="5" y="82"/>
                      <a:pt x="33" y="69"/>
                      <a:pt x="34" y="69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0" name="Freeform 86"/>
              <p:cNvSpPr>
                <a:spLocks noChangeAspect="1"/>
              </p:cNvSpPr>
              <p:nvPr/>
            </p:nvSpPr>
            <p:spPr bwMode="auto">
              <a:xfrm>
                <a:off x="1720" y="1935"/>
                <a:ext cx="33" cy="68"/>
              </a:xfrm>
              <a:custGeom>
                <a:avLst/>
                <a:gdLst>
                  <a:gd name="T0" fmla="*/ 73728 w 16"/>
                  <a:gd name="T1" fmla="*/ 0 h 34"/>
                  <a:gd name="T2" fmla="*/ 8192 w 16"/>
                  <a:gd name="T3" fmla="*/ 155648 h 34"/>
                  <a:gd name="T4" fmla="*/ 131072 w 16"/>
                  <a:gd name="T5" fmla="*/ 278528 h 34"/>
                  <a:gd name="T6" fmla="*/ 73728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9" y="0"/>
                    </a:moveTo>
                    <a:cubicBezTo>
                      <a:pt x="3" y="4"/>
                      <a:pt x="0" y="11"/>
                      <a:pt x="1" y="19"/>
                    </a:cubicBezTo>
                    <a:cubicBezTo>
                      <a:pt x="3" y="27"/>
                      <a:pt x="9" y="33"/>
                      <a:pt x="16" y="34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1" name="Freeform 87"/>
              <p:cNvSpPr>
                <a:spLocks noChangeAspect="1"/>
              </p:cNvSpPr>
              <p:nvPr/>
            </p:nvSpPr>
            <p:spPr bwMode="auto">
              <a:xfrm>
                <a:off x="1662" y="1935"/>
                <a:ext cx="31" cy="68"/>
              </a:xfrm>
              <a:custGeom>
                <a:avLst/>
                <a:gdLst>
                  <a:gd name="T0" fmla="*/ 49152 w 16"/>
                  <a:gd name="T1" fmla="*/ 0 h 34"/>
                  <a:gd name="T2" fmla="*/ 114688 w 16"/>
                  <a:gd name="T3" fmla="*/ 155648 h 34"/>
                  <a:gd name="T4" fmla="*/ 0 w 16"/>
                  <a:gd name="T5" fmla="*/ 278528 h 34"/>
                  <a:gd name="T6" fmla="*/ 49152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6" y="0"/>
                    </a:moveTo>
                    <a:cubicBezTo>
                      <a:pt x="12" y="4"/>
                      <a:pt x="16" y="11"/>
                      <a:pt x="14" y="19"/>
                    </a:cubicBezTo>
                    <a:cubicBezTo>
                      <a:pt x="13" y="27"/>
                      <a:pt x="7" y="33"/>
                      <a:pt x="0" y="34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pic>
          <p:nvPicPr>
            <p:cNvPr id="410" name="Picture 89" descr="图片86"/>
            <p:cNvPicPr>
              <a:picLocks noChangeAspect="1" noChangeArrowheads="1"/>
            </p:cNvPicPr>
            <p:nvPr/>
          </p:nvPicPr>
          <p:blipFill>
            <a:blip r:embed="rId27" cstate="email"/>
            <a:srcRect/>
            <a:stretch>
              <a:fillRect/>
            </a:stretch>
          </p:blipFill>
          <p:spPr bwMode="auto">
            <a:xfrm>
              <a:off x="1011644" y="979356"/>
              <a:ext cx="314325" cy="277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75" name="组合 14"/>
          <p:cNvGrpSpPr>
            <a:grpSpLocks noChangeAspect="1"/>
          </p:cNvGrpSpPr>
          <p:nvPr/>
        </p:nvGrpSpPr>
        <p:grpSpPr>
          <a:xfrm>
            <a:off x="2296473" y="2418948"/>
            <a:ext cx="328059" cy="472060"/>
            <a:chOff x="976453" y="979356"/>
            <a:chExt cx="349516" cy="562900"/>
          </a:xfrm>
        </p:grpSpPr>
        <p:grpSp>
          <p:nvGrpSpPr>
            <p:cNvPr id="76" name="Group 76"/>
            <p:cNvGrpSpPr>
              <a:grpSpLocks noChangeAspect="1"/>
            </p:cNvGrpSpPr>
            <p:nvPr/>
          </p:nvGrpSpPr>
          <p:grpSpPr bwMode="auto">
            <a:xfrm>
              <a:off x="976461" y="1061237"/>
              <a:ext cx="263526" cy="481010"/>
              <a:chOff x="1608" y="1821"/>
              <a:chExt cx="196" cy="515"/>
            </a:xfrm>
          </p:grpSpPr>
          <p:sp>
            <p:nvSpPr>
              <p:cNvPr id="425" name="Freeform 77"/>
              <p:cNvSpPr>
                <a:spLocks noChangeAspect="1"/>
              </p:cNvSpPr>
              <p:nvPr/>
            </p:nvSpPr>
            <p:spPr bwMode="auto">
              <a:xfrm>
                <a:off x="1634" y="2176"/>
                <a:ext cx="143" cy="49"/>
              </a:xfrm>
              <a:custGeom>
                <a:avLst/>
                <a:gdLst>
                  <a:gd name="T0" fmla="*/ 0 w 72"/>
                  <a:gd name="T1" fmla="*/ 16384 h 24"/>
                  <a:gd name="T2" fmla="*/ 294912 w 72"/>
                  <a:gd name="T3" fmla="*/ 196608 h 24"/>
                  <a:gd name="T4" fmla="*/ 589824 w 72"/>
                  <a:gd name="T5" fmla="*/ 16384 h 24"/>
                  <a:gd name="T6" fmla="*/ 581632 w 72"/>
                  <a:gd name="T7" fmla="*/ 0 h 24"/>
                  <a:gd name="T8" fmla="*/ 294912 w 72"/>
                  <a:gd name="T9" fmla="*/ 180224 h 24"/>
                  <a:gd name="T10" fmla="*/ 16384 w 72"/>
                  <a:gd name="T11" fmla="*/ 0 h 24"/>
                  <a:gd name="T12" fmla="*/ 0 w 72"/>
                  <a:gd name="T13" fmla="*/ 1638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2"/>
                  <a:gd name="T22" fmla="*/ 0 h 24"/>
                  <a:gd name="T23" fmla="*/ 72 w 7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2" h="24">
                    <a:moveTo>
                      <a:pt x="0" y="2"/>
                    </a:moveTo>
                    <a:cubicBezTo>
                      <a:pt x="36" y="24"/>
                      <a:pt x="36" y="24"/>
                      <a:pt x="36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1" y="0"/>
                      <a:pt x="37" y="21"/>
                      <a:pt x="36" y="22"/>
                    </a:cubicBezTo>
                    <a:cubicBezTo>
                      <a:pt x="35" y="2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6" name="Freeform 78"/>
              <p:cNvSpPr>
                <a:spLocks noChangeAspect="1"/>
              </p:cNvSpPr>
              <p:nvPr/>
            </p:nvSpPr>
            <p:spPr bwMode="auto">
              <a:xfrm>
                <a:off x="1652" y="2122"/>
                <a:ext cx="111" cy="36"/>
              </a:xfrm>
              <a:custGeom>
                <a:avLst/>
                <a:gdLst>
                  <a:gd name="T0" fmla="*/ 0 w 55"/>
                  <a:gd name="T1" fmla="*/ 21466 h 19"/>
                  <a:gd name="T2" fmla="*/ 221184 w 55"/>
                  <a:gd name="T3" fmla="*/ 218008 h 19"/>
                  <a:gd name="T4" fmla="*/ 450560 w 55"/>
                  <a:gd name="T5" fmla="*/ 21466 h 19"/>
                  <a:gd name="T6" fmla="*/ 434176 w 55"/>
                  <a:gd name="T7" fmla="*/ 0 h 19"/>
                  <a:gd name="T8" fmla="*/ 221184 w 55"/>
                  <a:gd name="T9" fmla="*/ 185646 h 19"/>
                  <a:gd name="T10" fmla="*/ 8192 w 55"/>
                  <a:gd name="T11" fmla="*/ 0 h 19"/>
                  <a:gd name="T12" fmla="*/ 0 w 55"/>
                  <a:gd name="T13" fmla="*/ 21466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5"/>
                  <a:gd name="T22" fmla="*/ 0 h 19"/>
                  <a:gd name="T23" fmla="*/ 55 w 55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5" h="19">
                    <a:moveTo>
                      <a:pt x="0" y="2"/>
                    </a:moveTo>
                    <a:cubicBezTo>
                      <a:pt x="27" y="19"/>
                      <a:pt x="27" y="19"/>
                      <a:pt x="27" y="19"/>
                    </a:cubicBezTo>
                    <a:cubicBezTo>
                      <a:pt x="55" y="2"/>
                      <a:pt x="55" y="2"/>
                      <a:pt x="55" y="2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28" y="15"/>
                      <a:pt x="27" y="16"/>
                    </a:cubicBezTo>
                    <a:cubicBezTo>
                      <a:pt x="26" y="15"/>
                      <a:pt x="1" y="0"/>
                      <a:pt x="1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7" name="Freeform 79"/>
              <p:cNvSpPr>
                <a:spLocks noChangeAspect="1"/>
              </p:cNvSpPr>
              <p:nvPr/>
            </p:nvSpPr>
            <p:spPr bwMode="auto">
              <a:xfrm>
                <a:off x="1612" y="2222"/>
                <a:ext cx="189" cy="53"/>
              </a:xfrm>
              <a:custGeom>
                <a:avLst/>
                <a:gdLst>
                  <a:gd name="T0" fmla="*/ 0 w 94"/>
                  <a:gd name="T1" fmla="*/ 196608 h 27"/>
                  <a:gd name="T2" fmla="*/ 8192 w 94"/>
                  <a:gd name="T3" fmla="*/ 212992 h 27"/>
                  <a:gd name="T4" fmla="*/ 385024 w 94"/>
                  <a:gd name="T5" fmla="*/ 16384 h 27"/>
                  <a:gd name="T6" fmla="*/ 761856 w 94"/>
                  <a:gd name="T7" fmla="*/ 221184 h 27"/>
                  <a:gd name="T8" fmla="*/ 770048 w 94"/>
                  <a:gd name="T9" fmla="*/ 204800 h 27"/>
                  <a:gd name="T10" fmla="*/ 385024 w 94"/>
                  <a:gd name="T11" fmla="*/ 0 h 27"/>
                  <a:gd name="T12" fmla="*/ 0 w 94"/>
                  <a:gd name="T13" fmla="*/ 196608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4"/>
                  <a:gd name="T22" fmla="*/ 0 h 27"/>
                  <a:gd name="T23" fmla="*/ 94 w 94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4" h="27">
                    <a:moveTo>
                      <a:pt x="0" y="24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46" y="3"/>
                      <a:pt x="47" y="2"/>
                    </a:cubicBezTo>
                    <a:cubicBezTo>
                      <a:pt x="48" y="3"/>
                      <a:pt x="93" y="27"/>
                      <a:pt x="93" y="27"/>
                    </a:cubicBezTo>
                    <a:cubicBezTo>
                      <a:pt x="94" y="25"/>
                      <a:pt x="94" y="25"/>
                      <a:pt x="94" y="25"/>
                    </a:cubicBezTo>
                    <a:cubicBezTo>
                      <a:pt x="47" y="0"/>
                      <a:pt x="47" y="0"/>
                      <a:pt x="47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8" name="Freeform 80"/>
              <p:cNvSpPr>
                <a:spLocks noChangeAspect="1" noEditPoints="1"/>
              </p:cNvSpPr>
              <p:nvPr/>
            </p:nvSpPr>
            <p:spPr bwMode="auto">
              <a:xfrm>
                <a:off x="1614" y="1821"/>
                <a:ext cx="182" cy="90"/>
              </a:xfrm>
              <a:custGeom>
                <a:avLst/>
                <a:gdLst>
                  <a:gd name="T0" fmla="*/ 581632 w 92"/>
                  <a:gd name="T1" fmla="*/ 65536 h 45"/>
                  <a:gd name="T2" fmla="*/ 606208 w 92"/>
                  <a:gd name="T3" fmla="*/ 180224 h 45"/>
                  <a:gd name="T4" fmla="*/ 573440 w 92"/>
                  <a:gd name="T5" fmla="*/ 294912 h 45"/>
                  <a:gd name="T6" fmla="*/ 598016 w 92"/>
                  <a:gd name="T7" fmla="*/ 311296 h 45"/>
                  <a:gd name="T8" fmla="*/ 638976 w 92"/>
                  <a:gd name="T9" fmla="*/ 180224 h 45"/>
                  <a:gd name="T10" fmla="*/ 606208 w 92"/>
                  <a:gd name="T11" fmla="*/ 49152 h 45"/>
                  <a:gd name="T12" fmla="*/ 581632 w 92"/>
                  <a:gd name="T13" fmla="*/ 65536 h 45"/>
                  <a:gd name="T14" fmla="*/ 704512 w 92"/>
                  <a:gd name="T15" fmla="*/ 0 h 45"/>
                  <a:gd name="T16" fmla="*/ 679936 w 92"/>
                  <a:gd name="T17" fmla="*/ 8192 h 45"/>
                  <a:gd name="T18" fmla="*/ 720896 w 92"/>
                  <a:gd name="T19" fmla="*/ 180224 h 45"/>
                  <a:gd name="T20" fmla="*/ 671744 w 92"/>
                  <a:gd name="T21" fmla="*/ 352256 h 45"/>
                  <a:gd name="T22" fmla="*/ 696320 w 92"/>
                  <a:gd name="T23" fmla="*/ 368640 h 45"/>
                  <a:gd name="T24" fmla="*/ 753664 w 92"/>
                  <a:gd name="T25" fmla="*/ 180224 h 45"/>
                  <a:gd name="T26" fmla="*/ 704512 w 92"/>
                  <a:gd name="T27" fmla="*/ 0 h 45"/>
                  <a:gd name="T28" fmla="*/ 73728 w 92"/>
                  <a:gd name="T29" fmla="*/ 8192 h 45"/>
                  <a:gd name="T30" fmla="*/ 49152 w 92"/>
                  <a:gd name="T31" fmla="*/ 0 h 45"/>
                  <a:gd name="T32" fmla="*/ 0 w 92"/>
                  <a:gd name="T33" fmla="*/ 180224 h 45"/>
                  <a:gd name="T34" fmla="*/ 49152 w 92"/>
                  <a:gd name="T35" fmla="*/ 368640 h 45"/>
                  <a:gd name="T36" fmla="*/ 81920 w 92"/>
                  <a:gd name="T37" fmla="*/ 352256 h 45"/>
                  <a:gd name="T38" fmla="*/ 32768 w 92"/>
                  <a:gd name="T39" fmla="*/ 180224 h 45"/>
                  <a:gd name="T40" fmla="*/ 73728 w 92"/>
                  <a:gd name="T41" fmla="*/ 8192 h 45"/>
                  <a:gd name="T42" fmla="*/ 172032 w 92"/>
                  <a:gd name="T43" fmla="*/ 65536 h 45"/>
                  <a:gd name="T44" fmla="*/ 147456 w 92"/>
                  <a:gd name="T45" fmla="*/ 49152 h 45"/>
                  <a:gd name="T46" fmla="*/ 114688 w 92"/>
                  <a:gd name="T47" fmla="*/ 180224 h 45"/>
                  <a:gd name="T48" fmla="*/ 147456 w 92"/>
                  <a:gd name="T49" fmla="*/ 311296 h 45"/>
                  <a:gd name="T50" fmla="*/ 180224 w 92"/>
                  <a:gd name="T51" fmla="*/ 294912 h 45"/>
                  <a:gd name="T52" fmla="*/ 147456 w 92"/>
                  <a:gd name="T53" fmla="*/ 180224 h 45"/>
                  <a:gd name="T54" fmla="*/ 172032 w 92"/>
                  <a:gd name="T55" fmla="*/ 65536 h 45"/>
                  <a:gd name="T56" fmla="*/ 483328 w 92"/>
                  <a:gd name="T57" fmla="*/ 122880 h 45"/>
                  <a:gd name="T58" fmla="*/ 499712 w 92"/>
                  <a:gd name="T59" fmla="*/ 180224 h 45"/>
                  <a:gd name="T60" fmla="*/ 483328 w 92"/>
                  <a:gd name="T61" fmla="*/ 245760 h 45"/>
                  <a:gd name="T62" fmla="*/ 507904 w 92"/>
                  <a:gd name="T63" fmla="*/ 262144 h 45"/>
                  <a:gd name="T64" fmla="*/ 532480 w 92"/>
                  <a:gd name="T65" fmla="*/ 180224 h 45"/>
                  <a:gd name="T66" fmla="*/ 516096 w 92"/>
                  <a:gd name="T67" fmla="*/ 98304 h 45"/>
                  <a:gd name="T68" fmla="*/ 483328 w 92"/>
                  <a:gd name="T69" fmla="*/ 122880 h 45"/>
                  <a:gd name="T70" fmla="*/ 262144 w 92"/>
                  <a:gd name="T71" fmla="*/ 122880 h 45"/>
                  <a:gd name="T72" fmla="*/ 237568 w 92"/>
                  <a:gd name="T73" fmla="*/ 98304 h 45"/>
                  <a:gd name="T74" fmla="*/ 212992 w 92"/>
                  <a:gd name="T75" fmla="*/ 180224 h 45"/>
                  <a:gd name="T76" fmla="*/ 237568 w 92"/>
                  <a:gd name="T77" fmla="*/ 262144 h 45"/>
                  <a:gd name="T78" fmla="*/ 270336 w 92"/>
                  <a:gd name="T79" fmla="*/ 245760 h 45"/>
                  <a:gd name="T80" fmla="*/ 245760 w 92"/>
                  <a:gd name="T81" fmla="*/ 180224 h 45"/>
                  <a:gd name="T82" fmla="*/ 262144 w 92"/>
                  <a:gd name="T83" fmla="*/ 122880 h 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2"/>
                  <a:gd name="T127" fmla="*/ 0 h 45"/>
                  <a:gd name="T128" fmla="*/ 92 w 92"/>
                  <a:gd name="T129" fmla="*/ 45 h 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2" h="45">
                    <a:moveTo>
                      <a:pt x="71" y="8"/>
                    </a:moveTo>
                    <a:cubicBezTo>
                      <a:pt x="73" y="12"/>
                      <a:pt x="74" y="17"/>
                      <a:pt x="74" y="22"/>
                    </a:cubicBezTo>
                    <a:cubicBezTo>
                      <a:pt x="74" y="27"/>
                      <a:pt x="73" y="32"/>
                      <a:pt x="70" y="36"/>
                    </a:cubicBezTo>
                    <a:cubicBezTo>
                      <a:pt x="73" y="38"/>
                      <a:pt x="73" y="38"/>
                      <a:pt x="73" y="38"/>
                    </a:cubicBezTo>
                    <a:cubicBezTo>
                      <a:pt x="76" y="33"/>
                      <a:pt x="78" y="28"/>
                      <a:pt x="78" y="22"/>
                    </a:cubicBezTo>
                    <a:cubicBezTo>
                      <a:pt x="78" y="16"/>
                      <a:pt x="77" y="11"/>
                      <a:pt x="74" y="6"/>
                    </a:cubicBezTo>
                    <a:lnTo>
                      <a:pt x="71" y="8"/>
                    </a:lnTo>
                    <a:close/>
                    <a:moveTo>
                      <a:pt x="86" y="0"/>
                    </a:moveTo>
                    <a:cubicBezTo>
                      <a:pt x="83" y="1"/>
                      <a:pt x="83" y="1"/>
                      <a:pt x="83" y="1"/>
                    </a:cubicBezTo>
                    <a:cubicBezTo>
                      <a:pt x="86" y="7"/>
                      <a:pt x="88" y="14"/>
                      <a:pt x="88" y="22"/>
                    </a:cubicBezTo>
                    <a:cubicBezTo>
                      <a:pt x="88" y="29"/>
                      <a:pt x="86" y="37"/>
                      <a:pt x="82" y="43"/>
                    </a:cubicBezTo>
                    <a:cubicBezTo>
                      <a:pt x="85" y="45"/>
                      <a:pt x="85" y="45"/>
                      <a:pt x="85" y="45"/>
                    </a:cubicBezTo>
                    <a:cubicBezTo>
                      <a:pt x="89" y="38"/>
                      <a:pt x="92" y="30"/>
                      <a:pt x="92" y="22"/>
                    </a:cubicBezTo>
                    <a:cubicBezTo>
                      <a:pt x="92" y="14"/>
                      <a:pt x="90" y="6"/>
                      <a:pt x="86" y="0"/>
                    </a:cubicBezTo>
                    <a:close/>
                    <a:moveTo>
                      <a:pt x="9" y="1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6"/>
                      <a:pt x="0" y="14"/>
                      <a:pt x="0" y="22"/>
                    </a:cubicBezTo>
                    <a:cubicBezTo>
                      <a:pt x="0" y="30"/>
                      <a:pt x="2" y="38"/>
                      <a:pt x="6" y="45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6" y="37"/>
                      <a:pt x="4" y="29"/>
                      <a:pt x="4" y="22"/>
                    </a:cubicBezTo>
                    <a:cubicBezTo>
                      <a:pt x="4" y="14"/>
                      <a:pt x="6" y="7"/>
                      <a:pt x="9" y="1"/>
                    </a:cubicBezTo>
                    <a:close/>
                    <a:moveTo>
                      <a:pt x="21" y="8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5" y="11"/>
                      <a:pt x="14" y="16"/>
                      <a:pt x="14" y="22"/>
                    </a:cubicBezTo>
                    <a:cubicBezTo>
                      <a:pt x="14" y="28"/>
                      <a:pt x="15" y="33"/>
                      <a:pt x="18" y="38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2"/>
                      <a:pt x="18" y="27"/>
                      <a:pt x="18" y="22"/>
                    </a:cubicBezTo>
                    <a:cubicBezTo>
                      <a:pt x="18" y="17"/>
                      <a:pt x="19" y="12"/>
                      <a:pt x="21" y="8"/>
                    </a:cubicBezTo>
                    <a:close/>
                    <a:moveTo>
                      <a:pt x="59" y="15"/>
                    </a:moveTo>
                    <a:cubicBezTo>
                      <a:pt x="61" y="17"/>
                      <a:pt x="61" y="19"/>
                      <a:pt x="61" y="22"/>
                    </a:cubicBezTo>
                    <a:cubicBezTo>
                      <a:pt x="61" y="25"/>
                      <a:pt x="60" y="27"/>
                      <a:pt x="59" y="30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4" y="29"/>
                      <a:pt x="65" y="25"/>
                      <a:pt x="65" y="22"/>
                    </a:cubicBezTo>
                    <a:cubicBezTo>
                      <a:pt x="65" y="18"/>
                      <a:pt x="65" y="15"/>
                      <a:pt x="63" y="12"/>
                    </a:cubicBezTo>
                    <a:lnTo>
                      <a:pt x="59" y="15"/>
                    </a:lnTo>
                    <a:close/>
                    <a:moveTo>
                      <a:pt x="32" y="15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27" y="15"/>
                      <a:pt x="26" y="18"/>
                      <a:pt x="26" y="22"/>
                    </a:cubicBezTo>
                    <a:cubicBezTo>
                      <a:pt x="26" y="25"/>
                      <a:pt x="27" y="29"/>
                      <a:pt x="29" y="3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1" y="27"/>
                      <a:pt x="30" y="25"/>
                      <a:pt x="30" y="22"/>
                    </a:cubicBezTo>
                    <a:cubicBezTo>
                      <a:pt x="30" y="19"/>
                      <a:pt x="31" y="17"/>
                      <a:pt x="32" y="15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29" name="Freeform 81"/>
              <p:cNvSpPr>
                <a:spLocks noChangeAspect="1" noEditPoints="1"/>
              </p:cNvSpPr>
              <p:nvPr/>
            </p:nvSpPr>
            <p:spPr bwMode="auto">
              <a:xfrm>
                <a:off x="1608" y="1896"/>
                <a:ext cx="196" cy="440"/>
              </a:xfrm>
              <a:custGeom>
                <a:avLst/>
                <a:gdLst>
                  <a:gd name="T0" fmla="*/ 0 w 98"/>
                  <a:gd name="T1" fmla="*/ 1603765 h 220"/>
                  <a:gd name="T2" fmla="*/ 401408 w 98"/>
                  <a:gd name="T3" fmla="*/ 1856093 h 220"/>
                  <a:gd name="T4" fmla="*/ 802816 w 98"/>
                  <a:gd name="T5" fmla="*/ 1603765 h 220"/>
                  <a:gd name="T6" fmla="*/ 401408 w 98"/>
                  <a:gd name="T7" fmla="*/ 0 h 220"/>
                  <a:gd name="T8" fmla="*/ 0 w 98"/>
                  <a:gd name="T9" fmla="*/ 1603765 h 220"/>
                  <a:gd name="T10" fmla="*/ 401408 w 98"/>
                  <a:gd name="T11" fmla="*/ 142533 h 220"/>
                  <a:gd name="T12" fmla="*/ 761856 w 98"/>
                  <a:gd name="T13" fmla="*/ 1587101 h 220"/>
                  <a:gd name="T14" fmla="*/ 401408 w 98"/>
                  <a:gd name="T15" fmla="*/ 1814436 h 220"/>
                  <a:gd name="T16" fmla="*/ 40960 w 98"/>
                  <a:gd name="T17" fmla="*/ 1587101 h 220"/>
                  <a:gd name="T18" fmla="*/ 401408 w 98"/>
                  <a:gd name="T19" fmla="*/ 142533 h 2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8"/>
                  <a:gd name="T31" fmla="*/ 0 h 220"/>
                  <a:gd name="T32" fmla="*/ 98 w 98"/>
                  <a:gd name="T33" fmla="*/ 220 h 2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8" h="220">
                    <a:moveTo>
                      <a:pt x="0" y="190"/>
                    </a:moveTo>
                    <a:cubicBezTo>
                      <a:pt x="49" y="220"/>
                      <a:pt x="49" y="220"/>
                      <a:pt x="49" y="220"/>
                    </a:cubicBezTo>
                    <a:cubicBezTo>
                      <a:pt x="98" y="190"/>
                      <a:pt x="98" y="190"/>
                      <a:pt x="98" y="190"/>
                    </a:cubicBezTo>
                    <a:cubicBezTo>
                      <a:pt x="49" y="0"/>
                      <a:pt x="49" y="0"/>
                      <a:pt x="49" y="0"/>
                    </a:cubicBezTo>
                    <a:lnTo>
                      <a:pt x="0" y="190"/>
                    </a:lnTo>
                    <a:close/>
                    <a:moveTo>
                      <a:pt x="49" y="17"/>
                    </a:moveTo>
                    <a:cubicBezTo>
                      <a:pt x="53" y="32"/>
                      <a:pt x="92" y="185"/>
                      <a:pt x="93" y="188"/>
                    </a:cubicBezTo>
                    <a:cubicBezTo>
                      <a:pt x="91" y="189"/>
                      <a:pt x="51" y="214"/>
                      <a:pt x="49" y="215"/>
                    </a:cubicBezTo>
                    <a:cubicBezTo>
                      <a:pt x="47" y="214"/>
                      <a:pt x="8" y="189"/>
                      <a:pt x="5" y="188"/>
                    </a:cubicBezTo>
                    <a:cubicBezTo>
                      <a:pt x="6" y="185"/>
                      <a:pt x="45" y="32"/>
                      <a:pt x="49" y="17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0" name="Freeform 82"/>
              <p:cNvSpPr>
                <a:spLocks noChangeAspect="1"/>
              </p:cNvSpPr>
              <p:nvPr/>
            </p:nvSpPr>
            <p:spPr bwMode="auto">
              <a:xfrm>
                <a:off x="1666" y="2062"/>
                <a:ext cx="80" cy="29"/>
              </a:xfrm>
              <a:custGeom>
                <a:avLst/>
                <a:gdLst>
                  <a:gd name="T0" fmla="*/ 0 w 40"/>
                  <a:gd name="T1" fmla="*/ 16384 h 14"/>
                  <a:gd name="T2" fmla="*/ 163840 w 40"/>
                  <a:gd name="T3" fmla="*/ 114688 h 14"/>
                  <a:gd name="T4" fmla="*/ 327680 w 40"/>
                  <a:gd name="T5" fmla="*/ 16384 h 14"/>
                  <a:gd name="T6" fmla="*/ 319488 w 40"/>
                  <a:gd name="T7" fmla="*/ 0 h 14"/>
                  <a:gd name="T8" fmla="*/ 163840 w 40"/>
                  <a:gd name="T9" fmla="*/ 90112 h 14"/>
                  <a:gd name="T10" fmla="*/ 16384 w 40"/>
                  <a:gd name="T11" fmla="*/ 0 h 14"/>
                  <a:gd name="T12" fmla="*/ 0 w 40"/>
                  <a:gd name="T13" fmla="*/ 1638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0"/>
                  <a:gd name="T22" fmla="*/ 0 h 14"/>
                  <a:gd name="T23" fmla="*/ 40 w 4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0" h="14">
                    <a:moveTo>
                      <a:pt x="0" y="2"/>
                    </a:moveTo>
                    <a:cubicBezTo>
                      <a:pt x="20" y="14"/>
                      <a:pt x="20" y="14"/>
                      <a:pt x="20" y="1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21" y="11"/>
                      <a:pt x="20" y="11"/>
                    </a:cubicBezTo>
                    <a:cubicBezTo>
                      <a:pt x="19" y="1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1" name="Freeform 83"/>
              <p:cNvSpPr>
                <a:spLocks noChangeAspect="1"/>
              </p:cNvSpPr>
              <p:nvPr/>
            </p:nvSpPr>
            <p:spPr bwMode="auto">
              <a:xfrm>
                <a:off x="1680" y="2003"/>
                <a:ext cx="53" cy="24"/>
              </a:xfrm>
              <a:custGeom>
                <a:avLst/>
                <a:gdLst>
                  <a:gd name="T0" fmla="*/ 0 w 26"/>
                  <a:gd name="T1" fmla="*/ 24576 h 11"/>
                  <a:gd name="T2" fmla="*/ 106496 w 26"/>
                  <a:gd name="T3" fmla="*/ 90112 h 11"/>
                  <a:gd name="T4" fmla="*/ 212992 w 26"/>
                  <a:gd name="T5" fmla="*/ 24576 h 11"/>
                  <a:gd name="T6" fmla="*/ 204800 w 26"/>
                  <a:gd name="T7" fmla="*/ 0 h 11"/>
                  <a:gd name="T8" fmla="*/ 106496 w 26"/>
                  <a:gd name="T9" fmla="*/ 65536 h 11"/>
                  <a:gd name="T10" fmla="*/ 16384 w 26"/>
                  <a:gd name="T11" fmla="*/ 0 h 11"/>
                  <a:gd name="T12" fmla="*/ 0 w 26"/>
                  <a:gd name="T13" fmla="*/ 24576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11"/>
                  <a:gd name="T23" fmla="*/ 26 w 2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11">
                    <a:moveTo>
                      <a:pt x="0" y="3"/>
                    </a:moveTo>
                    <a:cubicBezTo>
                      <a:pt x="13" y="11"/>
                      <a:pt x="13" y="11"/>
                      <a:pt x="13" y="1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14" y="7"/>
                      <a:pt x="13" y="8"/>
                    </a:cubicBezTo>
                    <a:cubicBezTo>
                      <a:pt x="12" y="7"/>
                      <a:pt x="2" y="0"/>
                      <a:pt x="2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2" name="Rectangle 84"/>
              <p:cNvSpPr>
                <a:spLocks noChangeAspect="1" noChangeArrowheads="1"/>
              </p:cNvSpPr>
              <p:nvPr/>
            </p:nvSpPr>
            <p:spPr bwMode="auto">
              <a:xfrm>
                <a:off x="1702" y="1916"/>
                <a:ext cx="7" cy="416"/>
              </a:xfrm>
              <a:prstGeom prst="rect">
                <a:avLst/>
              </a:prstGeom>
              <a:solidFill>
                <a:srgbClr val="61799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3" name="Freeform 85"/>
              <p:cNvSpPr>
                <a:spLocks noChangeAspect="1" noEditPoints="1"/>
              </p:cNvSpPr>
              <p:nvPr/>
            </p:nvSpPr>
            <p:spPr bwMode="auto">
              <a:xfrm>
                <a:off x="1636" y="2016"/>
                <a:ext cx="142" cy="316"/>
              </a:xfrm>
              <a:custGeom>
                <a:avLst/>
                <a:gdLst>
                  <a:gd name="T0" fmla="*/ 131072 w 70"/>
                  <a:gd name="T1" fmla="*/ 195346 h 158"/>
                  <a:gd name="T2" fmla="*/ 270336 w 70"/>
                  <a:gd name="T3" fmla="*/ 570574 h 158"/>
                  <a:gd name="T4" fmla="*/ 0 w 70"/>
                  <a:gd name="T5" fmla="*/ 693203 h 158"/>
                  <a:gd name="T6" fmla="*/ 294912 w 70"/>
                  <a:gd name="T7" fmla="*/ 1348538 h 158"/>
                  <a:gd name="T8" fmla="*/ 573440 w 70"/>
                  <a:gd name="T9" fmla="*/ 701563 h 158"/>
                  <a:gd name="T10" fmla="*/ 303104 w 70"/>
                  <a:gd name="T11" fmla="*/ 587802 h 158"/>
                  <a:gd name="T12" fmla="*/ 450560 w 70"/>
                  <a:gd name="T13" fmla="*/ 203779 h 158"/>
                  <a:gd name="T14" fmla="*/ 286720 w 70"/>
                  <a:gd name="T15" fmla="*/ 0 h 158"/>
                  <a:gd name="T16" fmla="*/ 131072 w 70"/>
                  <a:gd name="T17" fmla="*/ 195346 h 158"/>
                  <a:gd name="T18" fmla="*/ 286720 w 70"/>
                  <a:gd name="T19" fmla="*/ 33652 h 158"/>
                  <a:gd name="T20" fmla="*/ 425984 w 70"/>
                  <a:gd name="T21" fmla="*/ 203779 h 158"/>
                  <a:gd name="T22" fmla="*/ 286720 w 70"/>
                  <a:gd name="T23" fmla="*/ 570574 h 158"/>
                  <a:gd name="T24" fmla="*/ 147456 w 70"/>
                  <a:gd name="T25" fmla="*/ 203779 h 158"/>
                  <a:gd name="T26" fmla="*/ 286720 w 70"/>
                  <a:gd name="T27" fmla="*/ 33652 h 158"/>
                  <a:gd name="T28" fmla="*/ 278528 w 70"/>
                  <a:gd name="T29" fmla="*/ 587802 h 158"/>
                  <a:gd name="T30" fmla="*/ 278528 w 70"/>
                  <a:gd name="T31" fmla="*/ 596223 h 158"/>
                  <a:gd name="T32" fmla="*/ 548864 w 70"/>
                  <a:gd name="T33" fmla="*/ 710166 h 158"/>
                  <a:gd name="T34" fmla="*/ 294912 w 70"/>
                  <a:gd name="T35" fmla="*/ 1306389 h 158"/>
                  <a:gd name="T36" fmla="*/ 24576 w 70"/>
                  <a:gd name="T37" fmla="*/ 701563 h 158"/>
                  <a:gd name="T38" fmla="*/ 278528 w 70"/>
                  <a:gd name="T39" fmla="*/ 587802 h 1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0"/>
                  <a:gd name="T61" fmla="*/ 0 h 158"/>
                  <a:gd name="T62" fmla="*/ 70 w 70"/>
                  <a:gd name="T63" fmla="*/ 158 h 15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0" h="158">
                    <a:moveTo>
                      <a:pt x="16" y="23"/>
                    </a:moveTo>
                    <a:cubicBezTo>
                      <a:pt x="16" y="23"/>
                      <a:pt x="32" y="65"/>
                      <a:pt x="33" y="67"/>
                    </a:cubicBezTo>
                    <a:cubicBezTo>
                      <a:pt x="31" y="68"/>
                      <a:pt x="0" y="81"/>
                      <a:pt x="0" y="81"/>
                    </a:cubicBezTo>
                    <a:cubicBezTo>
                      <a:pt x="36" y="158"/>
                      <a:pt x="36" y="158"/>
                      <a:pt x="36" y="158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70" y="82"/>
                      <a:pt x="39" y="69"/>
                      <a:pt x="37" y="69"/>
                    </a:cubicBezTo>
                    <a:cubicBezTo>
                      <a:pt x="37" y="67"/>
                      <a:pt x="55" y="24"/>
                      <a:pt x="55" y="24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16" y="23"/>
                    </a:lnTo>
                    <a:close/>
                    <a:moveTo>
                      <a:pt x="35" y="4"/>
                    </a:moveTo>
                    <a:cubicBezTo>
                      <a:pt x="37" y="6"/>
                      <a:pt x="52" y="23"/>
                      <a:pt x="52" y="24"/>
                    </a:cubicBezTo>
                    <a:cubicBezTo>
                      <a:pt x="52" y="25"/>
                      <a:pt x="37" y="63"/>
                      <a:pt x="35" y="67"/>
                    </a:cubicBezTo>
                    <a:cubicBezTo>
                      <a:pt x="35" y="65"/>
                      <a:pt x="19" y="25"/>
                      <a:pt x="18" y="24"/>
                    </a:cubicBezTo>
                    <a:cubicBezTo>
                      <a:pt x="19" y="23"/>
                      <a:pt x="34" y="6"/>
                      <a:pt x="35" y="4"/>
                    </a:cubicBezTo>
                    <a:close/>
                    <a:moveTo>
                      <a:pt x="34" y="69"/>
                    </a:moveTo>
                    <a:cubicBezTo>
                      <a:pt x="34" y="69"/>
                      <a:pt x="34" y="70"/>
                      <a:pt x="34" y="70"/>
                    </a:cubicBezTo>
                    <a:cubicBezTo>
                      <a:pt x="34" y="70"/>
                      <a:pt x="65" y="82"/>
                      <a:pt x="67" y="83"/>
                    </a:cubicBezTo>
                    <a:cubicBezTo>
                      <a:pt x="66" y="85"/>
                      <a:pt x="37" y="149"/>
                      <a:pt x="36" y="153"/>
                    </a:cubicBezTo>
                    <a:cubicBezTo>
                      <a:pt x="34" y="149"/>
                      <a:pt x="4" y="84"/>
                      <a:pt x="3" y="82"/>
                    </a:cubicBezTo>
                    <a:cubicBezTo>
                      <a:pt x="5" y="82"/>
                      <a:pt x="33" y="69"/>
                      <a:pt x="34" y="69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4" name="Freeform 86"/>
              <p:cNvSpPr>
                <a:spLocks noChangeAspect="1"/>
              </p:cNvSpPr>
              <p:nvPr/>
            </p:nvSpPr>
            <p:spPr bwMode="auto">
              <a:xfrm>
                <a:off x="1720" y="1935"/>
                <a:ext cx="33" cy="68"/>
              </a:xfrm>
              <a:custGeom>
                <a:avLst/>
                <a:gdLst>
                  <a:gd name="T0" fmla="*/ 73728 w 16"/>
                  <a:gd name="T1" fmla="*/ 0 h 34"/>
                  <a:gd name="T2" fmla="*/ 8192 w 16"/>
                  <a:gd name="T3" fmla="*/ 155648 h 34"/>
                  <a:gd name="T4" fmla="*/ 131072 w 16"/>
                  <a:gd name="T5" fmla="*/ 278528 h 34"/>
                  <a:gd name="T6" fmla="*/ 73728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9" y="0"/>
                    </a:moveTo>
                    <a:cubicBezTo>
                      <a:pt x="3" y="4"/>
                      <a:pt x="0" y="11"/>
                      <a:pt x="1" y="19"/>
                    </a:cubicBezTo>
                    <a:cubicBezTo>
                      <a:pt x="3" y="27"/>
                      <a:pt x="9" y="33"/>
                      <a:pt x="16" y="34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35" name="Freeform 87"/>
              <p:cNvSpPr>
                <a:spLocks noChangeAspect="1"/>
              </p:cNvSpPr>
              <p:nvPr/>
            </p:nvSpPr>
            <p:spPr bwMode="auto">
              <a:xfrm>
                <a:off x="1662" y="1935"/>
                <a:ext cx="31" cy="68"/>
              </a:xfrm>
              <a:custGeom>
                <a:avLst/>
                <a:gdLst>
                  <a:gd name="T0" fmla="*/ 49152 w 16"/>
                  <a:gd name="T1" fmla="*/ 0 h 34"/>
                  <a:gd name="T2" fmla="*/ 114688 w 16"/>
                  <a:gd name="T3" fmla="*/ 155648 h 34"/>
                  <a:gd name="T4" fmla="*/ 0 w 16"/>
                  <a:gd name="T5" fmla="*/ 278528 h 34"/>
                  <a:gd name="T6" fmla="*/ 49152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6" y="0"/>
                    </a:moveTo>
                    <a:cubicBezTo>
                      <a:pt x="12" y="4"/>
                      <a:pt x="16" y="11"/>
                      <a:pt x="14" y="19"/>
                    </a:cubicBezTo>
                    <a:cubicBezTo>
                      <a:pt x="13" y="27"/>
                      <a:pt x="7" y="33"/>
                      <a:pt x="0" y="34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pic>
          <p:nvPicPr>
            <p:cNvPr id="424" name="Picture 89" descr="图片86"/>
            <p:cNvPicPr>
              <a:picLocks noChangeAspect="1" noChangeArrowheads="1"/>
            </p:cNvPicPr>
            <p:nvPr/>
          </p:nvPicPr>
          <p:blipFill>
            <a:blip r:embed="rId27" cstate="email"/>
            <a:srcRect/>
            <a:stretch>
              <a:fillRect/>
            </a:stretch>
          </p:blipFill>
          <p:spPr bwMode="auto">
            <a:xfrm>
              <a:off x="1011644" y="979356"/>
              <a:ext cx="314325" cy="277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36" name="Freeform 72"/>
          <p:cNvSpPr>
            <a:spLocks/>
          </p:cNvSpPr>
          <p:nvPr/>
        </p:nvSpPr>
        <p:spPr bwMode="auto">
          <a:xfrm rot="19919830">
            <a:off x="3602476" y="2815419"/>
            <a:ext cx="288000" cy="504000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endParaRPr lang="zh-CN" altLang="en-US" sz="200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37" name="Freeform 72"/>
          <p:cNvSpPr>
            <a:spLocks/>
          </p:cNvSpPr>
          <p:nvPr/>
        </p:nvSpPr>
        <p:spPr bwMode="auto">
          <a:xfrm rot="5584486">
            <a:off x="2013020" y="2776373"/>
            <a:ext cx="288000" cy="504000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endParaRPr lang="zh-CN" altLang="en-US" sz="200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3" name="Title 1"/>
          <p:cNvSpPr txBox="1">
            <a:spLocks/>
          </p:cNvSpPr>
          <p:nvPr/>
        </p:nvSpPr>
        <p:spPr>
          <a:xfrm>
            <a:off x="374610" y="339502"/>
            <a:ext cx="8229838" cy="36004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400" b="1" dirty="0" smtClean="0">
                <a:solidFill>
                  <a:srgbClr val="FFC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is part of Huawei Safe City Solution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5" name="119841472"/>
          <p:cNvSpPr/>
          <p:nvPr/>
        </p:nvSpPr>
        <p:spPr>
          <a:xfrm>
            <a:off x="6803225" y="3709833"/>
            <a:ext cx="1658113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b="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Multi-agency Collaboration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6" name="119841472"/>
          <p:cNvSpPr/>
          <p:nvPr/>
        </p:nvSpPr>
        <p:spPr>
          <a:xfrm>
            <a:off x="7744464" y="4415615"/>
            <a:ext cx="409373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b="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CV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7" name="119841472"/>
          <p:cNvSpPr/>
          <p:nvPr/>
        </p:nvSpPr>
        <p:spPr>
          <a:xfrm>
            <a:off x="6592336" y="4357905"/>
            <a:ext cx="984852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eLTE Terminal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sp>
        <p:nvSpPr>
          <p:cNvPr id="478" name="Rectangle 267"/>
          <p:cNvSpPr>
            <a:spLocks noChangeArrowheads="1"/>
          </p:cNvSpPr>
          <p:nvPr/>
        </p:nvSpPr>
        <p:spPr bwMode="auto">
          <a:xfrm>
            <a:off x="1979712" y="2560149"/>
            <a:ext cx="376706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000" kern="0" dirty="0" smtClean="0">
                <a:solidFill>
                  <a:srgbClr val="FFC000"/>
                </a:solidFill>
                <a:latin typeface="Arial" pitchFamily="34" charset="0"/>
                <a:ea typeface="华文细黑"/>
                <a:cs typeface="Arial" pitchFamily="34" charset="0"/>
              </a:rPr>
              <a:t>MW</a:t>
            </a:r>
            <a:endParaRPr kumimoji="0" lang="en-US" altLang="zh-CN" sz="1000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itchFamily="34" charset="0"/>
              <a:ea typeface="华文细黑"/>
              <a:cs typeface="Arial" pitchFamily="34" charset="0"/>
            </a:endParaRPr>
          </a:p>
        </p:txBody>
      </p:sp>
      <p:grpSp>
        <p:nvGrpSpPr>
          <p:cNvPr id="77" name="组合 14"/>
          <p:cNvGrpSpPr>
            <a:grpSpLocks noChangeAspect="1"/>
          </p:cNvGrpSpPr>
          <p:nvPr/>
        </p:nvGrpSpPr>
        <p:grpSpPr>
          <a:xfrm>
            <a:off x="2771870" y="2260449"/>
            <a:ext cx="279488" cy="402169"/>
            <a:chOff x="976453" y="979356"/>
            <a:chExt cx="349516" cy="562900"/>
          </a:xfrm>
        </p:grpSpPr>
        <p:grpSp>
          <p:nvGrpSpPr>
            <p:cNvPr id="78" name="Group 76"/>
            <p:cNvGrpSpPr>
              <a:grpSpLocks noChangeAspect="1"/>
            </p:cNvGrpSpPr>
            <p:nvPr/>
          </p:nvGrpSpPr>
          <p:grpSpPr bwMode="auto">
            <a:xfrm>
              <a:off x="976461" y="1061237"/>
              <a:ext cx="263526" cy="481010"/>
              <a:chOff x="1608" y="1821"/>
              <a:chExt cx="196" cy="515"/>
            </a:xfrm>
          </p:grpSpPr>
          <p:sp>
            <p:nvSpPr>
              <p:cNvPr id="485" name="Freeform 77"/>
              <p:cNvSpPr>
                <a:spLocks noChangeAspect="1"/>
              </p:cNvSpPr>
              <p:nvPr/>
            </p:nvSpPr>
            <p:spPr bwMode="auto">
              <a:xfrm>
                <a:off x="1634" y="2176"/>
                <a:ext cx="143" cy="49"/>
              </a:xfrm>
              <a:custGeom>
                <a:avLst/>
                <a:gdLst>
                  <a:gd name="T0" fmla="*/ 0 w 72"/>
                  <a:gd name="T1" fmla="*/ 16384 h 24"/>
                  <a:gd name="T2" fmla="*/ 294912 w 72"/>
                  <a:gd name="T3" fmla="*/ 196608 h 24"/>
                  <a:gd name="T4" fmla="*/ 589824 w 72"/>
                  <a:gd name="T5" fmla="*/ 16384 h 24"/>
                  <a:gd name="T6" fmla="*/ 581632 w 72"/>
                  <a:gd name="T7" fmla="*/ 0 h 24"/>
                  <a:gd name="T8" fmla="*/ 294912 w 72"/>
                  <a:gd name="T9" fmla="*/ 180224 h 24"/>
                  <a:gd name="T10" fmla="*/ 16384 w 72"/>
                  <a:gd name="T11" fmla="*/ 0 h 24"/>
                  <a:gd name="T12" fmla="*/ 0 w 72"/>
                  <a:gd name="T13" fmla="*/ 1638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2"/>
                  <a:gd name="T22" fmla="*/ 0 h 24"/>
                  <a:gd name="T23" fmla="*/ 72 w 72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2" h="24">
                    <a:moveTo>
                      <a:pt x="0" y="2"/>
                    </a:moveTo>
                    <a:cubicBezTo>
                      <a:pt x="36" y="24"/>
                      <a:pt x="36" y="24"/>
                      <a:pt x="36" y="24"/>
                    </a:cubicBezTo>
                    <a:cubicBezTo>
                      <a:pt x="72" y="2"/>
                      <a:pt x="72" y="2"/>
                      <a:pt x="72" y="2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1" y="0"/>
                      <a:pt x="37" y="21"/>
                      <a:pt x="36" y="22"/>
                    </a:cubicBezTo>
                    <a:cubicBezTo>
                      <a:pt x="35" y="2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86" name="Freeform 78"/>
              <p:cNvSpPr>
                <a:spLocks noChangeAspect="1"/>
              </p:cNvSpPr>
              <p:nvPr/>
            </p:nvSpPr>
            <p:spPr bwMode="auto">
              <a:xfrm>
                <a:off x="1652" y="2122"/>
                <a:ext cx="111" cy="36"/>
              </a:xfrm>
              <a:custGeom>
                <a:avLst/>
                <a:gdLst>
                  <a:gd name="T0" fmla="*/ 0 w 55"/>
                  <a:gd name="T1" fmla="*/ 21466 h 19"/>
                  <a:gd name="T2" fmla="*/ 221184 w 55"/>
                  <a:gd name="T3" fmla="*/ 218008 h 19"/>
                  <a:gd name="T4" fmla="*/ 450560 w 55"/>
                  <a:gd name="T5" fmla="*/ 21466 h 19"/>
                  <a:gd name="T6" fmla="*/ 434176 w 55"/>
                  <a:gd name="T7" fmla="*/ 0 h 19"/>
                  <a:gd name="T8" fmla="*/ 221184 w 55"/>
                  <a:gd name="T9" fmla="*/ 185646 h 19"/>
                  <a:gd name="T10" fmla="*/ 8192 w 55"/>
                  <a:gd name="T11" fmla="*/ 0 h 19"/>
                  <a:gd name="T12" fmla="*/ 0 w 55"/>
                  <a:gd name="T13" fmla="*/ 21466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5"/>
                  <a:gd name="T22" fmla="*/ 0 h 19"/>
                  <a:gd name="T23" fmla="*/ 55 w 55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5" h="19">
                    <a:moveTo>
                      <a:pt x="0" y="2"/>
                    </a:moveTo>
                    <a:cubicBezTo>
                      <a:pt x="27" y="19"/>
                      <a:pt x="27" y="19"/>
                      <a:pt x="27" y="19"/>
                    </a:cubicBezTo>
                    <a:cubicBezTo>
                      <a:pt x="55" y="2"/>
                      <a:pt x="55" y="2"/>
                      <a:pt x="55" y="2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53" y="0"/>
                      <a:pt x="28" y="15"/>
                      <a:pt x="27" y="16"/>
                    </a:cubicBezTo>
                    <a:cubicBezTo>
                      <a:pt x="26" y="15"/>
                      <a:pt x="1" y="0"/>
                      <a:pt x="1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87" name="Freeform 79"/>
              <p:cNvSpPr>
                <a:spLocks noChangeAspect="1"/>
              </p:cNvSpPr>
              <p:nvPr/>
            </p:nvSpPr>
            <p:spPr bwMode="auto">
              <a:xfrm>
                <a:off x="1612" y="2222"/>
                <a:ext cx="189" cy="53"/>
              </a:xfrm>
              <a:custGeom>
                <a:avLst/>
                <a:gdLst>
                  <a:gd name="T0" fmla="*/ 0 w 94"/>
                  <a:gd name="T1" fmla="*/ 196608 h 27"/>
                  <a:gd name="T2" fmla="*/ 8192 w 94"/>
                  <a:gd name="T3" fmla="*/ 212992 h 27"/>
                  <a:gd name="T4" fmla="*/ 385024 w 94"/>
                  <a:gd name="T5" fmla="*/ 16384 h 27"/>
                  <a:gd name="T6" fmla="*/ 761856 w 94"/>
                  <a:gd name="T7" fmla="*/ 221184 h 27"/>
                  <a:gd name="T8" fmla="*/ 770048 w 94"/>
                  <a:gd name="T9" fmla="*/ 204800 h 27"/>
                  <a:gd name="T10" fmla="*/ 385024 w 94"/>
                  <a:gd name="T11" fmla="*/ 0 h 27"/>
                  <a:gd name="T12" fmla="*/ 0 w 94"/>
                  <a:gd name="T13" fmla="*/ 196608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4"/>
                  <a:gd name="T22" fmla="*/ 0 h 27"/>
                  <a:gd name="T23" fmla="*/ 94 w 94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4" h="27">
                    <a:moveTo>
                      <a:pt x="0" y="24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1" y="26"/>
                      <a:pt x="46" y="3"/>
                      <a:pt x="47" y="2"/>
                    </a:cubicBezTo>
                    <a:cubicBezTo>
                      <a:pt x="48" y="3"/>
                      <a:pt x="93" y="27"/>
                      <a:pt x="93" y="27"/>
                    </a:cubicBezTo>
                    <a:cubicBezTo>
                      <a:pt x="94" y="25"/>
                      <a:pt x="94" y="25"/>
                      <a:pt x="94" y="25"/>
                    </a:cubicBezTo>
                    <a:cubicBezTo>
                      <a:pt x="47" y="0"/>
                      <a:pt x="47" y="0"/>
                      <a:pt x="47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88" name="Freeform 80"/>
              <p:cNvSpPr>
                <a:spLocks noChangeAspect="1" noEditPoints="1"/>
              </p:cNvSpPr>
              <p:nvPr/>
            </p:nvSpPr>
            <p:spPr bwMode="auto">
              <a:xfrm>
                <a:off x="1614" y="1821"/>
                <a:ext cx="182" cy="90"/>
              </a:xfrm>
              <a:custGeom>
                <a:avLst/>
                <a:gdLst>
                  <a:gd name="T0" fmla="*/ 581632 w 92"/>
                  <a:gd name="T1" fmla="*/ 65536 h 45"/>
                  <a:gd name="T2" fmla="*/ 606208 w 92"/>
                  <a:gd name="T3" fmla="*/ 180224 h 45"/>
                  <a:gd name="T4" fmla="*/ 573440 w 92"/>
                  <a:gd name="T5" fmla="*/ 294912 h 45"/>
                  <a:gd name="T6" fmla="*/ 598016 w 92"/>
                  <a:gd name="T7" fmla="*/ 311296 h 45"/>
                  <a:gd name="T8" fmla="*/ 638976 w 92"/>
                  <a:gd name="T9" fmla="*/ 180224 h 45"/>
                  <a:gd name="T10" fmla="*/ 606208 w 92"/>
                  <a:gd name="T11" fmla="*/ 49152 h 45"/>
                  <a:gd name="T12" fmla="*/ 581632 w 92"/>
                  <a:gd name="T13" fmla="*/ 65536 h 45"/>
                  <a:gd name="T14" fmla="*/ 704512 w 92"/>
                  <a:gd name="T15" fmla="*/ 0 h 45"/>
                  <a:gd name="T16" fmla="*/ 679936 w 92"/>
                  <a:gd name="T17" fmla="*/ 8192 h 45"/>
                  <a:gd name="T18" fmla="*/ 720896 w 92"/>
                  <a:gd name="T19" fmla="*/ 180224 h 45"/>
                  <a:gd name="T20" fmla="*/ 671744 w 92"/>
                  <a:gd name="T21" fmla="*/ 352256 h 45"/>
                  <a:gd name="T22" fmla="*/ 696320 w 92"/>
                  <a:gd name="T23" fmla="*/ 368640 h 45"/>
                  <a:gd name="T24" fmla="*/ 753664 w 92"/>
                  <a:gd name="T25" fmla="*/ 180224 h 45"/>
                  <a:gd name="T26" fmla="*/ 704512 w 92"/>
                  <a:gd name="T27" fmla="*/ 0 h 45"/>
                  <a:gd name="T28" fmla="*/ 73728 w 92"/>
                  <a:gd name="T29" fmla="*/ 8192 h 45"/>
                  <a:gd name="T30" fmla="*/ 49152 w 92"/>
                  <a:gd name="T31" fmla="*/ 0 h 45"/>
                  <a:gd name="T32" fmla="*/ 0 w 92"/>
                  <a:gd name="T33" fmla="*/ 180224 h 45"/>
                  <a:gd name="T34" fmla="*/ 49152 w 92"/>
                  <a:gd name="T35" fmla="*/ 368640 h 45"/>
                  <a:gd name="T36" fmla="*/ 81920 w 92"/>
                  <a:gd name="T37" fmla="*/ 352256 h 45"/>
                  <a:gd name="T38" fmla="*/ 32768 w 92"/>
                  <a:gd name="T39" fmla="*/ 180224 h 45"/>
                  <a:gd name="T40" fmla="*/ 73728 w 92"/>
                  <a:gd name="T41" fmla="*/ 8192 h 45"/>
                  <a:gd name="T42" fmla="*/ 172032 w 92"/>
                  <a:gd name="T43" fmla="*/ 65536 h 45"/>
                  <a:gd name="T44" fmla="*/ 147456 w 92"/>
                  <a:gd name="T45" fmla="*/ 49152 h 45"/>
                  <a:gd name="T46" fmla="*/ 114688 w 92"/>
                  <a:gd name="T47" fmla="*/ 180224 h 45"/>
                  <a:gd name="T48" fmla="*/ 147456 w 92"/>
                  <a:gd name="T49" fmla="*/ 311296 h 45"/>
                  <a:gd name="T50" fmla="*/ 180224 w 92"/>
                  <a:gd name="T51" fmla="*/ 294912 h 45"/>
                  <a:gd name="T52" fmla="*/ 147456 w 92"/>
                  <a:gd name="T53" fmla="*/ 180224 h 45"/>
                  <a:gd name="T54" fmla="*/ 172032 w 92"/>
                  <a:gd name="T55" fmla="*/ 65536 h 45"/>
                  <a:gd name="T56" fmla="*/ 483328 w 92"/>
                  <a:gd name="T57" fmla="*/ 122880 h 45"/>
                  <a:gd name="T58" fmla="*/ 499712 w 92"/>
                  <a:gd name="T59" fmla="*/ 180224 h 45"/>
                  <a:gd name="T60" fmla="*/ 483328 w 92"/>
                  <a:gd name="T61" fmla="*/ 245760 h 45"/>
                  <a:gd name="T62" fmla="*/ 507904 w 92"/>
                  <a:gd name="T63" fmla="*/ 262144 h 45"/>
                  <a:gd name="T64" fmla="*/ 532480 w 92"/>
                  <a:gd name="T65" fmla="*/ 180224 h 45"/>
                  <a:gd name="T66" fmla="*/ 516096 w 92"/>
                  <a:gd name="T67" fmla="*/ 98304 h 45"/>
                  <a:gd name="T68" fmla="*/ 483328 w 92"/>
                  <a:gd name="T69" fmla="*/ 122880 h 45"/>
                  <a:gd name="T70" fmla="*/ 262144 w 92"/>
                  <a:gd name="T71" fmla="*/ 122880 h 45"/>
                  <a:gd name="T72" fmla="*/ 237568 w 92"/>
                  <a:gd name="T73" fmla="*/ 98304 h 45"/>
                  <a:gd name="T74" fmla="*/ 212992 w 92"/>
                  <a:gd name="T75" fmla="*/ 180224 h 45"/>
                  <a:gd name="T76" fmla="*/ 237568 w 92"/>
                  <a:gd name="T77" fmla="*/ 262144 h 45"/>
                  <a:gd name="T78" fmla="*/ 270336 w 92"/>
                  <a:gd name="T79" fmla="*/ 245760 h 45"/>
                  <a:gd name="T80" fmla="*/ 245760 w 92"/>
                  <a:gd name="T81" fmla="*/ 180224 h 45"/>
                  <a:gd name="T82" fmla="*/ 262144 w 92"/>
                  <a:gd name="T83" fmla="*/ 122880 h 4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92"/>
                  <a:gd name="T127" fmla="*/ 0 h 45"/>
                  <a:gd name="T128" fmla="*/ 92 w 92"/>
                  <a:gd name="T129" fmla="*/ 45 h 4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92" h="45">
                    <a:moveTo>
                      <a:pt x="71" y="8"/>
                    </a:moveTo>
                    <a:cubicBezTo>
                      <a:pt x="73" y="12"/>
                      <a:pt x="74" y="17"/>
                      <a:pt x="74" y="22"/>
                    </a:cubicBezTo>
                    <a:cubicBezTo>
                      <a:pt x="74" y="27"/>
                      <a:pt x="73" y="32"/>
                      <a:pt x="70" y="36"/>
                    </a:cubicBezTo>
                    <a:cubicBezTo>
                      <a:pt x="73" y="38"/>
                      <a:pt x="73" y="38"/>
                      <a:pt x="73" y="38"/>
                    </a:cubicBezTo>
                    <a:cubicBezTo>
                      <a:pt x="76" y="33"/>
                      <a:pt x="78" y="28"/>
                      <a:pt x="78" y="22"/>
                    </a:cubicBezTo>
                    <a:cubicBezTo>
                      <a:pt x="78" y="16"/>
                      <a:pt x="77" y="11"/>
                      <a:pt x="74" y="6"/>
                    </a:cubicBezTo>
                    <a:lnTo>
                      <a:pt x="71" y="8"/>
                    </a:lnTo>
                    <a:close/>
                    <a:moveTo>
                      <a:pt x="86" y="0"/>
                    </a:moveTo>
                    <a:cubicBezTo>
                      <a:pt x="83" y="1"/>
                      <a:pt x="83" y="1"/>
                      <a:pt x="83" y="1"/>
                    </a:cubicBezTo>
                    <a:cubicBezTo>
                      <a:pt x="86" y="7"/>
                      <a:pt x="88" y="14"/>
                      <a:pt x="88" y="22"/>
                    </a:cubicBezTo>
                    <a:cubicBezTo>
                      <a:pt x="88" y="29"/>
                      <a:pt x="86" y="37"/>
                      <a:pt x="82" y="43"/>
                    </a:cubicBezTo>
                    <a:cubicBezTo>
                      <a:pt x="85" y="45"/>
                      <a:pt x="85" y="45"/>
                      <a:pt x="85" y="45"/>
                    </a:cubicBezTo>
                    <a:cubicBezTo>
                      <a:pt x="89" y="38"/>
                      <a:pt x="92" y="30"/>
                      <a:pt x="92" y="22"/>
                    </a:cubicBezTo>
                    <a:cubicBezTo>
                      <a:pt x="92" y="14"/>
                      <a:pt x="90" y="6"/>
                      <a:pt x="86" y="0"/>
                    </a:cubicBezTo>
                    <a:close/>
                    <a:moveTo>
                      <a:pt x="9" y="1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2" y="6"/>
                      <a:pt x="0" y="14"/>
                      <a:pt x="0" y="22"/>
                    </a:cubicBezTo>
                    <a:cubicBezTo>
                      <a:pt x="0" y="30"/>
                      <a:pt x="2" y="38"/>
                      <a:pt x="6" y="45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6" y="37"/>
                      <a:pt x="4" y="29"/>
                      <a:pt x="4" y="22"/>
                    </a:cubicBezTo>
                    <a:cubicBezTo>
                      <a:pt x="4" y="14"/>
                      <a:pt x="6" y="7"/>
                      <a:pt x="9" y="1"/>
                    </a:cubicBezTo>
                    <a:close/>
                    <a:moveTo>
                      <a:pt x="21" y="8"/>
                    </a:moveTo>
                    <a:cubicBezTo>
                      <a:pt x="18" y="6"/>
                      <a:pt x="18" y="6"/>
                      <a:pt x="18" y="6"/>
                    </a:cubicBezTo>
                    <a:cubicBezTo>
                      <a:pt x="15" y="11"/>
                      <a:pt x="14" y="16"/>
                      <a:pt x="14" y="22"/>
                    </a:cubicBezTo>
                    <a:cubicBezTo>
                      <a:pt x="14" y="28"/>
                      <a:pt x="15" y="33"/>
                      <a:pt x="18" y="38"/>
                    </a:cubicBezTo>
                    <a:cubicBezTo>
                      <a:pt x="22" y="36"/>
                      <a:pt x="22" y="36"/>
                      <a:pt x="22" y="36"/>
                    </a:cubicBezTo>
                    <a:cubicBezTo>
                      <a:pt x="19" y="32"/>
                      <a:pt x="18" y="27"/>
                      <a:pt x="18" y="22"/>
                    </a:cubicBezTo>
                    <a:cubicBezTo>
                      <a:pt x="18" y="17"/>
                      <a:pt x="19" y="12"/>
                      <a:pt x="21" y="8"/>
                    </a:cubicBezTo>
                    <a:close/>
                    <a:moveTo>
                      <a:pt x="59" y="15"/>
                    </a:moveTo>
                    <a:cubicBezTo>
                      <a:pt x="61" y="17"/>
                      <a:pt x="61" y="19"/>
                      <a:pt x="61" y="22"/>
                    </a:cubicBezTo>
                    <a:cubicBezTo>
                      <a:pt x="61" y="25"/>
                      <a:pt x="60" y="27"/>
                      <a:pt x="59" y="30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4" y="29"/>
                      <a:pt x="65" y="25"/>
                      <a:pt x="65" y="22"/>
                    </a:cubicBezTo>
                    <a:cubicBezTo>
                      <a:pt x="65" y="18"/>
                      <a:pt x="65" y="15"/>
                      <a:pt x="63" y="12"/>
                    </a:cubicBezTo>
                    <a:lnTo>
                      <a:pt x="59" y="15"/>
                    </a:lnTo>
                    <a:close/>
                    <a:moveTo>
                      <a:pt x="32" y="15"/>
                    </a:moveTo>
                    <a:cubicBezTo>
                      <a:pt x="29" y="12"/>
                      <a:pt x="29" y="12"/>
                      <a:pt x="29" y="12"/>
                    </a:cubicBezTo>
                    <a:cubicBezTo>
                      <a:pt x="27" y="15"/>
                      <a:pt x="26" y="18"/>
                      <a:pt x="26" y="22"/>
                    </a:cubicBezTo>
                    <a:cubicBezTo>
                      <a:pt x="26" y="25"/>
                      <a:pt x="27" y="29"/>
                      <a:pt x="29" y="32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1" y="27"/>
                      <a:pt x="30" y="25"/>
                      <a:pt x="30" y="22"/>
                    </a:cubicBezTo>
                    <a:cubicBezTo>
                      <a:pt x="30" y="19"/>
                      <a:pt x="31" y="17"/>
                      <a:pt x="32" y="15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89" name="Freeform 81"/>
              <p:cNvSpPr>
                <a:spLocks noChangeAspect="1" noEditPoints="1"/>
              </p:cNvSpPr>
              <p:nvPr/>
            </p:nvSpPr>
            <p:spPr bwMode="auto">
              <a:xfrm>
                <a:off x="1608" y="1896"/>
                <a:ext cx="196" cy="440"/>
              </a:xfrm>
              <a:custGeom>
                <a:avLst/>
                <a:gdLst>
                  <a:gd name="T0" fmla="*/ 0 w 98"/>
                  <a:gd name="T1" fmla="*/ 1603765 h 220"/>
                  <a:gd name="T2" fmla="*/ 401408 w 98"/>
                  <a:gd name="T3" fmla="*/ 1856093 h 220"/>
                  <a:gd name="T4" fmla="*/ 802816 w 98"/>
                  <a:gd name="T5" fmla="*/ 1603765 h 220"/>
                  <a:gd name="T6" fmla="*/ 401408 w 98"/>
                  <a:gd name="T7" fmla="*/ 0 h 220"/>
                  <a:gd name="T8" fmla="*/ 0 w 98"/>
                  <a:gd name="T9" fmla="*/ 1603765 h 220"/>
                  <a:gd name="T10" fmla="*/ 401408 w 98"/>
                  <a:gd name="T11" fmla="*/ 142533 h 220"/>
                  <a:gd name="T12" fmla="*/ 761856 w 98"/>
                  <a:gd name="T13" fmla="*/ 1587101 h 220"/>
                  <a:gd name="T14" fmla="*/ 401408 w 98"/>
                  <a:gd name="T15" fmla="*/ 1814436 h 220"/>
                  <a:gd name="T16" fmla="*/ 40960 w 98"/>
                  <a:gd name="T17" fmla="*/ 1587101 h 220"/>
                  <a:gd name="T18" fmla="*/ 401408 w 98"/>
                  <a:gd name="T19" fmla="*/ 142533 h 2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98"/>
                  <a:gd name="T31" fmla="*/ 0 h 220"/>
                  <a:gd name="T32" fmla="*/ 98 w 98"/>
                  <a:gd name="T33" fmla="*/ 220 h 2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98" h="220">
                    <a:moveTo>
                      <a:pt x="0" y="190"/>
                    </a:moveTo>
                    <a:cubicBezTo>
                      <a:pt x="49" y="220"/>
                      <a:pt x="49" y="220"/>
                      <a:pt x="49" y="220"/>
                    </a:cubicBezTo>
                    <a:cubicBezTo>
                      <a:pt x="98" y="190"/>
                      <a:pt x="98" y="190"/>
                      <a:pt x="98" y="190"/>
                    </a:cubicBezTo>
                    <a:cubicBezTo>
                      <a:pt x="49" y="0"/>
                      <a:pt x="49" y="0"/>
                      <a:pt x="49" y="0"/>
                    </a:cubicBezTo>
                    <a:lnTo>
                      <a:pt x="0" y="190"/>
                    </a:lnTo>
                    <a:close/>
                    <a:moveTo>
                      <a:pt x="49" y="17"/>
                    </a:moveTo>
                    <a:cubicBezTo>
                      <a:pt x="53" y="32"/>
                      <a:pt x="92" y="185"/>
                      <a:pt x="93" y="188"/>
                    </a:cubicBezTo>
                    <a:cubicBezTo>
                      <a:pt x="91" y="189"/>
                      <a:pt x="51" y="214"/>
                      <a:pt x="49" y="215"/>
                    </a:cubicBezTo>
                    <a:cubicBezTo>
                      <a:pt x="47" y="214"/>
                      <a:pt x="8" y="189"/>
                      <a:pt x="5" y="188"/>
                    </a:cubicBezTo>
                    <a:cubicBezTo>
                      <a:pt x="6" y="185"/>
                      <a:pt x="45" y="32"/>
                      <a:pt x="49" y="17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0" name="Freeform 82"/>
              <p:cNvSpPr>
                <a:spLocks noChangeAspect="1"/>
              </p:cNvSpPr>
              <p:nvPr/>
            </p:nvSpPr>
            <p:spPr bwMode="auto">
              <a:xfrm>
                <a:off x="1666" y="2062"/>
                <a:ext cx="80" cy="29"/>
              </a:xfrm>
              <a:custGeom>
                <a:avLst/>
                <a:gdLst>
                  <a:gd name="T0" fmla="*/ 0 w 40"/>
                  <a:gd name="T1" fmla="*/ 16384 h 14"/>
                  <a:gd name="T2" fmla="*/ 163840 w 40"/>
                  <a:gd name="T3" fmla="*/ 114688 h 14"/>
                  <a:gd name="T4" fmla="*/ 327680 w 40"/>
                  <a:gd name="T5" fmla="*/ 16384 h 14"/>
                  <a:gd name="T6" fmla="*/ 319488 w 40"/>
                  <a:gd name="T7" fmla="*/ 0 h 14"/>
                  <a:gd name="T8" fmla="*/ 163840 w 40"/>
                  <a:gd name="T9" fmla="*/ 90112 h 14"/>
                  <a:gd name="T10" fmla="*/ 16384 w 40"/>
                  <a:gd name="T11" fmla="*/ 0 h 14"/>
                  <a:gd name="T12" fmla="*/ 0 w 40"/>
                  <a:gd name="T13" fmla="*/ 16384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0"/>
                  <a:gd name="T22" fmla="*/ 0 h 14"/>
                  <a:gd name="T23" fmla="*/ 40 w 4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0" h="14">
                    <a:moveTo>
                      <a:pt x="0" y="2"/>
                    </a:moveTo>
                    <a:cubicBezTo>
                      <a:pt x="20" y="14"/>
                      <a:pt x="20" y="14"/>
                      <a:pt x="20" y="14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21" y="11"/>
                      <a:pt x="20" y="11"/>
                    </a:cubicBezTo>
                    <a:cubicBezTo>
                      <a:pt x="19" y="11"/>
                      <a:pt x="2" y="0"/>
                      <a:pt x="2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1" name="Freeform 83"/>
              <p:cNvSpPr>
                <a:spLocks noChangeAspect="1"/>
              </p:cNvSpPr>
              <p:nvPr/>
            </p:nvSpPr>
            <p:spPr bwMode="auto">
              <a:xfrm>
                <a:off x="1680" y="2003"/>
                <a:ext cx="53" cy="24"/>
              </a:xfrm>
              <a:custGeom>
                <a:avLst/>
                <a:gdLst>
                  <a:gd name="T0" fmla="*/ 0 w 26"/>
                  <a:gd name="T1" fmla="*/ 24576 h 11"/>
                  <a:gd name="T2" fmla="*/ 106496 w 26"/>
                  <a:gd name="T3" fmla="*/ 90112 h 11"/>
                  <a:gd name="T4" fmla="*/ 212992 w 26"/>
                  <a:gd name="T5" fmla="*/ 24576 h 11"/>
                  <a:gd name="T6" fmla="*/ 204800 w 26"/>
                  <a:gd name="T7" fmla="*/ 0 h 11"/>
                  <a:gd name="T8" fmla="*/ 106496 w 26"/>
                  <a:gd name="T9" fmla="*/ 65536 h 11"/>
                  <a:gd name="T10" fmla="*/ 16384 w 26"/>
                  <a:gd name="T11" fmla="*/ 0 h 11"/>
                  <a:gd name="T12" fmla="*/ 0 w 26"/>
                  <a:gd name="T13" fmla="*/ 24576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6"/>
                  <a:gd name="T22" fmla="*/ 0 h 11"/>
                  <a:gd name="T23" fmla="*/ 26 w 2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6" h="11">
                    <a:moveTo>
                      <a:pt x="0" y="3"/>
                    </a:moveTo>
                    <a:cubicBezTo>
                      <a:pt x="13" y="11"/>
                      <a:pt x="13" y="11"/>
                      <a:pt x="13" y="11"/>
                    </a:cubicBezTo>
                    <a:cubicBezTo>
                      <a:pt x="26" y="3"/>
                      <a:pt x="26" y="3"/>
                      <a:pt x="26" y="3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25" y="0"/>
                      <a:pt x="14" y="7"/>
                      <a:pt x="13" y="8"/>
                    </a:cubicBezTo>
                    <a:cubicBezTo>
                      <a:pt x="12" y="7"/>
                      <a:pt x="2" y="0"/>
                      <a:pt x="2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2" name="Rectangle 84"/>
              <p:cNvSpPr>
                <a:spLocks noChangeAspect="1" noChangeArrowheads="1"/>
              </p:cNvSpPr>
              <p:nvPr/>
            </p:nvSpPr>
            <p:spPr bwMode="auto">
              <a:xfrm>
                <a:off x="1702" y="1916"/>
                <a:ext cx="7" cy="416"/>
              </a:xfrm>
              <a:prstGeom prst="rect">
                <a:avLst/>
              </a:prstGeom>
              <a:solidFill>
                <a:srgbClr val="617996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FFFFFF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3" name="Freeform 85"/>
              <p:cNvSpPr>
                <a:spLocks noChangeAspect="1" noEditPoints="1"/>
              </p:cNvSpPr>
              <p:nvPr/>
            </p:nvSpPr>
            <p:spPr bwMode="auto">
              <a:xfrm>
                <a:off x="1636" y="2016"/>
                <a:ext cx="142" cy="316"/>
              </a:xfrm>
              <a:custGeom>
                <a:avLst/>
                <a:gdLst>
                  <a:gd name="T0" fmla="*/ 131072 w 70"/>
                  <a:gd name="T1" fmla="*/ 195346 h 158"/>
                  <a:gd name="T2" fmla="*/ 270336 w 70"/>
                  <a:gd name="T3" fmla="*/ 570574 h 158"/>
                  <a:gd name="T4" fmla="*/ 0 w 70"/>
                  <a:gd name="T5" fmla="*/ 693203 h 158"/>
                  <a:gd name="T6" fmla="*/ 294912 w 70"/>
                  <a:gd name="T7" fmla="*/ 1348538 h 158"/>
                  <a:gd name="T8" fmla="*/ 573440 w 70"/>
                  <a:gd name="T9" fmla="*/ 701563 h 158"/>
                  <a:gd name="T10" fmla="*/ 303104 w 70"/>
                  <a:gd name="T11" fmla="*/ 587802 h 158"/>
                  <a:gd name="T12" fmla="*/ 450560 w 70"/>
                  <a:gd name="T13" fmla="*/ 203779 h 158"/>
                  <a:gd name="T14" fmla="*/ 286720 w 70"/>
                  <a:gd name="T15" fmla="*/ 0 h 158"/>
                  <a:gd name="T16" fmla="*/ 131072 w 70"/>
                  <a:gd name="T17" fmla="*/ 195346 h 158"/>
                  <a:gd name="T18" fmla="*/ 286720 w 70"/>
                  <a:gd name="T19" fmla="*/ 33652 h 158"/>
                  <a:gd name="T20" fmla="*/ 425984 w 70"/>
                  <a:gd name="T21" fmla="*/ 203779 h 158"/>
                  <a:gd name="T22" fmla="*/ 286720 w 70"/>
                  <a:gd name="T23" fmla="*/ 570574 h 158"/>
                  <a:gd name="T24" fmla="*/ 147456 w 70"/>
                  <a:gd name="T25" fmla="*/ 203779 h 158"/>
                  <a:gd name="T26" fmla="*/ 286720 w 70"/>
                  <a:gd name="T27" fmla="*/ 33652 h 158"/>
                  <a:gd name="T28" fmla="*/ 278528 w 70"/>
                  <a:gd name="T29" fmla="*/ 587802 h 158"/>
                  <a:gd name="T30" fmla="*/ 278528 w 70"/>
                  <a:gd name="T31" fmla="*/ 596223 h 158"/>
                  <a:gd name="T32" fmla="*/ 548864 w 70"/>
                  <a:gd name="T33" fmla="*/ 710166 h 158"/>
                  <a:gd name="T34" fmla="*/ 294912 w 70"/>
                  <a:gd name="T35" fmla="*/ 1306389 h 158"/>
                  <a:gd name="T36" fmla="*/ 24576 w 70"/>
                  <a:gd name="T37" fmla="*/ 701563 h 158"/>
                  <a:gd name="T38" fmla="*/ 278528 w 70"/>
                  <a:gd name="T39" fmla="*/ 587802 h 1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70"/>
                  <a:gd name="T61" fmla="*/ 0 h 158"/>
                  <a:gd name="T62" fmla="*/ 70 w 70"/>
                  <a:gd name="T63" fmla="*/ 158 h 15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70" h="158">
                    <a:moveTo>
                      <a:pt x="16" y="23"/>
                    </a:moveTo>
                    <a:cubicBezTo>
                      <a:pt x="16" y="23"/>
                      <a:pt x="32" y="65"/>
                      <a:pt x="33" y="67"/>
                    </a:cubicBezTo>
                    <a:cubicBezTo>
                      <a:pt x="31" y="68"/>
                      <a:pt x="0" y="81"/>
                      <a:pt x="0" y="81"/>
                    </a:cubicBezTo>
                    <a:cubicBezTo>
                      <a:pt x="36" y="158"/>
                      <a:pt x="36" y="158"/>
                      <a:pt x="36" y="158"/>
                    </a:cubicBezTo>
                    <a:cubicBezTo>
                      <a:pt x="70" y="82"/>
                      <a:pt x="70" y="82"/>
                      <a:pt x="70" y="82"/>
                    </a:cubicBezTo>
                    <a:cubicBezTo>
                      <a:pt x="70" y="82"/>
                      <a:pt x="39" y="69"/>
                      <a:pt x="37" y="69"/>
                    </a:cubicBezTo>
                    <a:cubicBezTo>
                      <a:pt x="37" y="67"/>
                      <a:pt x="55" y="24"/>
                      <a:pt x="55" y="24"/>
                    </a:cubicBezTo>
                    <a:cubicBezTo>
                      <a:pt x="35" y="0"/>
                      <a:pt x="35" y="0"/>
                      <a:pt x="35" y="0"/>
                    </a:cubicBezTo>
                    <a:lnTo>
                      <a:pt x="16" y="23"/>
                    </a:lnTo>
                    <a:close/>
                    <a:moveTo>
                      <a:pt x="35" y="4"/>
                    </a:moveTo>
                    <a:cubicBezTo>
                      <a:pt x="37" y="6"/>
                      <a:pt x="52" y="23"/>
                      <a:pt x="52" y="24"/>
                    </a:cubicBezTo>
                    <a:cubicBezTo>
                      <a:pt x="52" y="25"/>
                      <a:pt x="37" y="63"/>
                      <a:pt x="35" y="67"/>
                    </a:cubicBezTo>
                    <a:cubicBezTo>
                      <a:pt x="35" y="65"/>
                      <a:pt x="19" y="25"/>
                      <a:pt x="18" y="24"/>
                    </a:cubicBezTo>
                    <a:cubicBezTo>
                      <a:pt x="19" y="23"/>
                      <a:pt x="34" y="6"/>
                      <a:pt x="35" y="4"/>
                    </a:cubicBezTo>
                    <a:close/>
                    <a:moveTo>
                      <a:pt x="34" y="69"/>
                    </a:moveTo>
                    <a:cubicBezTo>
                      <a:pt x="34" y="69"/>
                      <a:pt x="34" y="70"/>
                      <a:pt x="34" y="70"/>
                    </a:cubicBezTo>
                    <a:cubicBezTo>
                      <a:pt x="34" y="70"/>
                      <a:pt x="65" y="82"/>
                      <a:pt x="67" y="83"/>
                    </a:cubicBezTo>
                    <a:cubicBezTo>
                      <a:pt x="66" y="85"/>
                      <a:pt x="37" y="149"/>
                      <a:pt x="36" y="153"/>
                    </a:cubicBezTo>
                    <a:cubicBezTo>
                      <a:pt x="34" y="149"/>
                      <a:pt x="4" y="84"/>
                      <a:pt x="3" y="82"/>
                    </a:cubicBezTo>
                    <a:cubicBezTo>
                      <a:pt x="5" y="82"/>
                      <a:pt x="33" y="69"/>
                      <a:pt x="34" y="69"/>
                    </a:cubicBez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4" name="Freeform 86"/>
              <p:cNvSpPr>
                <a:spLocks noChangeAspect="1"/>
              </p:cNvSpPr>
              <p:nvPr/>
            </p:nvSpPr>
            <p:spPr bwMode="auto">
              <a:xfrm>
                <a:off x="1720" y="1935"/>
                <a:ext cx="33" cy="68"/>
              </a:xfrm>
              <a:custGeom>
                <a:avLst/>
                <a:gdLst>
                  <a:gd name="T0" fmla="*/ 73728 w 16"/>
                  <a:gd name="T1" fmla="*/ 0 h 34"/>
                  <a:gd name="T2" fmla="*/ 8192 w 16"/>
                  <a:gd name="T3" fmla="*/ 155648 h 34"/>
                  <a:gd name="T4" fmla="*/ 131072 w 16"/>
                  <a:gd name="T5" fmla="*/ 278528 h 34"/>
                  <a:gd name="T6" fmla="*/ 73728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9" y="0"/>
                    </a:moveTo>
                    <a:cubicBezTo>
                      <a:pt x="3" y="4"/>
                      <a:pt x="0" y="11"/>
                      <a:pt x="1" y="19"/>
                    </a:cubicBezTo>
                    <a:cubicBezTo>
                      <a:pt x="3" y="27"/>
                      <a:pt x="9" y="33"/>
                      <a:pt x="16" y="34"/>
                    </a:cubicBez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  <p:sp>
            <p:nvSpPr>
              <p:cNvPr id="495" name="Freeform 87"/>
              <p:cNvSpPr>
                <a:spLocks noChangeAspect="1"/>
              </p:cNvSpPr>
              <p:nvPr/>
            </p:nvSpPr>
            <p:spPr bwMode="auto">
              <a:xfrm>
                <a:off x="1662" y="1935"/>
                <a:ext cx="31" cy="68"/>
              </a:xfrm>
              <a:custGeom>
                <a:avLst/>
                <a:gdLst>
                  <a:gd name="T0" fmla="*/ 49152 w 16"/>
                  <a:gd name="T1" fmla="*/ 0 h 34"/>
                  <a:gd name="T2" fmla="*/ 114688 w 16"/>
                  <a:gd name="T3" fmla="*/ 155648 h 34"/>
                  <a:gd name="T4" fmla="*/ 0 w 16"/>
                  <a:gd name="T5" fmla="*/ 278528 h 34"/>
                  <a:gd name="T6" fmla="*/ 49152 w 16"/>
                  <a:gd name="T7" fmla="*/ 0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34"/>
                  <a:gd name="T14" fmla="*/ 16 w 16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34">
                    <a:moveTo>
                      <a:pt x="6" y="0"/>
                    </a:moveTo>
                    <a:cubicBezTo>
                      <a:pt x="12" y="4"/>
                      <a:pt x="16" y="11"/>
                      <a:pt x="14" y="19"/>
                    </a:cubicBezTo>
                    <a:cubicBezTo>
                      <a:pt x="13" y="27"/>
                      <a:pt x="7" y="33"/>
                      <a:pt x="0" y="34"/>
                    </a:cubicBez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61799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en-US" sz="1000" kern="0">
                  <a:solidFill>
                    <a:srgbClr val="000000"/>
                  </a:solidFill>
                  <a:latin typeface="Arial" pitchFamily="34" charset="0"/>
                  <a:ea typeface="微软雅黑" pitchFamily="34" charset="-122"/>
                  <a:cs typeface="Arial" pitchFamily="34" charset="0"/>
                </a:endParaRPr>
              </a:p>
            </p:txBody>
          </p:sp>
        </p:grpSp>
        <p:pic>
          <p:nvPicPr>
            <p:cNvPr id="484" name="Picture 89" descr="图片86"/>
            <p:cNvPicPr>
              <a:picLocks noChangeAspect="1" noChangeArrowheads="1"/>
            </p:cNvPicPr>
            <p:nvPr/>
          </p:nvPicPr>
          <p:blipFill>
            <a:blip r:embed="rId27" cstate="email"/>
            <a:srcRect/>
            <a:stretch>
              <a:fillRect/>
            </a:stretch>
          </p:blipFill>
          <p:spPr bwMode="auto">
            <a:xfrm>
              <a:off x="1011644" y="979356"/>
              <a:ext cx="314325" cy="2778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96" name="Freeform 72"/>
          <p:cNvSpPr>
            <a:spLocks/>
          </p:cNvSpPr>
          <p:nvPr/>
        </p:nvSpPr>
        <p:spPr bwMode="auto">
          <a:xfrm rot="4843507">
            <a:off x="3047228" y="2069097"/>
            <a:ext cx="288000" cy="504000"/>
          </a:xfrm>
          <a:custGeom>
            <a:avLst/>
            <a:gdLst>
              <a:gd name="T0" fmla="*/ 336 w 336"/>
              <a:gd name="T1" fmla="*/ 358 h 358"/>
              <a:gd name="T2" fmla="*/ 52 w 336"/>
              <a:gd name="T3" fmla="*/ 126 h 358"/>
              <a:gd name="T4" fmla="*/ 145 w 336"/>
              <a:gd name="T5" fmla="*/ 139 h 358"/>
              <a:gd name="T6" fmla="*/ 0 w 336"/>
              <a:gd name="T7" fmla="*/ 0 h 358"/>
              <a:gd name="T8" fmla="*/ 283 w 336"/>
              <a:gd name="T9" fmla="*/ 192 h 358"/>
              <a:gd name="T10" fmla="*/ 164 w 336"/>
              <a:gd name="T11" fmla="*/ 172 h 358"/>
              <a:gd name="T12" fmla="*/ 336 w 336"/>
              <a:gd name="T13" fmla="*/ 358 h 3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36"/>
              <a:gd name="T22" fmla="*/ 0 h 358"/>
              <a:gd name="T23" fmla="*/ 336 w 336"/>
              <a:gd name="T24" fmla="*/ 358 h 3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36" h="358">
                <a:moveTo>
                  <a:pt x="336" y="358"/>
                </a:moveTo>
                <a:lnTo>
                  <a:pt x="52" y="126"/>
                </a:lnTo>
                <a:lnTo>
                  <a:pt x="145" y="139"/>
                </a:lnTo>
                <a:lnTo>
                  <a:pt x="0" y="0"/>
                </a:lnTo>
                <a:lnTo>
                  <a:pt x="283" y="192"/>
                </a:lnTo>
                <a:lnTo>
                  <a:pt x="164" y="172"/>
                </a:lnTo>
                <a:lnTo>
                  <a:pt x="336" y="358"/>
                </a:lnTo>
                <a:close/>
              </a:path>
            </a:pathLst>
          </a:custGeom>
          <a:solidFill>
            <a:srgbClr val="00B0F0"/>
          </a:solidFill>
          <a:ln w="9525">
            <a:noFill/>
            <a:round/>
            <a:headEnd/>
            <a:tailEnd/>
          </a:ln>
        </p:spPr>
        <p:txBody>
          <a:bodyPr lIns="45667" tIns="22832" rIns="45667" bIns="22832"/>
          <a:lstStyle/>
          <a:p>
            <a:endParaRPr lang="zh-CN" altLang="en-US" sz="2000" dirty="0"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  <p:grpSp>
        <p:nvGrpSpPr>
          <p:cNvPr id="79" name="组合 307"/>
          <p:cNvGrpSpPr/>
          <p:nvPr/>
        </p:nvGrpSpPr>
        <p:grpSpPr>
          <a:xfrm>
            <a:off x="7674263" y="1108852"/>
            <a:ext cx="507094" cy="497187"/>
            <a:chOff x="5699738" y="1078172"/>
            <a:chExt cx="1002734" cy="1089586"/>
          </a:xfrm>
          <a:solidFill>
            <a:schemeClr val="bg1">
              <a:lumMod val="50000"/>
            </a:schemeClr>
          </a:solidFill>
        </p:grpSpPr>
        <p:sp>
          <p:nvSpPr>
            <p:cNvPr id="340" name="Freeform 28"/>
            <p:cNvSpPr>
              <a:spLocks/>
            </p:cNvSpPr>
            <p:nvPr/>
          </p:nvSpPr>
          <p:spPr bwMode="auto">
            <a:xfrm>
              <a:off x="6023852" y="1573189"/>
              <a:ext cx="400050" cy="347663"/>
            </a:xfrm>
            <a:custGeom>
              <a:avLst/>
              <a:gdLst/>
              <a:ahLst/>
              <a:cxnLst>
                <a:cxn ang="0">
                  <a:pos x="7116" y="0"/>
                </a:cxn>
                <a:cxn ang="0">
                  <a:pos x="9012" y="0"/>
                </a:cxn>
                <a:cxn ang="0">
                  <a:pos x="9012" y="8289"/>
                </a:cxn>
                <a:cxn ang="0">
                  <a:pos x="16128" y="12381"/>
                </a:cxn>
                <a:cxn ang="0">
                  <a:pos x="15180" y="14016"/>
                </a:cxn>
                <a:cxn ang="0">
                  <a:pos x="7886" y="9821"/>
                </a:cxn>
                <a:cxn ang="0">
                  <a:pos x="948" y="13812"/>
                </a:cxn>
                <a:cxn ang="0">
                  <a:pos x="0" y="12177"/>
                </a:cxn>
                <a:cxn ang="0">
                  <a:pos x="7116" y="8084"/>
                </a:cxn>
                <a:cxn ang="0">
                  <a:pos x="7116" y="0"/>
                </a:cxn>
              </a:cxnLst>
              <a:rect l="0" t="0" r="r" b="b"/>
              <a:pathLst>
                <a:path w="16128" h="14016">
                  <a:moveTo>
                    <a:pt x="7116" y="0"/>
                  </a:moveTo>
                  <a:lnTo>
                    <a:pt x="9012" y="0"/>
                  </a:lnTo>
                  <a:lnTo>
                    <a:pt x="9012" y="8289"/>
                  </a:lnTo>
                  <a:lnTo>
                    <a:pt x="16128" y="12381"/>
                  </a:lnTo>
                  <a:lnTo>
                    <a:pt x="15180" y="14016"/>
                  </a:lnTo>
                  <a:lnTo>
                    <a:pt x="7886" y="9821"/>
                  </a:lnTo>
                  <a:lnTo>
                    <a:pt x="948" y="13812"/>
                  </a:lnTo>
                  <a:lnTo>
                    <a:pt x="0" y="12177"/>
                  </a:lnTo>
                  <a:lnTo>
                    <a:pt x="7116" y="8084"/>
                  </a:lnTo>
                  <a:lnTo>
                    <a:pt x="711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80" name="组合 264"/>
            <p:cNvGrpSpPr/>
            <p:nvPr/>
          </p:nvGrpSpPr>
          <p:grpSpPr>
            <a:xfrm>
              <a:off x="6054579" y="1078172"/>
              <a:ext cx="320346" cy="434493"/>
              <a:chOff x="4896805" y="3693132"/>
              <a:chExt cx="601339" cy="815610"/>
            </a:xfrm>
            <a:grpFill/>
          </p:grpSpPr>
          <p:sp>
            <p:nvSpPr>
              <p:cNvPr id="367" name="Freeform 104"/>
              <p:cNvSpPr>
                <a:spLocks/>
              </p:cNvSpPr>
              <p:nvPr/>
            </p:nvSpPr>
            <p:spPr bwMode="auto">
              <a:xfrm>
                <a:off x="5028132" y="3693132"/>
                <a:ext cx="338685" cy="338685"/>
              </a:xfrm>
              <a:custGeom>
                <a:avLst/>
                <a:gdLst/>
                <a:ahLst/>
                <a:cxnLst>
                  <a:cxn ang="0">
                    <a:pos x="98" y="50"/>
                  </a:cxn>
                  <a:cxn ang="0">
                    <a:pos x="98" y="50"/>
                  </a:cxn>
                  <a:cxn ang="0">
                    <a:pos x="98" y="60"/>
                  </a:cxn>
                  <a:cxn ang="0">
                    <a:pos x="94" y="68"/>
                  </a:cxn>
                  <a:cxn ang="0">
                    <a:pos x="90" y="76"/>
                  </a:cxn>
                  <a:cxn ang="0">
                    <a:pos x="84" y="84"/>
                  </a:cxn>
                  <a:cxn ang="0">
                    <a:pos x="76" y="90"/>
                  </a:cxn>
                  <a:cxn ang="0">
                    <a:pos x="68" y="94"/>
                  </a:cxn>
                  <a:cxn ang="0">
                    <a:pos x="5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38" y="98"/>
                  </a:cxn>
                  <a:cxn ang="0">
                    <a:pos x="30" y="94"/>
                  </a:cxn>
                  <a:cxn ang="0">
                    <a:pos x="22" y="90"/>
                  </a:cxn>
                  <a:cxn ang="0">
                    <a:pos x="14" y="84"/>
                  </a:cxn>
                  <a:cxn ang="0">
                    <a:pos x="8" y="76"/>
                  </a:cxn>
                  <a:cxn ang="0">
                    <a:pos x="4" y="68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40"/>
                  </a:cxn>
                  <a:cxn ang="0">
                    <a:pos x="4" y="30"/>
                  </a:cxn>
                  <a:cxn ang="0">
                    <a:pos x="8" y="22"/>
                  </a:cxn>
                  <a:cxn ang="0">
                    <a:pos x="14" y="14"/>
                  </a:cxn>
                  <a:cxn ang="0">
                    <a:pos x="22" y="8"/>
                  </a:cxn>
                  <a:cxn ang="0">
                    <a:pos x="30" y="4"/>
                  </a:cxn>
                  <a:cxn ang="0">
                    <a:pos x="38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58" y="0"/>
                  </a:cxn>
                  <a:cxn ang="0">
                    <a:pos x="68" y="4"/>
                  </a:cxn>
                  <a:cxn ang="0">
                    <a:pos x="76" y="8"/>
                  </a:cxn>
                  <a:cxn ang="0">
                    <a:pos x="84" y="14"/>
                  </a:cxn>
                  <a:cxn ang="0">
                    <a:pos x="90" y="22"/>
                  </a:cxn>
                  <a:cxn ang="0">
                    <a:pos x="94" y="30"/>
                  </a:cxn>
                  <a:cxn ang="0">
                    <a:pos x="98" y="40"/>
                  </a:cxn>
                  <a:cxn ang="0">
                    <a:pos x="98" y="50"/>
                  </a:cxn>
                  <a:cxn ang="0">
                    <a:pos x="98" y="50"/>
                  </a:cxn>
                </a:cxnLst>
                <a:rect l="0" t="0" r="r" b="b"/>
                <a:pathLst>
                  <a:path w="98" h="98">
                    <a:moveTo>
                      <a:pt x="98" y="50"/>
                    </a:moveTo>
                    <a:lnTo>
                      <a:pt x="98" y="50"/>
                    </a:lnTo>
                    <a:lnTo>
                      <a:pt x="98" y="60"/>
                    </a:lnTo>
                    <a:lnTo>
                      <a:pt x="94" y="68"/>
                    </a:lnTo>
                    <a:lnTo>
                      <a:pt x="90" y="76"/>
                    </a:lnTo>
                    <a:lnTo>
                      <a:pt x="84" y="84"/>
                    </a:lnTo>
                    <a:lnTo>
                      <a:pt x="76" y="90"/>
                    </a:lnTo>
                    <a:lnTo>
                      <a:pt x="68" y="94"/>
                    </a:lnTo>
                    <a:lnTo>
                      <a:pt x="5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38" y="98"/>
                    </a:lnTo>
                    <a:lnTo>
                      <a:pt x="30" y="94"/>
                    </a:lnTo>
                    <a:lnTo>
                      <a:pt x="22" y="90"/>
                    </a:lnTo>
                    <a:lnTo>
                      <a:pt x="14" y="84"/>
                    </a:lnTo>
                    <a:lnTo>
                      <a:pt x="8" y="76"/>
                    </a:lnTo>
                    <a:lnTo>
                      <a:pt x="4" y="68"/>
                    </a:lnTo>
                    <a:lnTo>
                      <a:pt x="0" y="6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3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68" y="4"/>
                    </a:lnTo>
                    <a:lnTo>
                      <a:pt x="76" y="8"/>
                    </a:lnTo>
                    <a:lnTo>
                      <a:pt x="84" y="14"/>
                    </a:lnTo>
                    <a:lnTo>
                      <a:pt x="90" y="22"/>
                    </a:lnTo>
                    <a:lnTo>
                      <a:pt x="94" y="30"/>
                    </a:lnTo>
                    <a:lnTo>
                      <a:pt x="98" y="40"/>
                    </a:lnTo>
                    <a:lnTo>
                      <a:pt x="98" y="50"/>
                    </a:lnTo>
                    <a:lnTo>
                      <a:pt x="98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8" name="Freeform 106"/>
              <p:cNvSpPr>
                <a:spLocks/>
              </p:cNvSpPr>
              <p:nvPr/>
            </p:nvSpPr>
            <p:spPr bwMode="auto">
              <a:xfrm>
                <a:off x="4896805" y="4066377"/>
                <a:ext cx="601339" cy="442365"/>
              </a:xfrm>
              <a:custGeom>
                <a:avLst/>
                <a:gdLst/>
                <a:ahLst/>
                <a:cxnLst>
                  <a:cxn ang="0">
                    <a:pos x="138" y="0"/>
                  </a:cxn>
                  <a:cxn ang="0">
                    <a:pos x="124" y="0"/>
                  </a:cxn>
                  <a:cxn ang="0">
                    <a:pos x="88" y="6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4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128"/>
                  </a:cxn>
                  <a:cxn ang="0">
                    <a:pos x="174" y="128"/>
                  </a:cxn>
                  <a:cxn ang="0">
                    <a:pos x="174" y="34"/>
                  </a:cxn>
                  <a:cxn ang="0">
                    <a:pos x="174" y="34"/>
                  </a:cxn>
                  <a:cxn ang="0">
                    <a:pos x="172" y="28"/>
                  </a:cxn>
                  <a:cxn ang="0">
                    <a:pos x="170" y="20"/>
                  </a:cxn>
                  <a:cxn ang="0">
                    <a:pos x="168" y="14"/>
                  </a:cxn>
                  <a:cxn ang="0">
                    <a:pos x="164" y="10"/>
                  </a:cxn>
                  <a:cxn ang="0">
                    <a:pos x="158" y="6"/>
                  </a:cxn>
                  <a:cxn ang="0">
                    <a:pos x="152" y="2"/>
                  </a:cxn>
                  <a:cxn ang="0">
                    <a:pos x="146" y="0"/>
                  </a:cxn>
                  <a:cxn ang="0">
                    <a:pos x="138" y="0"/>
                  </a:cxn>
                  <a:cxn ang="0">
                    <a:pos x="138" y="0"/>
                  </a:cxn>
                </a:cxnLst>
                <a:rect l="0" t="0" r="r" b="b"/>
                <a:pathLst>
                  <a:path w="174" h="128">
                    <a:moveTo>
                      <a:pt x="138" y="0"/>
                    </a:moveTo>
                    <a:lnTo>
                      <a:pt x="124" y="0"/>
                    </a:lnTo>
                    <a:lnTo>
                      <a:pt x="88" y="6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4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128"/>
                    </a:lnTo>
                    <a:lnTo>
                      <a:pt x="174" y="128"/>
                    </a:lnTo>
                    <a:lnTo>
                      <a:pt x="174" y="34"/>
                    </a:lnTo>
                    <a:lnTo>
                      <a:pt x="174" y="34"/>
                    </a:lnTo>
                    <a:lnTo>
                      <a:pt x="172" y="28"/>
                    </a:lnTo>
                    <a:lnTo>
                      <a:pt x="170" y="20"/>
                    </a:lnTo>
                    <a:lnTo>
                      <a:pt x="168" y="14"/>
                    </a:lnTo>
                    <a:lnTo>
                      <a:pt x="164" y="10"/>
                    </a:lnTo>
                    <a:lnTo>
                      <a:pt x="158" y="6"/>
                    </a:lnTo>
                    <a:lnTo>
                      <a:pt x="152" y="2"/>
                    </a:lnTo>
                    <a:lnTo>
                      <a:pt x="146" y="0"/>
                    </a:lnTo>
                    <a:lnTo>
                      <a:pt x="138" y="0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9" name="Freeform 107"/>
              <p:cNvSpPr>
                <a:spLocks/>
              </p:cNvSpPr>
              <p:nvPr/>
            </p:nvSpPr>
            <p:spPr bwMode="auto">
              <a:xfrm>
                <a:off x="5166371" y="4073289"/>
                <a:ext cx="62208" cy="131327"/>
              </a:xfrm>
              <a:custGeom>
                <a:avLst/>
                <a:gdLst/>
                <a:ahLst/>
                <a:cxnLst>
                  <a:cxn ang="0">
                    <a:pos x="18" y="38"/>
                  </a:cxn>
                  <a:cxn ang="0">
                    <a:pos x="18" y="38"/>
                  </a:cxn>
                  <a:cxn ang="0">
                    <a:pos x="8" y="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18" y="38"/>
                  </a:cxn>
                </a:cxnLst>
                <a:rect l="0" t="0" r="r" b="b"/>
                <a:pathLst>
                  <a:path w="18" h="38">
                    <a:moveTo>
                      <a:pt x="18" y="38"/>
                    </a:moveTo>
                    <a:lnTo>
                      <a:pt x="18" y="38"/>
                    </a:lnTo>
                    <a:lnTo>
                      <a:pt x="8" y="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8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0" name="Freeform 108"/>
              <p:cNvSpPr>
                <a:spLocks/>
              </p:cNvSpPr>
              <p:nvPr/>
            </p:nvSpPr>
            <p:spPr bwMode="auto">
              <a:xfrm>
                <a:off x="5166371" y="4204616"/>
                <a:ext cx="62208" cy="2073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0" y="0"/>
                  </a:cxn>
                </a:cxnLst>
                <a:rect l="0" t="0" r="r" b="b"/>
                <a:pathLst>
                  <a:path w="18" h="6">
                    <a:moveTo>
                      <a:pt x="0" y="0"/>
                    </a:moveTo>
                    <a:lnTo>
                      <a:pt x="0" y="0"/>
                    </a:lnTo>
                    <a:lnTo>
                      <a:pt x="10" y="6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9" name="Freeform 109"/>
              <p:cNvSpPr>
                <a:spLocks/>
              </p:cNvSpPr>
              <p:nvPr/>
            </p:nvSpPr>
            <p:spPr bwMode="auto">
              <a:xfrm>
                <a:off x="5187107" y="4066377"/>
                <a:ext cx="20736" cy="20736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4" y="6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6">
                    <a:moveTo>
                      <a:pt x="6" y="2"/>
                    </a:moveTo>
                    <a:lnTo>
                      <a:pt x="4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81" name="组合 290"/>
            <p:cNvGrpSpPr/>
            <p:nvPr/>
          </p:nvGrpSpPr>
          <p:grpSpPr>
            <a:xfrm>
              <a:off x="5699738" y="1733265"/>
              <a:ext cx="320346" cy="434493"/>
              <a:chOff x="4896805" y="3693132"/>
              <a:chExt cx="601339" cy="815610"/>
            </a:xfrm>
            <a:grpFill/>
          </p:grpSpPr>
          <p:sp>
            <p:nvSpPr>
              <p:cNvPr id="362" name="Freeform 104"/>
              <p:cNvSpPr>
                <a:spLocks/>
              </p:cNvSpPr>
              <p:nvPr/>
            </p:nvSpPr>
            <p:spPr bwMode="auto">
              <a:xfrm>
                <a:off x="5028132" y="3693132"/>
                <a:ext cx="338685" cy="338685"/>
              </a:xfrm>
              <a:custGeom>
                <a:avLst/>
                <a:gdLst/>
                <a:ahLst/>
                <a:cxnLst>
                  <a:cxn ang="0">
                    <a:pos x="98" y="50"/>
                  </a:cxn>
                  <a:cxn ang="0">
                    <a:pos x="98" y="50"/>
                  </a:cxn>
                  <a:cxn ang="0">
                    <a:pos x="98" y="60"/>
                  </a:cxn>
                  <a:cxn ang="0">
                    <a:pos x="94" y="68"/>
                  </a:cxn>
                  <a:cxn ang="0">
                    <a:pos x="90" y="76"/>
                  </a:cxn>
                  <a:cxn ang="0">
                    <a:pos x="84" y="84"/>
                  </a:cxn>
                  <a:cxn ang="0">
                    <a:pos x="76" y="90"/>
                  </a:cxn>
                  <a:cxn ang="0">
                    <a:pos x="68" y="94"/>
                  </a:cxn>
                  <a:cxn ang="0">
                    <a:pos x="5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38" y="98"/>
                  </a:cxn>
                  <a:cxn ang="0">
                    <a:pos x="30" y="94"/>
                  </a:cxn>
                  <a:cxn ang="0">
                    <a:pos x="22" y="90"/>
                  </a:cxn>
                  <a:cxn ang="0">
                    <a:pos x="14" y="84"/>
                  </a:cxn>
                  <a:cxn ang="0">
                    <a:pos x="8" y="76"/>
                  </a:cxn>
                  <a:cxn ang="0">
                    <a:pos x="4" y="68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40"/>
                  </a:cxn>
                  <a:cxn ang="0">
                    <a:pos x="4" y="30"/>
                  </a:cxn>
                  <a:cxn ang="0">
                    <a:pos x="8" y="22"/>
                  </a:cxn>
                  <a:cxn ang="0">
                    <a:pos x="14" y="14"/>
                  </a:cxn>
                  <a:cxn ang="0">
                    <a:pos x="22" y="8"/>
                  </a:cxn>
                  <a:cxn ang="0">
                    <a:pos x="30" y="4"/>
                  </a:cxn>
                  <a:cxn ang="0">
                    <a:pos x="38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58" y="0"/>
                  </a:cxn>
                  <a:cxn ang="0">
                    <a:pos x="68" y="4"/>
                  </a:cxn>
                  <a:cxn ang="0">
                    <a:pos x="76" y="8"/>
                  </a:cxn>
                  <a:cxn ang="0">
                    <a:pos x="84" y="14"/>
                  </a:cxn>
                  <a:cxn ang="0">
                    <a:pos x="90" y="22"/>
                  </a:cxn>
                  <a:cxn ang="0">
                    <a:pos x="94" y="30"/>
                  </a:cxn>
                  <a:cxn ang="0">
                    <a:pos x="98" y="40"/>
                  </a:cxn>
                  <a:cxn ang="0">
                    <a:pos x="98" y="50"/>
                  </a:cxn>
                  <a:cxn ang="0">
                    <a:pos x="98" y="50"/>
                  </a:cxn>
                </a:cxnLst>
                <a:rect l="0" t="0" r="r" b="b"/>
                <a:pathLst>
                  <a:path w="98" h="98">
                    <a:moveTo>
                      <a:pt x="98" y="50"/>
                    </a:moveTo>
                    <a:lnTo>
                      <a:pt x="98" y="50"/>
                    </a:lnTo>
                    <a:lnTo>
                      <a:pt x="98" y="60"/>
                    </a:lnTo>
                    <a:lnTo>
                      <a:pt x="94" y="68"/>
                    </a:lnTo>
                    <a:lnTo>
                      <a:pt x="90" y="76"/>
                    </a:lnTo>
                    <a:lnTo>
                      <a:pt x="84" y="84"/>
                    </a:lnTo>
                    <a:lnTo>
                      <a:pt x="76" y="90"/>
                    </a:lnTo>
                    <a:lnTo>
                      <a:pt x="68" y="94"/>
                    </a:lnTo>
                    <a:lnTo>
                      <a:pt x="5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38" y="98"/>
                    </a:lnTo>
                    <a:lnTo>
                      <a:pt x="30" y="94"/>
                    </a:lnTo>
                    <a:lnTo>
                      <a:pt x="22" y="90"/>
                    </a:lnTo>
                    <a:lnTo>
                      <a:pt x="14" y="84"/>
                    </a:lnTo>
                    <a:lnTo>
                      <a:pt x="8" y="76"/>
                    </a:lnTo>
                    <a:lnTo>
                      <a:pt x="4" y="68"/>
                    </a:lnTo>
                    <a:lnTo>
                      <a:pt x="0" y="6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3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68" y="4"/>
                    </a:lnTo>
                    <a:lnTo>
                      <a:pt x="76" y="8"/>
                    </a:lnTo>
                    <a:lnTo>
                      <a:pt x="84" y="14"/>
                    </a:lnTo>
                    <a:lnTo>
                      <a:pt x="90" y="22"/>
                    </a:lnTo>
                    <a:lnTo>
                      <a:pt x="94" y="30"/>
                    </a:lnTo>
                    <a:lnTo>
                      <a:pt x="98" y="40"/>
                    </a:lnTo>
                    <a:lnTo>
                      <a:pt x="98" y="50"/>
                    </a:lnTo>
                    <a:lnTo>
                      <a:pt x="98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3" name="Freeform 106"/>
              <p:cNvSpPr>
                <a:spLocks/>
              </p:cNvSpPr>
              <p:nvPr/>
            </p:nvSpPr>
            <p:spPr bwMode="auto">
              <a:xfrm>
                <a:off x="4896805" y="4066377"/>
                <a:ext cx="601339" cy="442365"/>
              </a:xfrm>
              <a:custGeom>
                <a:avLst/>
                <a:gdLst/>
                <a:ahLst/>
                <a:cxnLst>
                  <a:cxn ang="0">
                    <a:pos x="138" y="0"/>
                  </a:cxn>
                  <a:cxn ang="0">
                    <a:pos x="124" y="0"/>
                  </a:cxn>
                  <a:cxn ang="0">
                    <a:pos x="88" y="6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4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128"/>
                  </a:cxn>
                  <a:cxn ang="0">
                    <a:pos x="174" y="128"/>
                  </a:cxn>
                  <a:cxn ang="0">
                    <a:pos x="174" y="34"/>
                  </a:cxn>
                  <a:cxn ang="0">
                    <a:pos x="174" y="34"/>
                  </a:cxn>
                  <a:cxn ang="0">
                    <a:pos x="172" y="28"/>
                  </a:cxn>
                  <a:cxn ang="0">
                    <a:pos x="170" y="20"/>
                  </a:cxn>
                  <a:cxn ang="0">
                    <a:pos x="168" y="14"/>
                  </a:cxn>
                  <a:cxn ang="0">
                    <a:pos x="164" y="10"/>
                  </a:cxn>
                  <a:cxn ang="0">
                    <a:pos x="158" y="6"/>
                  </a:cxn>
                  <a:cxn ang="0">
                    <a:pos x="152" y="2"/>
                  </a:cxn>
                  <a:cxn ang="0">
                    <a:pos x="146" y="0"/>
                  </a:cxn>
                  <a:cxn ang="0">
                    <a:pos x="138" y="0"/>
                  </a:cxn>
                  <a:cxn ang="0">
                    <a:pos x="138" y="0"/>
                  </a:cxn>
                </a:cxnLst>
                <a:rect l="0" t="0" r="r" b="b"/>
                <a:pathLst>
                  <a:path w="174" h="128">
                    <a:moveTo>
                      <a:pt x="138" y="0"/>
                    </a:moveTo>
                    <a:lnTo>
                      <a:pt x="124" y="0"/>
                    </a:lnTo>
                    <a:lnTo>
                      <a:pt x="88" y="6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4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128"/>
                    </a:lnTo>
                    <a:lnTo>
                      <a:pt x="174" y="128"/>
                    </a:lnTo>
                    <a:lnTo>
                      <a:pt x="174" y="34"/>
                    </a:lnTo>
                    <a:lnTo>
                      <a:pt x="174" y="34"/>
                    </a:lnTo>
                    <a:lnTo>
                      <a:pt x="172" y="28"/>
                    </a:lnTo>
                    <a:lnTo>
                      <a:pt x="170" y="20"/>
                    </a:lnTo>
                    <a:lnTo>
                      <a:pt x="168" y="14"/>
                    </a:lnTo>
                    <a:lnTo>
                      <a:pt x="164" y="10"/>
                    </a:lnTo>
                    <a:lnTo>
                      <a:pt x="158" y="6"/>
                    </a:lnTo>
                    <a:lnTo>
                      <a:pt x="152" y="2"/>
                    </a:lnTo>
                    <a:lnTo>
                      <a:pt x="146" y="0"/>
                    </a:lnTo>
                    <a:lnTo>
                      <a:pt x="138" y="0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4" name="Freeform 107"/>
              <p:cNvSpPr>
                <a:spLocks/>
              </p:cNvSpPr>
              <p:nvPr/>
            </p:nvSpPr>
            <p:spPr bwMode="auto">
              <a:xfrm>
                <a:off x="5166371" y="4073289"/>
                <a:ext cx="62208" cy="131327"/>
              </a:xfrm>
              <a:custGeom>
                <a:avLst/>
                <a:gdLst/>
                <a:ahLst/>
                <a:cxnLst>
                  <a:cxn ang="0">
                    <a:pos x="18" y="38"/>
                  </a:cxn>
                  <a:cxn ang="0">
                    <a:pos x="18" y="38"/>
                  </a:cxn>
                  <a:cxn ang="0">
                    <a:pos x="8" y="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18" y="38"/>
                  </a:cxn>
                </a:cxnLst>
                <a:rect l="0" t="0" r="r" b="b"/>
                <a:pathLst>
                  <a:path w="18" h="38">
                    <a:moveTo>
                      <a:pt x="18" y="38"/>
                    </a:moveTo>
                    <a:lnTo>
                      <a:pt x="18" y="38"/>
                    </a:lnTo>
                    <a:lnTo>
                      <a:pt x="8" y="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8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5" name="Freeform 108"/>
              <p:cNvSpPr>
                <a:spLocks/>
              </p:cNvSpPr>
              <p:nvPr/>
            </p:nvSpPr>
            <p:spPr bwMode="auto">
              <a:xfrm>
                <a:off x="5166371" y="4204616"/>
                <a:ext cx="62208" cy="2073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0" y="0"/>
                  </a:cxn>
                </a:cxnLst>
                <a:rect l="0" t="0" r="r" b="b"/>
                <a:pathLst>
                  <a:path w="18" h="6">
                    <a:moveTo>
                      <a:pt x="0" y="0"/>
                    </a:moveTo>
                    <a:lnTo>
                      <a:pt x="0" y="0"/>
                    </a:lnTo>
                    <a:lnTo>
                      <a:pt x="10" y="6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6" name="Freeform 109"/>
              <p:cNvSpPr>
                <a:spLocks/>
              </p:cNvSpPr>
              <p:nvPr/>
            </p:nvSpPr>
            <p:spPr bwMode="auto">
              <a:xfrm>
                <a:off x="5187107" y="4066377"/>
                <a:ext cx="20736" cy="20736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4" y="6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6">
                    <a:moveTo>
                      <a:pt x="6" y="2"/>
                    </a:moveTo>
                    <a:lnTo>
                      <a:pt x="4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82" name="组合 297"/>
            <p:cNvGrpSpPr/>
            <p:nvPr/>
          </p:nvGrpSpPr>
          <p:grpSpPr>
            <a:xfrm>
              <a:off x="6382126" y="1733265"/>
              <a:ext cx="320346" cy="434493"/>
              <a:chOff x="4896805" y="3693132"/>
              <a:chExt cx="601339" cy="815610"/>
            </a:xfrm>
            <a:grpFill/>
          </p:grpSpPr>
          <p:sp>
            <p:nvSpPr>
              <p:cNvPr id="344" name="Freeform 104"/>
              <p:cNvSpPr>
                <a:spLocks/>
              </p:cNvSpPr>
              <p:nvPr/>
            </p:nvSpPr>
            <p:spPr bwMode="auto">
              <a:xfrm>
                <a:off x="5028132" y="3693132"/>
                <a:ext cx="338685" cy="338685"/>
              </a:xfrm>
              <a:custGeom>
                <a:avLst/>
                <a:gdLst/>
                <a:ahLst/>
                <a:cxnLst>
                  <a:cxn ang="0">
                    <a:pos x="98" y="50"/>
                  </a:cxn>
                  <a:cxn ang="0">
                    <a:pos x="98" y="50"/>
                  </a:cxn>
                  <a:cxn ang="0">
                    <a:pos x="98" y="60"/>
                  </a:cxn>
                  <a:cxn ang="0">
                    <a:pos x="94" y="68"/>
                  </a:cxn>
                  <a:cxn ang="0">
                    <a:pos x="90" y="76"/>
                  </a:cxn>
                  <a:cxn ang="0">
                    <a:pos x="84" y="84"/>
                  </a:cxn>
                  <a:cxn ang="0">
                    <a:pos x="76" y="90"/>
                  </a:cxn>
                  <a:cxn ang="0">
                    <a:pos x="68" y="94"/>
                  </a:cxn>
                  <a:cxn ang="0">
                    <a:pos x="58" y="98"/>
                  </a:cxn>
                  <a:cxn ang="0">
                    <a:pos x="48" y="98"/>
                  </a:cxn>
                  <a:cxn ang="0">
                    <a:pos x="48" y="98"/>
                  </a:cxn>
                  <a:cxn ang="0">
                    <a:pos x="38" y="98"/>
                  </a:cxn>
                  <a:cxn ang="0">
                    <a:pos x="30" y="94"/>
                  </a:cxn>
                  <a:cxn ang="0">
                    <a:pos x="22" y="90"/>
                  </a:cxn>
                  <a:cxn ang="0">
                    <a:pos x="14" y="84"/>
                  </a:cxn>
                  <a:cxn ang="0">
                    <a:pos x="8" y="76"/>
                  </a:cxn>
                  <a:cxn ang="0">
                    <a:pos x="4" y="68"/>
                  </a:cxn>
                  <a:cxn ang="0">
                    <a:pos x="0" y="6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40"/>
                  </a:cxn>
                  <a:cxn ang="0">
                    <a:pos x="4" y="30"/>
                  </a:cxn>
                  <a:cxn ang="0">
                    <a:pos x="8" y="22"/>
                  </a:cxn>
                  <a:cxn ang="0">
                    <a:pos x="14" y="14"/>
                  </a:cxn>
                  <a:cxn ang="0">
                    <a:pos x="22" y="8"/>
                  </a:cxn>
                  <a:cxn ang="0">
                    <a:pos x="30" y="4"/>
                  </a:cxn>
                  <a:cxn ang="0">
                    <a:pos x="38" y="0"/>
                  </a:cxn>
                  <a:cxn ang="0">
                    <a:pos x="48" y="0"/>
                  </a:cxn>
                  <a:cxn ang="0">
                    <a:pos x="48" y="0"/>
                  </a:cxn>
                  <a:cxn ang="0">
                    <a:pos x="58" y="0"/>
                  </a:cxn>
                  <a:cxn ang="0">
                    <a:pos x="68" y="4"/>
                  </a:cxn>
                  <a:cxn ang="0">
                    <a:pos x="76" y="8"/>
                  </a:cxn>
                  <a:cxn ang="0">
                    <a:pos x="84" y="14"/>
                  </a:cxn>
                  <a:cxn ang="0">
                    <a:pos x="90" y="22"/>
                  </a:cxn>
                  <a:cxn ang="0">
                    <a:pos x="94" y="30"/>
                  </a:cxn>
                  <a:cxn ang="0">
                    <a:pos x="98" y="40"/>
                  </a:cxn>
                  <a:cxn ang="0">
                    <a:pos x="98" y="50"/>
                  </a:cxn>
                  <a:cxn ang="0">
                    <a:pos x="98" y="50"/>
                  </a:cxn>
                </a:cxnLst>
                <a:rect l="0" t="0" r="r" b="b"/>
                <a:pathLst>
                  <a:path w="98" h="98">
                    <a:moveTo>
                      <a:pt x="98" y="50"/>
                    </a:moveTo>
                    <a:lnTo>
                      <a:pt x="98" y="50"/>
                    </a:lnTo>
                    <a:lnTo>
                      <a:pt x="98" y="60"/>
                    </a:lnTo>
                    <a:lnTo>
                      <a:pt x="94" y="68"/>
                    </a:lnTo>
                    <a:lnTo>
                      <a:pt x="90" y="76"/>
                    </a:lnTo>
                    <a:lnTo>
                      <a:pt x="84" y="84"/>
                    </a:lnTo>
                    <a:lnTo>
                      <a:pt x="76" y="90"/>
                    </a:lnTo>
                    <a:lnTo>
                      <a:pt x="68" y="94"/>
                    </a:lnTo>
                    <a:lnTo>
                      <a:pt x="5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38" y="98"/>
                    </a:lnTo>
                    <a:lnTo>
                      <a:pt x="30" y="94"/>
                    </a:lnTo>
                    <a:lnTo>
                      <a:pt x="22" y="90"/>
                    </a:lnTo>
                    <a:lnTo>
                      <a:pt x="14" y="84"/>
                    </a:lnTo>
                    <a:lnTo>
                      <a:pt x="8" y="76"/>
                    </a:lnTo>
                    <a:lnTo>
                      <a:pt x="4" y="68"/>
                    </a:lnTo>
                    <a:lnTo>
                      <a:pt x="0" y="6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0"/>
                    </a:lnTo>
                    <a:lnTo>
                      <a:pt x="4" y="30"/>
                    </a:lnTo>
                    <a:lnTo>
                      <a:pt x="8" y="22"/>
                    </a:lnTo>
                    <a:lnTo>
                      <a:pt x="14" y="14"/>
                    </a:lnTo>
                    <a:lnTo>
                      <a:pt x="22" y="8"/>
                    </a:lnTo>
                    <a:lnTo>
                      <a:pt x="30" y="4"/>
                    </a:lnTo>
                    <a:lnTo>
                      <a:pt x="3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58" y="0"/>
                    </a:lnTo>
                    <a:lnTo>
                      <a:pt x="68" y="4"/>
                    </a:lnTo>
                    <a:lnTo>
                      <a:pt x="76" y="8"/>
                    </a:lnTo>
                    <a:lnTo>
                      <a:pt x="84" y="14"/>
                    </a:lnTo>
                    <a:lnTo>
                      <a:pt x="90" y="22"/>
                    </a:lnTo>
                    <a:lnTo>
                      <a:pt x="94" y="30"/>
                    </a:lnTo>
                    <a:lnTo>
                      <a:pt x="98" y="40"/>
                    </a:lnTo>
                    <a:lnTo>
                      <a:pt x="98" y="50"/>
                    </a:lnTo>
                    <a:lnTo>
                      <a:pt x="98" y="5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8" name="Freeform 106"/>
              <p:cNvSpPr>
                <a:spLocks/>
              </p:cNvSpPr>
              <p:nvPr/>
            </p:nvSpPr>
            <p:spPr bwMode="auto">
              <a:xfrm>
                <a:off x="4896805" y="4066377"/>
                <a:ext cx="601339" cy="442365"/>
              </a:xfrm>
              <a:custGeom>
                <a:avLst/>
                <a:gdLst/>
                <a:ahLst/>
                <a:cxnLst>
                  <a:cxn ang="0">
                    <a:pos x="138" y="0"/>
                  </a:cxn>
                  <a:cxn ang="0">
                    <a:pos x="124" y="0"/>
                  </a:cxn>
                  <a:cxn ang="0">
                    <a:pos x="88" y="6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28" y="0"/>
                  </a:cxn>
                  <a:cxn ang="0">
                    <a:pos x="22" y="2"/>
                  </a:cxn>
                  <a:cxn ang="0">
                    <a:pos x="16" y="6"/>
                  </a:cxn>
                  <a:cxn ang="0">
                    <a:pos x="10" y="10"/>
                  </a:cxn>
                  <a:cxn ang="0">
                    <a:pos x="6" y="14"/>
                  </a:cxn>
                  <a:cxn ang="0">
                    <a:pos x="4" y="20"/>
                  </a:cxn>
                  <a:cxn ang="0">
                    <a:pos x="2" y="28"/>
                  </a:cxn>
                  <a:cxn ang="0">
                    <a:pos x="0" y="34"/>
                  </a:cxn>
                  <a:cxn ang="0">
                    <a:pos x="0" y="128"/>
                  </a:cxn>
                  <a:cxn ang="0">
                    <a:pos x="174" y="128"/>
                  </a:cxn>
                  <a:cxn ang="0">
                    <a:pos x="174" y="34"/>
                  </a:cxn>
                  <a:cxn ang="0">
                    <a:pos x="174" y="34"/>
                  </a:cxn>
                  <a:cxn ang="0">
                    <a:pos x="172" y="28"/>
                  </a:cxn>
                  <a:cxn ang="0">
                    <a:pos x="170" y="20"/>
                  </a:cxn>
                  <a:cxn ang="0">
                    <a:pos x="168" y="14"/>
                  </a:cxn>
                  <a:cxn ang="0">
                    <a:pos x="164" y="10"/>
                  </a:cxn>
                  <a:cxn ang="0">
                    <a:pos x="158" y="6"/>
                  </a:cxn>
                  <a:cxn ang="0">
                    <a:pos x="152" y="2"/>
                  </a:cxn>
                  <a:cxn ang="0">
                    <a:pos x="146" y="0"/>
                  </a:cxn>
                  <a:cxn ang="0">
                    <a:pos x="138" y="0"/>
                  </a:cxn>
                  <a:cxn ang="0">
                    <a:pos x="138" y="0"/>
                  </a:cxn>
                </a:cxnLst>
                <a:rect l="0" t="0" r="r" b="b"/>
                <a:pathLst>
                  <a:path w="174" h="128">
                    <a:moveTo>
                      <a:pt x="138" y="0"/>
                    </a:moveTo>
                    <a:lnTo>
                      <a:pt x="124" y="0"/>
                    </a:lnTo>
                    <a:lnTo>
                      <a:pt x="88" y="6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28" y="0"/>
                    </a:lnTo>
                    <a:lnTo>
                      <a:pt x="22" y="2"/>
                    </a:lnTo>
                    <a:lnTo>
                      <a:pt x="16" y="6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4" y="20"/>
                    </a:lnTo>
                    <a:lnTo>
                      <a:pt x="2" y="28"/>
                    </a:lnTo>
                    <a:lnTo>
                      <a:pt x="0" y="34"/>
                    </a:lnTo>
                    <a:lnTo>
                      <a:pt x="0" y="128"/>
                    </a:lnTo>
                    <a:lnTo>
                      <a:pt x="174" y="128"/>
                    </a:lnTo>
                    <a:lnTo>
                      <a:pt x="174" y="34"/>
                    </a:lnTo>
                    <a:lnTo>
                      <a:pt x="174" y="34"/>
                    </a:lnTo>
                    <a:lnTo>
                      <a:pt x="172" y="28"/>
                    </a:lnTo>
                    <a:lnTo>
                      <a:pt x="170" y="20"/>
                    </a:lnTo>
                    <a:lnTo>
                      <a:pt x="168" y="14"/>
                    </a:lnTo>
                    <a:lnTo>
                      <a:pt x="164" y="10"/>
                    </a:lnTo>
                    <a:lnTo>
                      <a:pt x="158" y="6"/>
                    </a:lnTo>
                    <a:lnTo>
                      <a:pt x="152" y="2"/>
                    </a:lnTo>
                    <a:lnTo>
                      <a:pt x="146" y="0"/>
                    </a:lnTo>
                    <a:lnTo>
                      <a:pt x="138" y="0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9" name="Freeform 107"/>
              <p:cNvSpPr>
                <a:spLocks/>
              </p:cNvSpPr>
              <p:nvPr/>
            </p:nvSpPr>
            <p:spPr bwMode="auto">
              <a:xfrm>
                <a:off x="5166371" y="4073289"/>
                <a:ext cx="62208" cy="131327"/>
              </a:xfrm>
              <a:custGeom>
                <a:avLst/>
                <a:gdLst/>
                <a:ahLst/>
                <a:cxnLst>
                  <a:cxn ang="0">
                    <a:pos x="18" y="38"/>
                  </a:cxn>
                  <a:cxn ang="0">
                    <a:pos x="18" y="38"/>
                  </a:cxn>
                  <a:cxn ang="0">
                    <a:pos x="8" y="0"/>
                  </a:cxn>
                  <a:cxn ang="0">
                    <a:pos x="0" y="38"/>
                  </a:cxn>
                  <a:cxn ang="0">
                    <a:pos x="0" y="38"/>
                  </a:cxn>
                  <a:cxn ang="0">
                    <a:pos x="18" y="38"/>
                  </a:cxn>
                </a:cxnLst>
                <a:rect l="0" t="0" r="r" b="b"/>
                <a:pathLst>
                  <a:path w="18" h="38">
                    <a:moveTo>
                      <a:pt x="18" y="38"/>
                    </a:moveTo>
                    <a:lnTo>
                      <a:pt x="18" y="38"/>
                    </a:lnTo>
                    <a:lnTo>
                      <a:pt x="8" y="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8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0" name="Freeform 108"/>
              <p:cNvSpPr>
                <a:spLocks/>
              </p:cNvSpPr>
              <p:nvPr/>
            </p:nvSpPr>
            <p:spPr bwMode="auto">
              <a:xfrm>
                <a:off x="5166371" y="4204616"/>
                <a:ext cx="62208" cy="2073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0" y="6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0" y="0"/>
                  </a:cxn>
                </a:cxnLst>
                <a:rect l="0" t="0" r="r" b="b"/>
                <a:pathLst>
                  <a:path w="18" h="6">
                    <a:moveTo>
                      <a:pt x="0" y="0"/>
                    </a:moveTo>
                    <a:lnTo>
                      <a:pt x="0" y="0"/>
                    </a:lnTo>
                    <a:lnTo>
                      <a:pt x="10" y="6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1" name="Freeform 109"/>
              <p:cNvSpPr>
                <a:spLocks/>
              </p:cNvSpPr>
              <p:nvPr/>
            </p:nvSpPr>
            <p:spPr bwMode="auto">
              <a:xfrm>
                <a:off x="5187107" y="4066377"/>
                <a:ext cx="20736" cy="20736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4" y="6"/>
                  </a:cxn>
                  <a:cxn ang="0">
                    <a:pos x="0" y="2"/>
                  </a:cxn>
                  <a:cxn ang="0">
                    <a:pos x="4" y="0"/>
                  </a:cxn>
                  <a:cxn ang="0">
                    <a:pos x="6" y="2"/>
                  </a:cxn>
                </a:cxnLst>
                <a:rect l="0" t="0" r="r" b="b"/>
                <a:pathLst>
                  <a:path w="6" h="6">
                    <a:moveTo>
                      <a:pt x="6" y="2"/>
                    </a:moveTo>
                    <a:lnTo>
                      <a:pt x="4" y="6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380" name="文本框 379"/>
          <p:cNvSpPr txBox="1"/>
          <p:nvPr/>
        </p:nvSpPr>
        <p:spPr>
          <a:xfrm>
            <a:off x="7403940" y="1635646"/>
            <a:ext cx="1175002" cy="2276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73025" tIns="36512" rIns="73025" bIns="36512">
            <a:spAutoFit/>
          </a:bodyPr>
          <a:lstStyle>
            <a:defPPr>
              <a:defRPr lang="zh-CN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kern="0">
                <a:latin typeface="Arial" pitchFamily="34" charset="0"/>
                <a:ea typeface="微软雅黑" pitchFamily="34" charset="-122"/>
                <a:cs typeface="Arial" pitchFamily="34" charset="0"/>
              </a:defRPr>
            </a:lvl1pPr>
          </a:lstStyle>
          <a:p>
            <a:r>
              <a:rPr lang="en-US" altLang="zh-CN" dirty="0" smtClean="0"/>
              <a:t>Video </a:t>
            </a:r>
            <a:r>
              <a:rPr lang="en-US" altLang="zh-CN" dirty="0"/>
              <a:t>Dispatching</a:t>
            </a:r>
            <a:endParaRPr lang="zh-CN" altLang="en-US" dirty="0"/>
          </a:p>
        </p:txBody>
      </p:sp>
      <p:cxnSp>
        <p:nvCxnSpPr>
          <p:cNvPr id="393" name="直接连接符 392"/>
          <p:cNvCxnSpPr/>
          <p:nvPr/>
        </p:nvCxnSpPr>
        <p:spPr bwMode="auto">
          <a:xfrm flipV="1">
            <a:off x="6611852" y="1779662"/>
            <a:ext cx="0" cy="155772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4" name="直接连接符 393"/>
          <p:cNvCxnSpPr/>
          <p:nvPr/>
        </p:nvCxnSpPr>
        <p:spPr bwMode="auto">
          <a:xfrm flipV="1">
            <a:off x="7907996" y="1839914"/>
            <a:ext cx="0" cy="155772"/>
          </a:xfrm>
          <a:prstGeom prst="line">
            <a:avLst/>
          </a:prstGeom>
          <a:noFill/>
          <a:ln w="28575">
            <a:solidFill>
              <a:srgbClr val="000000">
                <a:lumMod val="65000"/>
                <a:lumOff val="35000"/>
              </a:srgbClr>
            </a:solidFill>
            <a:prstDash val="sysDot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3" name="119841472"/>
          <p:cNvSpPr/>
          <p:nvPr/>
        </p:nvSpPr>
        <p:spPr>
          <a:xfrm>
            <a:off x="7092613" y="2698102"/>
            <a:ext cx="1004088" cy="227127"/>
          </a:xfrm>
          <a:prstGeom prst="rect">
            <a:avLst/>
          </a:prstGeom>
        </p:spPr>
        <p:txBody>
          <a:bodyPr wrap="none" lIns="72532" tIns="36265" rIns="72532" bIns="36265">
            <a:spAutoFit/>
          </a:bodyPr>
          <a:lstStyle/>
          <a:p>
            <a:pPr algn="ctr" defTabSz="725344" fontAlgn="ctr">
              <a:spcBef>
                <a:spcPts val="0"/>
              </a:spcBef>
              <a:spcAft>
                <a:spcPts val="0"/>
              </a:spcAft>
              <a:buClrTx/>
              <a:buNone/>
              <a:defRPr/>
            </a:pPr>
            <a:r>
              <a:rPr lang="en-US" altLang="zh-CN" sz="1000" kern="0" dirty="0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Video </a:t>
            </a:r>
            <a:r>
              <a:rPr lang="en-US" altLang="zh-CN" sz="1000" kern="0" dirty="0" err="1" smtClean="0">
                <a:solidFill>
                  <a:sysClr val="windowText" lastClr="000000"/>
                </a:solidFill>
                <a:latin typeface="Arial" pitchFamily="34" charset="0"/>
                <a:ea typeface="微软雅黑" pitchFamily="34" charset="-122"/>
                <a:cs typeface="Arial" pitchFamily="34" charset="0"/>
              </a:rPr>
              <a:t>Trunking</a:t>
            </a:r>
            <a:endParaRPr lang="en-US" altLang="zh-CN" sz="1000" b="0" kern="0" dirty="0">
              <a:solidFill>
                <a:sysClr val="windowText" lastClr="000000"/>
              </a:solidFill>
              <a:latin typeface="Arial" pitchFamily="34" charset="0"/>
              <a:ea typeface="微软雅黑" pitchFamily="34" charset="-122"/>
              <a:cs typeface="Arial" pitchFamily="34" charset="0"/>
            </a:endParaRPr>
          </a:p>
        </p:txBody>
      </p:sp>
    </p:spTree>
  </p:cSld>
  <p:clrMapOvr>
    <a:masterClrMapping/>
  </p:clrMapOvr>
  <p:transition spd="med" advClick="0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TOo7sUuEezGwC0YSqly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TOo7sUuEezGwC0YSql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_9HJvq7UK0hr3_Cl97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nvnwX.kSCaUnVxUYc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NnvnwX.kSCaUnVxUYc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.ufT36EGrX9mMcGAH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A.ufT36EGrX9mMcGAH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LDePWlHEqvHwy8.BSN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LDePWlHEqvHwy8.BSN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LDePWlHEqvHwy8.BSN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SENTER_SHAPETEXTINFO" val="&lt;ShapeTextInfo&gt;&lt;TableIndex row=&quot;-1&quot; col=&quot;-1&quot;&gt;&lt;linesCount val=&quot;6&quot;/&gt;&lt;lineCharCount val=&quot;5&quot;/&gt;&lt;lineCharCount val=&quot;38&quot;/&gt;&lt;lineCharCount val=&quot;21&quot;/&gt;&lt;lineCharCount val=&quot;5&quot;/&gt;&lt;lineCharCount val=&quot;36&quot;/&gt;&lt;lineCharCount val=&quot;11&quot;/&gt;&lt;/TableIndex&gt;&lt;/ShapeTextInfo&gt;"/>
</p:tagLst>
</file>

<file path=ppt/theme/theme1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0" marR="0" indent="457200" algn="l" defTabSz="914400" rtl="0" eaLnBrk="1" fontAlgn="auto" latinLnBrk="0" hangingPunct="1">
          <a:lnSpc>
            <a:spcPct val="200000"/>
          </a:lnSpc>
          <a:spcBef>
            <a:spcPts val="0"/>
          </a:spcBef>
          <a:spcAft>
            <a:spcPts val="0"/>
          </a:spcAft>
          <a:buClrTx/>
          <a:buSzTx/>
          <a:buFont typeface="Wingdings" pitchFamily="2" charset="2"/>
          <a:buChar char="l"/>
          <a:tabLst/>
          <a:defRPr sz="2000" dirty="0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769BE840221E46A7DB18A8CFB8F226" ma:contentTypeVersion="6" ma:contentTypeDescription="Create a new document." ma:contentTypeScope="" ma:versionID="7ff532766d926365a4f200f6b078f491">
  <xsd:schema xmlns:xsd="http://www.w3.org/2001/XMLSchema" xmlns:xs="http://www.w3.org/2001/XMLSchema" xmlns:p="http://schemas.microsoft.com/office/2006/metadata/properties" xmlns:ns1="http://schemas.microsoft.com/sharepoint/v3" xmlns:ns2="c33f335d-c598-42c5-930e-ed783bf10eb7" xmlns:ns3="1aaea1ea-72e4-4374-b05e-72e2f16fb7ae" targetNamespace="http://schemas.microsoft.com/office/2006/metadata/properties" ma:root="true" ma:fieldsID="175de6c6a15160a69dc82ade5988a82f" ns1:_="" ns2:_="" ns3:_="">
    <xsd:import namespace="http://schemas.microsoft.com/sharepoint/v3"/>
    <xsd:import namespace="c33f335d-c598-42c5-930e-ed783bf10eb7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2:Event_x0020_Name" minOccurs="0"/>
                <xsd:element ref="ns2:Display_x0020_Name" minOccurs="0"/>
                <xsd:element ref="ns2:Langage" minOccurs="0"/>
                <xsd:element ref="ns2:Type_x0020_of_x0020_Document" minOccurs="0"/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3f335d-c598-42c5-930e-ed783bf10eb7" elementFormDefault="qualified">
    <xsd:import namespace="http://schemas.microsoft.com/office/2006/documentManagement/types"/>
    <xsd:import namespace="http://schemas.microsoft.com/office/infopath/2007/PartnerControls"/>
    <xsd:element name="Event_x0020_Name" ma:index="2" nillable="true" ma:displayName="Event Name" ma:list="{6e5c2136-9c26-4275-84f6-29403907a3e4}" ma:internalName="Event_x0020_Name" ma:showField="Title">
      <xsd:simpleType>
        <xsd:restriction base="dms:Lookup"/>
      </xsd:simpleType>
    </xsd:element>
    <xsd:element name="Display_x0020_Name" ma:index="3" nillable="true" ma:displayName="Display Name" ma:internalName="Display_x0020_Name">
      <xsd:simpleType>
        <xsd:restriction base="dms:Text">
          <xsd:maxLength value="255"/>
        </xsd:restriction>
      </xsd:simpleType>
    </xsd:element>
    <xsd:element name="Langage" ma:index="4" nillable="true" ma:displayName="Langage" ma:default="en" ma:format="Dropdown" ma:internalName="Langage">
      <xsd:simpleType>
        <xsd:restriction base="dms:Choice">
          <xsd:enumeration value="en"/>
          <xsd:enumeration value="fr"/>
          <xsd:enumeration value="sp"/>
          <xsd:enumeration value="fr"/>
          <xsd:enumeration value="ru"/>
          <xsd:enumeration value="cn"/>
        </xsd:restriction>
      </xsd:simpleType>
    </xsd:element>
    <xsd:element name="Type_x0020_of_x0020_Document" ma:index="5" nillable="true" ma:displayName="Type of Document" ma:default="Presentation" ma:format="Dropdown" ma:internalName="Type_x0020_of_x0020_Document">
      <xsd:simpleType>
        <xsd:restriction base="dms:Choice">
          <xsd:enumeration value="General"/>
          <xsd:enumeration value="Presentation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ype_x0020_of_x0020_Document xmlns="c33f335d-c598-42c5-930e-ed783bf10eb7">Presentation</Type_x0020_of_x0020_Document>
    <Langage xmlns="c33f335d-c598-42c5-930e-ed783bf10eb7">en</Langage>
    <Event_x0020_Name xmlns="c33f335d-c598-42c5-930e-ed783bf10eb7" xsi:nil="true"/>
    <PublishingExpirationDate xmlns="http://schemas.microsoft.com/sharepoint/v3" xsi:nil="true"/>
    <Display_x0020_Name xmlns="c33f335d-c598-42c5-930e-ed783bf10eb7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1F076C5-ADC1-44F5-BBCA-DCC6653D87F7}"/>
</file>

<file path=customXml/itemProps2.xml><?xml version="1.0" encoding="utf-8"?>
<ds:datastoreItem xmlns:ds="http://schemas.openxmlformats.org/officeDocument/2006/customXml" ds:itemID="{EEA9B8CF-47E1-4079-8617-1E6A11EBF6E5}"/>
</file>

<file path=customXml/itemProps3.xml><?xml version="1.0" encoding="utf-8"?>
<ds:datastoreItem xmlns:ds="http://schemas.openxmlformats.org/officeDocument/2006/customXml" ds:itemID="{D09B841D-FEFE-4AA7-9753-E4DBB487103E}"/>
</file>

<file path=docProps/app.xml><?xml version="1.0" encoding="utf-8"?>
<Properties xmlns="http://schemas.openxmlformats.org/officeDocument/2006/extended-properties" xmlns:vt="http://schemas.openxmlformats.org/officeDocument/2006/docPropsVTypes">
  <TotalTime>2653</TotalTime>
  <Words>1437</Words>
  <Application>Microsoft Office PowerPoint</Application>
  <PresentationFormat>On-screen Show (16:9)</PresentationFormat>
  <Paragraphs>331</Paragraphs>
  <Slides>20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自定义设计方案</vt:lpstr>
      <vt:lpstr>3_自定义设计方案</vt:lpstr>
      <vt:lpstr>4_自定义设计方案</vt:lpstr>
      <vt:lpstr>2_自定义设计方案</vt:lpstr>
      <vt:lpstr>think-cell Slide</vt:lpstr>
      <vt:lpstr>Challenges in Deploying Telecommunication ICT for Disaster Response </vt:lpstr>
      <vt:lpstr>Slide 2</vt:lpstr>
      <vt:lpstr>Slide 3</vt:lpstr>
      <vt:lpstr>Slide 4</vt:lpstr>
      <vt:lpstr>Slide 5</vt:lpstr>
      <vt:lpstr>Slide 6</vt:lpstr>
      <vt:lpstr>LTE Broadband Trunking Standardization is Accelerating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Comprehensive Industry Applications Worldwide</vt:lpstr>
      <vt:lpstr>Huawei eLTE for UK Broadband </vt:lpstr>
      <vt:lpstr>MoI 911 – Saudi Arabia</vt:lpstr>
      <vt:lpstr>Slide 20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Windows 7</dc:creator>
  <cp:lastModifiedBy>m00319440</cp:lastModifiedBy>
  <cp:revision>186</cp:revision>
  <dcterms:created xsi:type="dcterms:W3CDTF">2015-08-06T02:16:24Z</dcterms:created>
  <dcterms:modified xsi:type="dcterms:W3CDTF">2016-01-26T20:0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_ms_pID_72543">
    <vt:lpwstr>(3)TcfEi5yL22H/Z6b3cRqoDL2KN9JjIozluasE+Vl+MrX8l4klw8zVL06CAjhotincnUPzhQRh
EgzrddwffGJqPaASUpGYQI2fl5oVZ6xeZJHEzEOJX4Myp1udniFkE2TuiHXGPbAyc9jPpr50
faJ8lXnQjvbFHeNEKxdnQ0jBj+24++oqyqR8//VIQ+XnpP6d1bt3LG22+63XzLqxipn/fWPu
7/kL4UJqawjoUxre8h</vt:lpwstr>
  </property>
  <property fmtid="{D5CDD505-2E9C-101B-9397-08002B2CF9AE}" pid="3" name="_new_ms_pID_725431">
    <vt:lpwstr>VGVXS1Nn8NLxgKXB8hAoCQe0vHV7siuhkXY6flBvxdBT3FmEGuHvRy
g80mzzjLFTtxHXAELZKz2TuT0tFnz+8f8djaU97nxLqZLqQQ+u1Gk25ReGw6WJbXLg41oLe0
Lqe8ohCss93I35t36FrgazCYFwZ3htZdOH2+IJlBMuLb8hmlXK4yeyCuQvHsSNAb3Hq7V9Jr
JNaneQOFSNb32VmbW0D5F3JQgOu+BxA3ck+K</vt:lpwstr>
  </property>
  <property fmtid="{D5CDD505-2E9C-101B-9397-08002B2CF9AE}" pid="4" name="_new_ms_pID_725432">
    <vt:lpwstr>DzbF04Y/fsS+QPeydeSM+epqf2TvtUoE8lgV
jEeh3HZJdQaLr2ylmmZ0w/XUBqEyS9fdQHcDKd87nWycGtFrGJmZ3Xhzu4UK0IcE5duhqnOc
Eiv8hF/sjl8cBrcZJXgH69MNduyXQPQVqOkc9+VYK6U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453775212</vt:lpwstr>
  </property>
  <property fmtid="{D5CDD505-2E9C-101B-9397-08002B2CF9AE}" pid="9" name="ContentTypeId">
    <vt:lpwstr>0x010100C1769BE840221E46A7DB18A8CFB8F226</vt:lpwstr>
  </property>
</Properties>
</file>